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1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2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3.xml" ContentType="application/vnd.openxmlformats-officedocument.presentationml.notesSlide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ppt/tags/tag37.xml" ContentType="application/vnd.openxmlformats-officedocument.presentationml.tags+xml"/>
  <Override PartName="/ppt/notesSlides/notesSlide15.xml" ContentType="application/vnd.openxmlformats-officedocument.presentationml.notesSlide+xml"/>
  <Override PartName="/ppt/tags/tag38.xml" ContentType="application/vnd.openxmlformats-officedocument.presentationml.tags+xml"/>
  <Override PartName="/ppt/notesSlides/notesSlide16.xml" ContentType="application/vnd.openxmlformats-officedocument.presentationml.notesSlide+xml"/>
  <Override PartName="/ppt/tags/tag39.xml" ContentType="application/vnd.openxmlformats-officedocument.presentationml.tags+xml"/>
  <Override PartName="/ppt/notesSlides/notesSlide17.xml" ContentType="application/vnd.openxmlformats-officedocument.presentationml.notesSlide+xml"/>
  <Override PartName="/ppt/tags/tag40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56" r:id="rId2"/>
    <p:sldId id="261" r:id="rId3"/>
    <p:sldId id="262" r:id="rId4"/>
    <p:sldId id="263" r:id="rId5"/>
    <p:sldId id="264" r:id="rId6"/>
    <p:sldId id="265" r:id="rId7"/>
    <p:sldId id="266" r:id="rId8"/>
    <p:sldId id="267" r:id="rId9"/>
    <p:sldId id="268" r:id="rId10"/>
    <p:sldId id="269" r:id="rId11"/>
    <p:sldId id="270" r:id="rId12"/>
    <p:sldId id="271" r:id="rId13"/>
    <p:sldId id="272" r:id="rId14"/>
    <p:sldId id="273" r:id="rId15"/>
    <p:sldId id="274" r:id="rId16"/>
    <p:sldId id="275" r:id="rId17"/>
    <p:sldId id="276" r:id="rId18"/>
    <p:sldId id="277" r:id="rId19"/>
    <p:sldId id="278" r:id="rId20"/>
    <p:sldId id="279" r:id="rId21"/>
  </p:sldIdLst>
  <p:sldSz cx="9144000" cy="6858000" type="screen4x3"/>
  <p:notesSz cx="6858000" cy="9144000"/>
  <p:custShowLst>
    <p:custShow name="Custom Show 1" id="0">
      <p:sldLst>
        <p:sld r:id="rId2"/>
      </p:sldLst>
    </p:custShow>
  </p:custShow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41" d="100"/>
          <a:sy n="41" d="100"/>
        </p:scale>
        <p:origin x="-1458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D623B6-5510-41B5-9013-B8168F108103}" type="datetimeFigureOut">
              <a:rPr lang="en-US" smtClean="0"/>
              <a:t>8/20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9760ED-04BB-4C88-B4BA-B2D467EE04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1431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D775A4F-9744-4738-9AA3-F0F0DEFBC948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1187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54063" y="573088"/>
            <a:ext cx="5364162" cy="4024312"/>
          </a:xfrm>
          <a:ln/>
        </p:spPr>
      </p:sp>
      <p:sp>
        <p:nvSpPr>
          <p:cNvPr id="1187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7354" y="4914136"/>
            <a:ext cx="5842593" cy="234496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06335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57" y="4913436"/>
            <a:ext cx="5844152" cy="23449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1496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57" y="4913436"/>
            <a:ext cx="5844152" cy="23449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0706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57" y="4913436"/>
            <a:ext cx="5844152" cy="23449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92272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57" y="4913436"/>
            <a:ext cx="5844152" cy="23449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2354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57" y="4913436"/>
            <a:ext cx="5844152" cy="23449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1583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57" y="4913436"/>
            <a:ext cx="5844152" cy="23449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29897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57" y="4913436"/>
            <a:ext cx="5844152" cy="23449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8391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57" y="4913436"/>
            <a:ext cx="5844152" cy="23449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53455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57" y="4913436"/>
            <a:ext cx="5844152" cy="23449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8250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D775A4F-9744-4738-9AA3-F0F0DEFBC948}" type="slidenum">
              <a:rPr lang="en-US"/>
              <a:pPr/>
              <a:t>3</a:t>
            </a:fld>
            <a:endParaRPr lang="en-US" dirty="0"/>
          </a:p>
        </p:txBody>
      </p:sp>
      <p:sp>
        <p:nvSpPr>
          <p:cNvPr id="1187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54063" y="573088"/>
            <a:ext cx="5364162" cy="4024312"/>
          </a:xfrm>
          <a:ln/>
        </p:spPr>
      </p:sp>
      <p:sp>
        <p:nvSpPr>
          <p:cNvPr id="1187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7354" y="4914136"/>
            <a:ext cx="5842593" cy="234496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87527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57" y="4913436"/>
            <a:ext cx="5844152" cy="23449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76085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57" y="4913436"/>
            <a:ext cx="5844152" cy="23449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15246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57" y="4913436"/>
            <a:ext cx="5844152" cy="23449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15246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11972" y="5069423"/>
            <a:ext cx="5387578" cy="23363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71898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11972" y="5069423"/>
            <a:ext cx="5387578" cy="23363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20407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57" y="4913436"/>
            <a:ext cx="5844152" cy="23449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6154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57" y="4913436"/>
            <a:ext cx="5844152" cy="23449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6399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114800"/>
            <a:ext cx="7772400" cy="14700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BB41F0-E9F4-4CB8-B98F-97AF0CA9CC62}" type="datetimeFigureOut">
              <a:rPr lang="en-US"/>
              <a:pPr>
                <a:defRPr/>
              </a:pPr>
              <a:t>8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702243-9BF8-44CF-ACA9-B6BF89743D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1B2C62-2D47-4F9B-8D6C-947C11019061}" type="datetimeFigureOut">
              <a:rPr lang="en-US"/>
              <a:pPr>
                <a:defRPr/>
              </a:pPr>
              <a:t>8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A0C894-5C3B-4212-B807-52248BFF82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FBEF8A-1F04-4E92-B967-648BD2AEAA4A}" type="datetimeFigureOut">
              <a:rPr lang="en-US"/>
              <a:pPr>
                <a:defRPr/>
              </a:pPr>
              <a:t>8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0FB39E-3AC8-4F06-8B78-07D1FC4860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164935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43" descr="ZZP627"/>
          <p:cNvPicPr>
            <a:picLocks noChangeAspect="1" noChangeArrowheads="1"/>
          </p:cNvPicPr>
          <p:nvPr userDrawn="1"/>
        </p:nvPicPr>
        <p:blipFill rotWithShape="1">
          <a:blip r:embed="rId6" cstate="print">
            <a:lum bright="70000" contrast="-70000"/>
          </a:blip>
          <a:srcRect l="24377" t="16880" b="6104"/>
          <a:stretch/>
        </p:blipFill>
        <p:spPr bwMode="gray">
          <a:xfrm>
            <a:off x="0" y="1"/>
            <a:ext cx="9144000" cy="685800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916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66800"/>
            <a:ext cx="8229600" cy="73183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81200"/>
            <a:ext cx="8229600" cy="414496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396C4B-8DC7-43B2-9E55-23F67EB20CA7}" type="datetimeFigureOut">
              <a:rPr lang="en-US"/>
              <a:pPr>
                <a:defRPr/>
              </a:pPr>
              <a:t>8/20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B0F3F9-56AA-402F-AB5D-6759AA4D94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558195-F1DD-48D2-92CE-76394BF4E849}" type="datetimeFigureOut">
              <a:rPr lang="en-US"/>
              <a:pPr>
                <a:defRPr/>
              </a:pPr>
              <a:t>8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6E4B5B-E537-465D-98D9-ADAC59A297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D15439-120D-490A-82EF-938752A81AB4}" type="datetimeFigureOut">
              <a:rPr lang="en-US"/>
              <a:pPr>
                <a:defRPr/>
              </a:pPr>
              <a:t>8/20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E51C97-8543-4B2D-A3F5-7B6BCE9188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7F3D38-7DFF-4438-9B6B-82271ED1D12F}" type="datetimeFigureOut">
              <a:rPr lang="en-US"/>
              <a:pPr>
                <a:defRPr/>
              </a:pPr>
              <a:t>8/20/2014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82BCCA-B0C3-46B8-AAF0-E1124B6909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B5E4AA-315E-4A29-BE12-5B785B4EDE34}" type="datetimeFigureOut">
              <a:rPr lang="en-US"/>
              <a:pPr>
                <a:defRPr/>
              </a:pPr>
              <a:t>8/20/2014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37CB58-A667-4633-9AE0-D11081A4FC3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26CE49-BC1D-4BB8-A1B0-CEA07E122E84}" type="datetimeFigureOut">
              <a:rPr lang="en-US"/>
              <a:pPr>
                <a:defRPr/>
              </a:pPr>
              <a:t>8/20/2014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7B5DCD-D6F7-4762-8499-A4E694EF1DD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5B36DF-3507-496F-A7FB-752BEF761963}" type="datetimeFigureOut">
              <a:rPr lang="en-US"/>
              <a:pPr>
                <a:defRPr/>
              </a:pPr>
              <a:t>8/20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CA0059-FF80-4C31-A797-E3E6BA736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CDD726-B3A1-4A43-8E96-9B1219B8D970}" type="datetimeFigureOut">
              <a:rPr lang="en-US"/>
              <a:pPr>
                <a:defRPr/>
              </a:pPr>
              <a:t>8/20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BFE7F3-9AA2-4685-931D-8B2674CFA7F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D3E05E7-C92F-45C6-9FE6-9A101AFFF5E8}" type="datetimeFigureOut">
              <a:rPr lang="en-US"/>
              <a:pPr>
                <a:defRPr/>
              </a:pPr>
              <a:t>8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0C6C6A9C-0BB8-4172-BE2C-6E9FA29A098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4" r:id="rId12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13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3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7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9.xml"/><Relationship Id="rId10" Type="http://schemas.openxmlformats.org/officeDocument/2006/relationships/image" Target="../media/image42.png"/><Relationship Id="rId4" Type="http://schemas.openxmlformats.org/officeDocument/2006/relationships/tags" Target="../tags/tag18.xml"/><Relationship Id="rId9" Type="http://schemas.openxmlformats.org/officeDocument/2006/relationships/image" Target="../media/image3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21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3.xml"/><Relationship Id="rId10" Type="http://schemas.openxmlformats.org/officeDocument/2006/relationships/image" Target="../media/image43.png"/><Relationship Id="rId4" Type="http://schemas.openxmlformats.org/officeDocument/2006/relationships/tags" Target="../tags/tag22.xml"/><Relationship Id="rId9" Type="http://schemas.openxmlformats.org/officeDocument/2006/relationships/image" Target="../media/image3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25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image" Target="../media/image3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29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image" Target="../media/image3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33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4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image" Target="../media/image3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44.jpeg"/><Relationship Id="rId4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5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.emf"/><Relationship Id="rId2" Type="http://schemas.openxmlformats.org/officeDocument/2006/relationships/tags" Target="../tags/tag3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46.jpeg"/><Relationship Id="rId4" Type="http://schemas.openxmlformats.org/officeDocument/2006/relationships/notesSlide" Target="../notesSlides/notesSlide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5.xml"/><Relationship Id="rId7" Type="http://schemas.openxmlformats.org/officeDocument/2006/relationships/oleObject" Target="../embeddings/oleObject3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9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" Type="http://schemas.openxmlformats.org/officeDocument/2006/relationships/tags" Target="../tags/tag9.xml"/><Relationship Id="rId16" Type="http://schemas.openxmlformats.org/officeDocument/2006/relationships/image" Target="../media/image32.png"/><Relationship Id="rId20" Type="http://schemas.openxmlformats.org/officeDocument/2006/relationships/image" Target="../media/image36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11" Type="http://schemas.openxmlformats.org/officeDocument/2006/relationships/image" Target="../media/image27.pn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31.png"/><Relationship Id="rId10" Type="http://schemas.openxmlformats.org/officeDocument/2006/relationships/image" Target="../media/image26.png"/><Relationship Id="rId19" Type="http://schemas.openxmlformats.org/officeDocument/2006/relationships/image" Target="../media/image35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11.xml"/><Relationship Id="rId7" Type="http://schemas.openxmlformats.org/officeDocument/2006/relationships/image" Target="../media/image3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41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advTm="5000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323524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8" name="Rounded Rectangle 97"/>
          <p:cNvSpPr/>
          <p:nvPr/>
        </p:nvSpPr>
        <p:spPr bwMode="gray">
          <a:xfrm>
            <a:off x="224311" y="2907172"/>
            <a:ext cx="2627764" cy="3332177"/>
          </a:xfrm>
          <a:prstGeom prst="roundRect">
            <a:avLst>
              <a:gd name="adj" fmla="val 8274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8" name="Freeform 3"/>
          <p:cNvSpPr>
            <a:spLocks/>
          </p:cNvSpPr>
          <p:nvPr/>
        </p:nvSpPr>
        <p:spPr bwMode="gray">
          <a:xfrm>
            <a:off x="1117462" y="990403"/>
            <a:ext cx="5020369" cy="1542024"/>
          </a:xfrm>
          <a:custGeom>
            <a:avLst/>
            <a:gdLst>
              <a:gd name="T0" fmla="*/ 0 w 2554"/>
              <a:gd name="T1" fmla="*/ 0 h 890"/>
              <a:gd name="T2" fmla="*/ 2147483647 w 2554"/>
              <a:gd name="T3" fmla="*/ 0 h 890"/>
              <a:gd name="T4" fmla="*/ 2147483647 w 2554"/>
              <a:gd name="T5" fmla="*/ 2147483647 h 890"/>
              <a:gd name="T6" fmla="*/ 2147483647 w 2554"/>
              <a:gd name="T7" fmla="*/ 2147483647 h 890"/>
              <a:gd name="T8" fmla="*/ 0 w 2554"/>
              <a:gd name="T9" fmla="*/ 2147483647 h 890"/>
              <a:gd name="T10" fmla="*/ 0 w 2554"/>
              <a:gd name="T11" fmla="*/ 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554"/>
              <a:gd name="T19" fmla="*/ 0 h 890"/>
              <a:gd name="T20" fmla="*/ 2554 w 2554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554" h="890">
                <a:moveTo>
                  <a:pt x="0" y="0"/>
                </a:moveTo>
                <a:lnTo>
                  <a:pt x="2368" y="0"/>
                </a:lnTo>
                <a:lnTo>
                  <a:pt x="2554" y="457"/>
                </a:lnTo>
                <a:lnTo>
                  <a:pt x="2370" y="889"/>
                </a:lnTo>
                <a:lnTo>
                  <a:pt x="0" y="89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3296" tIns="46648" rIns="93296" bIns="46648">
            <a:noAutofit/>
          </a:bodyPr>
          <a:lstStyle/>
          <a:p>
            <a:endParaRPr lang="en-US" dirty="0"/>
          </a:p>
        </p:txBody>
      </p:sp>
      <p:grpSp>
        <p:nvGrpSpPr>
          <p:cNvPr id="3" name="Group 49"/>
          <p:cNvGrpSpPr>
            <a:grpSpLocks/>
          </p:cNvGrpSpPr>
          <p:nvPr/>
        </p:nvGrpSpPr>
        <p:grpSpPr bwMode="gray">
          <a:xfrm>
            <a:off x="3094956" y="986835"/>
            <a:ext cx="5611479" cy="5252515"/>
            <a:chOff x="-84370714" y="-50229900"/>
            <a:chExt cx="92615078" cy="92947206"/>
          </a:xfrm>
          <a:solidFill>
            <a:schemeClr val="bg2">
              <a:lumMod val="9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64" name="Freeform 5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-38375416" y="-50229900"/>
              <a:ext cx="46619780" cy="57270904"/>
            </a:xfrm>
            <a:custGeom>
              <a:avLst/>
              <a:gdLst>
                <a:gd name="T0" fmla="*/ 2147483647 w 1530"/>
                <a:gd name="T1" fmla="*/ 2147483647 h 1871"/>
                <a:gd name="T2" fmla="*/ 2147483647 w 1530"/>
                <a:gd name="T3" fmla="*/ 2147483647 h 1871"/>
                <a:gd name="T4" fmla="*/ 2147483647 w 1530"/>
                <a:gd name="T5" fmla="*/ 2147483647 h 1871"/>
                <a:gd name="T6" fmla="*/ 2147483647 w 1530"/>
                <a:gd name="T7" fmla="*/ 2147483647 h 1871"/>
                <a:gd name="T8" fmla="*/ 2147483647 w 1530"/>
                <a:gd name="T9" fmla="*/ 2147483647 h 1871"/>
                <a:gd name="T10" fmla="*/ 2147483647 w 1530"/>
                <a:gd name="T11" fmla="*/ 2147483647 h 1871"/>
                <a:gd name="T12" fmla="*/ 2147483647 w 1530"/>
                <a:gd name="T13" fmla="*/ 2147483647 h 1871"/>
                <a:gd name="T14" fmla="*/ 2147483647 w 1530"/>
                <a:gd name="T15" fmla="*/ 2147483647 h 1871"/>
                <a:gd name="T16" fmla="*/ 2147483647 w 1530"/>
                <a:gd name="T17" fmla="*/ 2147483647 h 1871"/>
                <a:gd name="T18" fmla="*/ 2147483647 w 1530"/>
                <a:gd name="T19" fmla="*/ 2147483647 h 1871"/>
                <a:gd name="T20" fmla="*/ 2147483647 w 1530"/>
                <a:gd name="T21" fmla="*/ 2147483647 h 1871"/>
                <a:gd name="T22" fmla="*/ 2147483647 w 1530"/>
                <a:gd name="T23" fmla="*/ 2147483647 h 1871"/>
                <a:gd name="T24" fmla="*/ 2147483647 w 1530"/>
                <a:gd name="T25" fmla="*/ 2147483647 h 1871"/>
                <a:gd name="T26" fmla="*/ 2147483647 w 1530"/>
                <a:gd name="T27" fmla="*/ 2147483647 h 1871"/>
                <a:gd name="T28" fmla="*/ 2147483647 w 1530"/>
                <a:gd name="T29" fmla="*/ 2147483647 h 1871"/>
                <a:gd name="T30" fmla="*/ 2147483647 w 1530"/>
                <a:gd name="T31" fmla="*/ 2147483647 h 1871"/>
                <a:gd name="T32" fmla="*/ 2147483647 w 1530"/>
                <a:gd name="T33" fmla="*/ 2147483647 h 1871"/>
                <a:gd name="T34" fmla="*/ 2147483647 w 1530"/>
                <a:gd name="T35" fmla="*/ 2147483647 h 1871"/>
                <a:gd name="T36" fmla="*/ 2147483647 w 1530"/>
                <a:gd name="T37" fmla="*/ 2147483647 h 1871"/>
                <a:gd name="T38" fmla="*/ 2147483647 w 1530"/>
                <a:gd name="T39" fmla="*/ 2147483647 h 1871"/>
                <a:gd name="T40" fmla="*/ 2147483647 w 1530"/>
                <a:gd name="T41" fmla="*/ 2147483647 h 1871"/>
                <a:gd name="T42" fmla="*/ 2147483647 w 1530"/>
                <a:gd name="T43" fmla="*/ 2147483647 h 1871"/>
                <a:gd name="T44" fmla="*/ 2147483647 w 1530"/>
                <a:gd name="T45" fmla="*/ 2147483647 h 1871"/>
                <a:gd name="T46" fmla="*/ 2147483647 w 1530"/>
                <a:gd name="T47" fmla="*/ 2147483647 h 1871"/>
                <a:gd name="T48" fmla="*/ 2147483647 w 1530"/>
                <a:gd name="T49" fmla="*/ 2147483647 h 1871"/>
                <a:gd name="T50" fmla="*/ 2147483647 w 1530"/>
                <a:gd name="T51" fmla="*/ 2147483647 h 1871"/>
                <a:gd name="T52" fmla="*/ 2147483647 w 1530"/>
                <a:gd name="T53" fmla="*/ 2147483647 h 1871"/>
                <a:gd name="T54" fmla="*/ 2147483647 w 1530"/>
                <a:gd name="T55" fmla="*/ 2147483647 h 1871"/>
                <a:gd name="T56" fmla="*/ 2147483647 w 1530"/>
                <a:gd name="T57" fmla="*/ 2147483647 h 1871"/>
                <a:gd name="T58" fmla="*/ 2147483647 w 1530"/>
                <a:gd name="T59" fmla="*/ 2147483647 h 1871"/>
                <a:gd name="T60" fmla="*/ 2147483647 w 1530"/>
                <a:gd name="T61" fmla="*/ 2147483647 h 1871"/>
                <a:gd name="T62" fmla="*/ 2147483647 w 1530"/>
                <a:gd name="T63" fmla="*/ 2147483647 h 1871"/>
                <a:gd name="T64" fmla="*/ 2147483647 w 1530"/>
                <a:gd name="T65" fmla="*/ 2147483647 h 1871"/>
                <a:gd name="T66" fmla="*/ 2147483647 w 1530"/>
                <a:gd name="T67" fmla="*/ 2147483647 h 1871"/>
                <a:gd name="T68" fmla="*/ 2147483647 w 1530"/>
                <a:gd name="T69" fmla="*/ 2147483647 h 1871"/>
                <a:gd name="T70" fmla="*/ 2147483647 w 1530"/>
                <a:gd name="T71" fmla="*/ 2147483647 h 1871"/>
                <a:gd name="T72" fmla="*/ 2147483647 w 1530"/>
                <a:gd name="T73" fmla="*/ 2147483647 h 1871"/>
                <a:gd name="T74" fmla="*/ 2147483647 w 1530"/>
                <a:gd name="T75" fmla="*/ 2147483647 h 1871"/>
                <a:gd name="T76" fmla="*/ 2147483647 w 1530"/>
                <a:gd name="T77" fmla="*/ 2147483647 h 1871"/>
                <a:gd name="T78" fmla="*/ 2147483647 w 1530"/>
                <a:gd name="T79" fmla="*/ 2147483647 h 1871"/>
                <a:gd name="T80" fmla="*/ 2147483647 w 1530"/>
                <a:gd name="T81" fmla="*/ 2147483647 h 1871"/>
                <a:gd name="T82" fmla="*/ 2147483647 w 1530"/>
                <a:gd name="T83" fmla="*/ 2147483647 h 1871"/>
                <a:gd name="T84" fmla="*/ 2147483647 w 1530"/>
                <a:gd name="T85" fmla="*/ 2147483647 h 1871"/>
                <a:gd name="T86" fmla="*/ 2147483647 w 1530"/>
                <a:gd name="T87" fmla="*/ 2147483647 h 1871"/>
                <a:gd name="T88" fmla="*/ 2147483647 w 1530"/>
                <a:gd name="T89" fmla="*/ 2147483647 h 1871"/>
                <a:gd name="T90" fmla="*/ 2147483647 w 1530"/>
                <a:gd name="T91" fmla="*/ 2147483647 h 1871"/>
                <a:gd name="T92" fmla="*/ 2147483647 w 1530"/>
                <a:gd name="T93" fmla="*/ 2147483647 h 1871"/>
                <a:gd name="T94" fmla="*/ 2147483647 w 1530"/>
                <a:gd name="T95" fmla="*/ 2147483647 h 1871"/>
                <a:gd name="T96" fmla="*/ 2147483647 w 1530"/>
                <a:gd name="T97" fmla="*/ 0 h 1871"/>
                <a:gd name="T98" fmla="*/ 2147483647 w 1530"/>
                <a:gd name="T99" fmla="*/ 2147483647 h 187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530"/>
                <a:gd name="T151" fmla="*/ 0 h 1871"/>
                <a:gd name="T152" fmla="*/ 1530 w 1530"/>
                <a:gd name="T153" fmla="*/ 1871 h 1871"/>
                <a:gd name="connsiteX0" fmla="*/ 26 w 10000"/>
                <a:gd name="connsiteY0" fmla="*/ 4768 h 10000"/>
                <a:gd name="connsiteX1" fmla="*/ 59 w 10000"/>
                <a:gd name="connsiteY1" fmla="*/ 4762 h 10000"/>
                <a:gd name="connsiteX2" fmla="*/ 163 w 10000"/>
                <a:gd name="connsiteY2" fmla="*/ 4762 h 10000"/>
                <a:gd name="connsiteX3" fmla="*/ 268 w 10000"/>
                <a:gd name="connsiteY3" fmla="*/ 4768 h 10000"/>
                <a:gd name="connsiteX4" fmla="*/ 373 w 10000"/>
                <a:gd name="connsiteY4" fmla="*/ 4773 h 10000"/>
                <a:gd name="connsiteX5" fmla="*/ 477 w 10000"/>
                <a:gd name="connsiteY5" fmla="*/ 4778 h 10000"/>
                <a:gd name="connsiteX6" fmla="*/ 582 w 10000"/>
                <a:gd name="connsiteY6" fmla="*/ 4794 h 10000"/>
                <a:gd name="connsiteX7" fmla="*/ 686 w 10000"/>
                <a:gd name="connsiteY7" fmla="*/ 4805 h 10000"/>
                <a:gd name="connsiteX8" fmla="*/ 784 w 10000"/>
                <a:gd name="connsiteY8" fmla="*/ 4816 h 10000"/>
                <a:gd name="connsiteX9" fmla="*/ 882 w 10000"/>
                <a:gd name="connsiteY9" fmla="*/ 4832 h 10000"/>
                <a:gd name="connsiteX10" fmla="*/ 987 w 10000"/>
                <a:gd name="connsiteY10" fmla="*/ 4848 h 10000"/>
                <a:gd name="connsiteX11" fmla="*/ 1085 w 10000"/>
                <a:gd name="connsiteY11" fmla="*/ 4869 h 10000"/>
                <a:gd name="connsiteX12" fmla="*/ 1183 w 10000"/>
                <a:gd name="connsiteY12" fmla="*/ 4890 h 10000"/>
                <a:gd name="connsiteX13" fmla="*/ 1281 w 10000"/>
                <a:gd name="connsiteY13" fmla="*/ 4912 h 10000"/>
                <a:gd name="connsiteX14" fmla="*/ 1373 w 10000"/>
                <a:gd name="connsiteY14" fmla="*/ 4939 h 10000"/>
                <a:gd name="connsiteX15" fmla="*/ 1471 w 10000"/>
                <a:gd name="connsiteY15" fmla="*/ 4965 h 10000"/>
                <a:gd name="connsiteX16" fmla="*/ 1562 w 10000"/>
                <a:gd name="connsiteY16" fmla="*/ 4997 h 10000"/>
                <a:gd name="connsiteX17" fmla="*/ 1654 w 10000"/>
                <a:gd name="connsiteY17" fmla="*/ 5029 h 10000"/>
                <a:gd name="connsiteX18" fmla="*/ 1745 w 10000"/>
                <a:gd name="connsiteY18" fmla="*/ 5061 h 10000"/>
                <a:gd name="connsiteX19" fmla="*/ 1837 w 10000"/>
                <a:gd name="connsiteY19" fmla="*/ 5094 h 10000"/>
                <a:gd name="connsiteX20" fmla="*/ 1928 w 10000"/>
                <a:gd name="connsiteY20" fmla="*/ 5131 h 10000"/>
                <a:gd name="connsiteX21" fmla="*/ 2020 w 10000"/>
                <a:gd name="connsiteY21" fmla="*/ 5168 h 10000"/>
                <a:gd name="connsiteX22" fmla="*/ 2105 w 10000"/>
                <a:gd name="connsiteY22" fmla="*/ 5211 h 10000"/>
                <a:gd name="connsiteX23" fmla="*/ 2190 w 10000"/>
                <a:gd name="connsiteY23" fmla="*/ 5249 h 10000"/>
                <a:gd name="connsiteX24" fmla="*/ 2275 w 10000"/>
                <a:gd name="connsiteY24" fmla="*/ 5291 h 10000"/>
                <a:gd name="connsiteX25" fmla="*/ 2353 w 10000"/>
                <a:gd name="connsiteY25" fmla="*/ 5334 h 10000"/>
                <a:gd name="connsiteX26" fmla="*/ 2438 w 10000"/>
                <a:gd name="connsiteY26" fmla="*/ 5382 h 10000"/>
                <a:gd name="connsiteX27" fmla="*/ 2516 w 10000"/>
                <a:gd name="connsiteY27" fmla="*/ 5430 h 10000"/>
                <a:gd name="connsiteX28" fmla="*/ 2595 w 10000"/>
                <a:gd name="connsiteY28" fmla="*/ 5478 h 10000"/>
                <a:gd name="connsiteX29" fmla="*/ 2673 w 10000"/>
                <a:gd name="connsiteY29" fmla="*/ 5526 h 10000"/>
                <a:gd name="connsiteX30" fmla="*/ 2752 w 10000"/>
                <a:gd name="connsiteY30" fmla="*/ 5580 h 10000"/>
                <a:gd name="connsiteX31" fmla="*/ 2824 w 10000"/>
                <a:gd name="connsiteY31" fmla="*/ 5633 h 10000"/>
                <a:gd name="connsiteX32" fmla="*/ 2895 w 10000"/>
                <a:gd name="connsiteY32" fmla="*/ 5687 h 10000"/>
                <a:gd name="connsiteX33" fmla="*/ 2967 w 10000"/>
                <a:gd name="connsiteY33" fmla="*/ 5746 h 10000"/>
                <a:gd name="connsiteX34" fmla="*/ 3033 w 10000"/>
                <a:gd name="connsiteY34" fmla="*/ 5804 h 10000"/>
                <a:gd name="connsiteX35" fmla="*/ 3105 w 10000"/>
                <a:gd name="connsiteY35" fmla="*/ 5863 h 10000"/>
                <a:gd name="connsiteX36" fmla="*/ 3170 w 10000"/>
                <a:gd name="connsiteY36" fmla="*/ 5922 h 10000"/>
                <a:gd name="connsiteX37" fmla="*/ 3229 w 10000"/>
                <a:gd name="connsiteY37" fmla="*/ 5986 h 10000"/>
                <a:gd name="connsiteX38" fmla="*/ 3294 w 10000"/>
                <a:gd name="connsiteY38" fmla="*/ 6045 h 10000"/>
                <a:gd name="connsiteX39" fmla="*/ 3353 w 10000"/>
                <a:gd name="connsiteY39" fmla="*/ 6109 h 10000"/>
                <a:gd name="connsiteX40" fmla="*/ 3412 w 10000"/>
                <a:gd name="connsiteY40" fmla="*/ 6173 h 10000"/>
                <a:gd name="connsiteX41" fmla="*/ 3471 w 10000"/>
                <a:gd name="connsiteY41" fmla="*/ 6237 h 10000"/>
                <a:gd name="connsiteX42" fmla="*/ 3523 w 10000"/>
                <a:gd name="connsiteY42" fmla="*/ 6307 h 10000"/>
                <a:gd name="connsiteX43" fmla="*/ 3575 w 10000"/>
                <a:gd name="connsiteY43" fmla="*/ 6376 h 10000"/>
                <a:gd name="connsiteX44" fmla="*/ 3627 w 10000"/>
                <a:gd name="connsiteY44" fmla="*/ 6446 h 10000"/>
                <a:gd name="connsiteX45" fmla="*/ 3680 w 10000"/>
                <a:gd name="connsiteY45" fmla="*/ 6515 h 10000"/>
                <a:gd name="connsiteX46" fmla="*/ 3719 w 10000"/>
                <a:gd name="connsiteY46" fmla="*/ 6590 h 10000"/>
                <a:gd name="connsiteX47" fmla="*/ 3771 w 10000"/>
                <a:gd name="connsiteY47" fmla="*/ 6665 h 10000"/>
                <a:gd name="connsiteX48" fmla="*/ 3810 w 10000"/>
                <a:gd name="connsiteY48" fmla="*/ 6734 h 10000"/>
                <a:gd name="connsiteX49" fmla="*/ 3850 w 10000"/>
                <a:gd name="connsiteY49" fmla="*/ 6809 h 10000"/>
                <a:gd name="connsiteX50" fmla="*/ 3889 w 10000"/>
                <a:gd name="connsiteY50" fmla="*/ 6884 h 10000"/>
                <a:gd name="connsiteX51" fmla="*/ 3922 w 10000"/>
                <a:gd name="connsiteY51" fmla="*/ 6959 h 10000"/>
                <a:gd name="connsiteX52" fmla="*/ 3954 w 10000"/>
                <a:gd name="connsiteY52" fmla="*/ 7039 h 10000"/>
                <a:gd name="connsiteX53" fmla="*/ 3987 w 10000"/>
                <a:gd name="connsiteY53" fmla="*/ 7119 h 10000"/>
                <a:gd name="connsiteX54" fmla="*/ 4020 w 10000"/>
                <a:gd name="connsiteY54" fmla="*/ 7194 h 10000"/>
                <a:gd name="connsiteX55" fmla="*/ 4046 w 10000"/>
                <a:gd name="connsiteY55" fmla="*/ 7274 h 10000"/>
                <a:gd name="connsiteX56" fmla="*/ 4065 w 10000"/>
                <a:gd name="connsiteY56" fmla="*/ 7354 h 10000"/>
                <a:gd name="connsiteX57" fmla="*/ 4092 w 10000"/>
                <a:gd name="connsiteY57" fmla="*/ 7440 h 10000"/>
                <a:gd name="connsiteX58" fmla="*/ 4111 w 10000"/>
                <a:gd name="connsiteY58" fmla="*/ 7520 h 10000"/>
                <a:gd name="connsiteX59" fmla="*/ 4131 w 10000"/>
                <a:gd name="connsiteY59" fmla="*/ 7600 h 10000"/>
                <a:gd name="connsiteX60" fmla="*/ 4144 w 10000"/>
                <a:gd name="connsiteY60" fmla="*/ 7686 h 10000"/>
                <a:gd name="connsiteX61" fmla="*/ 4157 w 10000"/>
                <a:gd name="connsiteY61" fmla="*/ 7771 h 10000"/>
                <a:gd name="connsiteX62" fmla="*/ 4163 w 10000"/>
                <a:gd name="connsiteY62" fmla="*/ 7857 h 10000"/>
                <a:gd name="connsiteX63" fmla="*/ 4170 w 10000"/>
                <a:gd name="connsiteY63" fmla="*/ 7942 h 10000"/>
                <a:gd name="connsiteX64" fmla="*/ 4170 w 10000"/>
                <a:gd name="connsiteY64" fmla="*/ 8028 h 10000"/>
                <a:gd name="connsiteX65" fmla="*/ 4176 w 10000"/>
                <a:gd name="connsiteY65" fmla="*/ 8113 h 10000"/>
                <a:gd name="connsiteX66" fmla="*/ 4170 w 10000"/>
                <a:gd name="connsiteY66" fmla="*/ 8226 h 10000"/>
                <a:gd name="connsiteX67" fmla="*/ 4163 w 10000"/>
                <a:gd name="connsiteY67" fmla="*/ 8343 h 10000"/>
                <a:gd name="connsiteX68" fmla="*/ 4157 w 10000"/>
                <a:gd name="connsiteY68" fmla="*/ 8450 h 10000"/>
                <a:gd name="connsiteX69" fmla="*/ 4137 w 10000"/>
                <a:gd name="connsiteY69" fmla="*/ 8562 h 10000"/>
                <a:gd name="connsiteX70" fmla="*/ 6739 w 10000"/>
                <a:gd name="connsiteY70" fmla="*/ 10000 h 10000"/>
                <a:gd name="connsiteX71" fmla="*/ 9850 w 10000"/>
                <a:gd name="connsiteY71" fmla="*/ 9498 h 10000"/>
                <a:gd name="connsiteX72" fmla="*/ 9889 w 10000"/>
                <a:gd name="connsiteY72" fmla="*/ 9332 h 10000"/>
                <a:gd name="connsiteX73" fmla="*/ 9915 w 10000"/>
                <a:gd name="connsiteY73" fmla="*/ 9161 h 10000"/>
                <a:gd name="connsiteX74" fmla="*/ 9941 w 10000"/>
                <a:gd name="connsiteY74" fmla="*/ 8990 h 10000"/>
                <a:gd name="connsiteX75" fmla="*/ 9961 w 10000"/>
                <a:gd name="connsiteY75" fmla="*/ 8813 h 10000"/>
                <a:gd name="connsiteX76" fmla="*/ 9974 w 10000"/>
                <a:gd name="connsiteY76" fmla="*/ 8637 h 10000"/>
                <a:gd name="connsiteX77" fmla="*/ 9987 w 10000"/>
                <a:gd name="connsiteY77" fmla="*/ 8466 h 10000"/>
                <a:gd name="connsiteX78" fmla="*/ 9993 w 10000"/>
                <a:gd name="connsiteY78" fmla="*/ 8290 h 10000"/>
                <a:gd name="connsiteX79" fmla="*/ 10000 w 10000"/>
                <a:gd name="connsiteY79" fmla="*/ 8113 h 10000"/>
                <a:gd name="connsiteX80" fmla="*/ 9993 w 10000"/>
                <a:gd name="connsiteY80" fmla="*/ 7900 h 10000"/>
                <a:gd name="connsiteX81" fmla="*/ 9987 w 10000"/>
                <a:gd name="connsiteY81" fmla="*/ 7696 h 10000"/>
                <a:gd name="connsiteX82" fmla="*/ 9967 w 10000"/>
                <a:gd name="connsiteY82" fmla="*/ 7488 h 10000"/>
                <a:gd name="connsiteX83" fmla="*/ 9948 w 10000"/>
                <a:gd name="connsiteY83" fmla="*/ 7285 h 10000"/>
                <a:gd name="connsiteX84" fmla="*/ 9915 w 10000"/>
                <a:gd name="connsiteY84" fmla="*/ 7076 h 10000"/>
                <a:gd name="connsiteX85" fmla="*/ 9882 w 10000"/>
                <a:gd name="connsiteY85" fmla="*/ 6879 h 10000"/>
                <a:gd name="connsiteX86" fmla="*/ 9843 w 10000"/>
                <a:gd name="connsiteY86" fmla="*/ 6676 h 10000"/>
                <a:gd name="connsiteX87" fmla="*/ 9797 w 10000"/>
                <a:gd name="connsiteY87" fmla="*/ 6478 h 10000"/>
                <a:gd name="connsiteX88" fmla="*/ 9745 w 10000"/>
                <a:gd name="connsiteY88" fmla="*/ 6280 h 10000"/>
                <a:gd name="connsiteX89" fmla="*/ 9686 w 10000"/>
                <a:gd name="connsiteY89" fmla="*/ 6088 h 10000"/>
                <a:gd name="connsiteX90" fmla="*/ 9621 w 10000"/>
                <a:gd name="connsiteY90" fmla="*/ 5890 h 10000"/>
                <a:gd name="connsiteX91" fmla="*/ 9556 w 10000"/>
                <a:gd name="connsiteY91" fmla="*/ 5697 h 10000"/>
                <a:gd name="connsiteX92" fmla="*/ 9477 w 10000"/>
                <a:gd name="connsiteY92" fmla="*/ 5510 h 10000"/>
                <a:gd name="connsiteX93" fmla="*/ 9399 w 10000"/>
                <a:gd name="connsiteY93" fmla="*/ 5323 h 10000"/>
                <a:gd name="connsiteX94" fmla="*/ 9307 w 10000"/>
                <a:gd name="connsiteY94" fmla="*/ 5136 h 10000"/>
                <a:gd name="connsiteX95" fmla="*/ 9216 w 10000"/>
                <a:gd name="connsiteY95" fmla="*/ 4955 h 10000"/>
                <a:gd name="connsiteX96" fmla="*/ 9124 w 10000"/>
                <a:gd name="connsiteY96" fmla="*/ 4773 h 10000"/>
                <a:gd name="connsiteX97" fmla="*/ 9020 w 10000"/>
                <a:gd name="connsiteY97" fmla="*/ 4596 h 10000"/>
                <a:gd name="connsiteX98" fmla="*/ 8915 w 10000"/>
                <a:gd name="connsiteY98" fmla="*/ 4420 h 10000"/>
                <a:gd name="connsiteX99" fmla="*/ 8804 w 10000"/>
                <a:gd name="connsiteY99" fmla="*/ 4244 h 10000"/>
                <a:gd name="connsiteX100" fmla="*/ 8686 w 10000"/>
                <a:gd name="connsiteY100" fmla="*/ 4073 h 10000"/>
                <a:gd name="connsiteX101" fmla="*/ 8562 w 10000"/>
                <a:gd name="connsiteY101" fmla="*/ 3907 h 10000"/>
                <a:gd name="connsiteX102" fmla="*/ 8438 w 10000"/>
                <a:gd name="connsiteY102" fmla="*/ 3741 h 10000"/>
                <a:gd name="connsiteX103" fmla="*/ 8307 w 10000"/>
                <a:gd name="connsiteY103" fmla="*/ 3576 h 10000"/>
                <a:gd name="connsiteX104" fmla="*/ 8170 w 10000"/>
                <a:gd name="connsiteY104" fmla="*/ 3415 h 10000"/>
                <a:gd name="connsiteX105" fmla="*/ 8026 w 10000"/>
                <a:gd name="connsiteY105" fmla="*/ 3260 h 10000"/>
                <a:gd name="connsiteX106" fmla="*/ 7882 w 10000"/>
                <a:gd name="connsiteY106" fmla="*/ 3105 h 10000"/>
                <a:gd name="connsiteX107" fmla="*/ 7732 w 10000"/>
                <a:gd name="connsiteY107" fmla="*/ 2950 h 10000"/>
                <a:gd name="connsiteX108" fmla="*/ 7582 w 10000"/>
                <a:gd name="connsiteY108" fmla="*/ 2806 h 10000"/>
                <a:gd name="connsiteX109" fmla="*/ 7418 w 10000"/>
                <a:gd name="connsiteY109" fmla="*/ 2662 h 10000"/>
                <a:gd name="connsiteX110" fmla="*/ 7261 w 10000"/>
                <a:gd name="connsiteY110" fmla="*/ 2517 h 10000"/>
                <a:gd name="connsiteX111" fmla="*/ 7092 w 10000"/>
                <a:gd name="connsiteY111" fmla="*/ 2373 h 10000"/>
                <a:gd name="connsiteX112" fmla="*/ 6922 w 10000"/>
                <a:gd name="connsiteY112" fmla="*/ 2239 h 10000"/>
                <a:gd name="connsiteX113" fmla="*/ 6752 w 10000"/>
                <a:gd name="connsiteY113" fmla="*/ 2106 h 10000"/>
                <a:gd name="connsiteX114" fmla="*/ 6569 w 10000"/>
                <a:gd name="connsiteY114" fmla="*/ 1978 h 10000"/>
                <a:gd name="connsiteX115" fmla="*/ 6386 w 10000"/>
                <a:gd name="connsiteY115" fmla="*/ 1855 h 10000"/>
                <a:gd name="connsiteX116" fmla="*/ 6203 w 10000"/>
                <a:gd name="connsiteY116" fmla="*/ 1732 h 10000"/>
                <a:gd name="connsiteX117" fmla="*/ 6013 w 10000"/>
                <a:gd name="connsiteY117" fmla="*/ 1614 h 10000"/>
                <a:gd name="connsiteX118" fmla="*/ 5817 w 10000"/>
                <a:gd name="connsiteY118" fmla="*/ 1497 h 10000"/>
                <a:gd name="connsiteX119" fmla="*/ 5621 w 10000"/>
                <a:gd name="connsiteY119" fmla="*/ 1384 h 10000"/>
                <a:gd name="connsiteX120" fmla="*/ 5425 w 10000"/>
                <a:gd name="connsiteY120" fmla="*/ 1277 h 10000"/>
                <a:gd name="connsiteX121" fmla="*/ 5222 w 10000"/>
                <a:gd name="connsiteY121" fmla="*/ 1176 h 10000"/>
                <a:gd name="connsiteX122" fmla="*/ 5020 w 10000"/>
                <a:gd name="connsiteY122" fmla="*/ 1074 h 10000"/>
                <a:gd name="connsiteX123" fmla="*/ 4804 w 10000"/>
                <a:gd name="connsiteY123" fmla="*/ 978 h 10000"/>
                <a:gd name="connsiteX124" fmla="*/ 4595 w 10000"/>
                <a:gd name="connsiteY124" fmla="*/ 887 h 10000"/>
                <a:gd name="connsiteX125" fmla="*/ 4379 w 10000"/>
                <a:gd name="connsiteY125" fmla="*/ 802 h 10000"/>
                <a:gd name="connsiteX126" fmla="*/ 4157 w 10000"/>
                <a:gd name="connsiteY126" fmla="*/ 716 h 10000"/>
                <a:gd name="connsiteX127" fmla="*/ 3941 w 10000"/>
                <a:gd name="connsiteY127" fmla="*/ 636 h 10000"/>
                <a:gd name="connsiteX128" fmla="*/ 3719 w 10000"/>
                <a:gd name="connsiteY128" fmla="*/ 567 h 10000"/>
                <a:gd name="connsiteX129" fmla="*/ 3490 w 10000"/>
                <a:gd name="connsiteY129" fmla="*/ 492 h 10000"/>
                <a:gd name="connsiteX130" fmla="*/ 3261 w 10000"/>
                <a:gd name="connsiteY130" fmla="*/ 428 h 10000"/>
                <a:gd name="connsiteX131" fmla="*/ 3026 w 10000"/>
                <a:gd name="connsiteY131" fmla="*/ 363 h 10000"/>
                <a:gd name="connsiteX132" fmla="*/ 2797 w 10000"/>
                <a:gd name="connsiteY132" fmla="*/ 310 h 10000"/>
                <a:gd name="connsiteX133" fmla="*/ 2556 w 10000"/>
                <a:gd name="connsiteY133" fmla="*/ 257 h 10000"/>
                <a:gd name="connsiteX134" fmla="*/ 2314 w 10000"/>
                <a:gd name="connsiteY134" fmla="*/ 208 h 10000"/>
                <a:gd name="connsiteX135" fmla="*/ 2078 w 10000"/>
                <a:gd name="connsiteY135" fmla="*/ 166 h 10000"/>
                <a:gd name="connsiteX136" fmla="*/ 1837 w 10000"/>
                <a:gd name="connsiteY136" fmla="*/ 128 h 10000"/>
                <a:gd name="connsiteX137" fmla="*/ 1588 w 10000"/>
                <a:gd name="connsiteY137" fmla="*/ 91 h 10000"/>
                <a:gd name="connsiteX138" fmla="*/ 1340 w 10000"/>
                <a:gd name="connsiteY138" fmla="*/ 64 h 10000"/>
                <a:gd name="connsiteX139" fmla="*/ 1092 w 10000"/>
                <a:gd name="connsiteY139" fmla="*/ 43 h 10000"/>
                <a:gd name="connsiteX140" fmla="*/ 843 w 10000"/>
                <a:gd name="connsiteY140" fmla="*/ 27 h 10000"/>
                <a:gd name="connsiteX141" fmla="*/ 588 w 10000"/>
                <a:gd name="connsiteY141" fmla="*/ 11 h 10000"/>
                <a:gd name="connsiteX142" fmla="*/ 333 w 10000"/>
                <a:gd name="connsiteY142" fmla="*/ 5 h 10000"/>
                <a:gd name="connsiteX143" fmla="*/ 78 w 10000"/>
                <a:gd name="connsiteY143" fmla="*/ 0 h 10000"/>
                <a:gd name="connsiteX144" fmla="*/ 0 w 10000"/>
                <a:gd name="connsiteY144" fmla="*/ 5 h 10000"/>
                <a:gd name="connsiteX145" fmla="*/ 1245 w 10000"/>
                <a:gd name="connsiteY145" fmla="*/ 2475 h 10000"/>
                <a:gd name="connsiteX146" fmla="*/ 26 w 10000"/>
                <a:gd name="connsiteY146" fmla="*/ 4768 h 10000"/>
                <a:gd name="connsiteX0" fmla="*/ 26 w 10000"/>
                <a:gd name="connsiteY0" fmla="*/ 4768 h 10000"/>
                <a:gd name="connsiteX1" fmla="*/ 59 w 10000"/>
                <a:gd name="connsiteY1" fmla="*/ 4762 h 10000"/>
                <a:gd name="connsiteX2" fmla="*/ 163 w 10000"/>
                <a:gd name="connsiteY2" fmla="*/ 4762 h 10000"/>
                <a:gd name="connsiteX3" fmla="*/ 268 w 10000"/>
                <a:gd name="connsiteY3" fmla="*/ 4768 h 10000"/>
                <a:gd name="connsiteX4" fmla="*/ 373 w 10000"/>
                <a:gd name="connsiteY4" fmla="*/ 4773 h 10000"/>
                <a:gd name="connsiteX5" fmla="*/ 477 w 10000"/>
                <a:gd name="connsiteY5" fmla="*/ 4778 h 10000"/>
                <a:gd name="connsiteX6" fmla="*/ 582 w 10000"/>
                <a:gd name="connsiteY6" fmla="*/ 4794 h 10000"/>
                <a:gd name="connsiteX7" fmla="*/ 686 w 10000"/>
                <a:gd name="connsiteY7" fmla="*/ 4805 h 10000"/>
                <a:gd name="connsiteX8" fmla="*/ 784 w 10000"/>
                <a:gd name="connsiteY8" fmla="*/ 4816 h 10000"/>
                <a:gd name="connsiteX9" fmla="*/ 882 w 10000"/>
                <a:gd name="connsiteY9" fmla="*/ 4832 h 10000"/>
                <a:gd name="connsiteX10" fmla="*/ 987 w 10000"/>
                <a:gd name="connsiteY10" fmla="*/ 4848 h 10000"/>
                <a:gd name="connsiteX11" fmla="*/ 1085 w 10000"/>
                <a:gd name="connsiteY11" fmla="*/ 4869 h 10000"/>
                <a:gd name="connsiteX12" fmla="*/ 1183 w 10000"/>
                <a:gd name="connsiteY12" fmla="*/ 4890 h 10000"/>
                <a:gd name="connsiteX13" fmla="*/ 1281 w 10000"/>
                <a:gd name="connsiteY13" fmla="*/ 4912 h 10000"/>
                <a:gd name="connsiteX14" fmla="*/ 1373 w 10000"/>
                <a:gd name="connsiteY14" fmla="*/ 4939 h 10000"/>
                <a:gd name="connsiteX15" fmla="*/ 1471 w 10000"/>
                <a:gd name="connsiteY15" fmla="*/ 4965 h 10000"/>
                <a:gd name="connsiteX16" fmla="*/ 1562 w 10000"/>
                <a:gd name="connsiteY16" fmla="*/ 4997 h 10000"/>
                <a:gd name="connsiteX17" fmla="*/ 1654 w 10000"/>
                <a:gd name="connsiteY17" fmla="*/ 5029 h 10000"/>
                <a:gd name="connsiteX18" fmla="*/ 1745 w 10000"/>
                <a:gd name="connsiteY18" fmla="*/ 5061 h 10000"/>
                <a:gd name="connsiteX19" fmla="*/ 1837 w 10000"/>
                <a:gd name="connsiteY19" fmla="*/ 5094 h 10000"/>
                <a:gd name="connsiteX20" fmla="*/ 1928 w 10000"/>
                <a:gd name="connsiteY20" fmla="*/ 5131 h 10000"/>
                <a:gd name="connsiteX21" fmla="*/ 2020 w 10000"/>
                <a:gd name="connsiteY21" fmla="*/ 5168 h 10000"/>
                <a:gd name="connsiteX22" fmla="*/ 2105 w 10000"/>
                <a:gd name="connsiteY22" fmla="*/ 5211 h 10000"/>
                <a:gd name="connsiteX23" fmla="*/ 2190 w 10000"/>
                <a:gd name="connsiteY23" fmla="*/ 5249 h 10000"/>
                <a:gd name="connsiteX24" fmla="*/ 2275 w 10000"/>
                <a:gd name="connsiteY24" fmla="*/ 5291 h 10000"/>
                <a:gd name="connsiteX25" fmla="*/ 2353 w 10000"/>
                <a:gd name="connsiteY25" fmla="*/ 5334 h 10000"/>
                <a:gd name="connsiteX26" fmla="*/ 2438 w 10000"/>
                <a:gd name="connsiteY26" fmla="*/ 5382 h 10000"/>
                <a:gd name="connsiteX27" fmla="*/ 2516 w 10000"/>
                <a:gd name="connsiteY27" fmla="*/ 5430 h 10000"/>
                <a:gd name="connsiteX28" fmla="*/ 2595 w 10000"/>
                <a:gd name="connsiteY28" fmla="*/ 5478 h 10000"/>
                <a:gd name="connsiteX29" fmla="*/ 2673 w 10000"/>
                <a:gd name="connsiteY29" fmla="*/ 5526 h 10000"/>
                <a:gd name="connsiteX30" fmla="*/ 2752 w 10000"/>
                <a:gd name="connsiteY30" fmla="*/ 5580 h 10000"/>
                <a:gd name="connsiteX31" fmla="*/ 2824 w 10000"/>
                <a:gd name="connsiteY31" fmla="*/ 5633 h 10000"/>
                <a:gd name="connsiteX32" fmla="*/ 2895 w 10000"/>
                <a:gd name="connsiteY32" fmla="*/ 5687 h 10000"/>
                <a:gd name="connsiteX33" fmla="*/ 2967 w 10000"/>
                <a:gd name="connsiteY33" fmla="*/ 5746 h 10000"/>
                <a:gd name="connsiteX34" fmla="*/ 3033 w 10000"/>
                <a:gd name="connsiteY34" fmla="*/ 5804 h 10000"/>
                <a:gd name="connsiteX35" fmla="*/ 3105 w 10000"/>
                <a:gd name="connsiteY35" fmla="*/ 5863 h 10000"/>
                <a:gd name="connsiteX36" fmla="*/ 3170 w 10000"/>
                <a:gd name="connsiteY36" fmla="*/ 5922 h 10000"/>
                <a:gd name="connsiteX37" fmla="*/ 3229 w 10000"/>
                <a:gd name="connsiteY37" fmla="*/ 5986 h 10000"/>
                <a:gd name="connsiteX38" fmla="*/ 3294 w 10000"/>
                <a:gd name="connsiteY38" fmla="*/ 6045 h 10000"/>
                <a:gd name="connsiteX39" fmla="*/ 3353 w 10000"/>
                <a:gd name="connsiteY39" fmla="*/ 6109 h 10000"/>
                <a:gd name="connsiteX40" fmla="*/ 3412 w 10000"/>
                <a:gd name="connsiteY40" fmla="*/ 6173 h 10000"/>
                <a:gd name="connsiteX41" fmla="*/ 3471 w 10000"/>
                <a:gd name="connsiteY41" fmla="*/ 6237 h 10000"/>
                <a:gd name="connsiteX42" fmla="*/ 3523 w 10000"/>
                <a:gd name="connsiteY42" fmla="*/ 6307 h 10000"/>
                <a:gd name="connsiteX43" fmla="*/ 3575 w 10000"/>
                <a:gd name="connsiteY43" fmla="*/ 6376 h 10000"/>
                <a:gd name="connsiteX44" fmla="*/ 3627 w 10000"/>
                <a:gd name="connsiteY44" fmla="*/ 6446 h 10000"/>
                <a:gd name="connsiteX45" fmla="*/ 3680 w 10000"/>
                <a:gd name="connsiteY45" fmla="*/ 6515 h 10000"/>
                <a:gd name="connsiteX46" fmla="*/ 3719 w 10000"/>
                <a:gd name="connsiteY46" fmla="*/ 6590 h 10000"/>
                <a:gd name="connsiteX47" fmla="*/ 3771 w 10000"/>
                <a:gd name="connsiteY47" fmla="*/ 6665 h 10000"/>
                <a:gd name="connsiteX48" fmla="*/ 3810 w 10000"/>
                <a:gd name="connsiteY48" fmla="*/ 6734 h 10000"/>
                <a:gd name="connsiteX49" fmla="*/ 3850 w 10000"/>
                <a:gd name="connsiteY49" fmla="*/ 6809 h 10000"/>
                <a:gd name="connsiteX50" fmla="*/ 3889 w 10000"/>
                <a:gd name="connsiteY50" fmla="*/ 6884 h 10000"/>
                <a:gd name="connsiteX51" fmla="*/ 3922 w 10000"/>
                <a:gd name="connsiteY51" fmla="*/ 6959 h 10000"/>
                <a:gd name="connsiteX52" fmla="*/ 3954 w 10000"/>
                <a:gd name="connsiteY52" fmla="*/ 7039 h 10000"/>
                <a:gd name="connsiteX53" fmla="*/ 3987 w 10000"/>
                <a:gd name="connsiteY53" fmla="*/ 7119 h 10000"/>
                <a:gd name="connsiteX54" fmla="*/ 4020 w 10000"/>
                <a:gd name="connsiteY54" fmla="*/ 7194 h 10000"/>
                <a:gd name="connsiteX55" fmla="*/ 4046 w 10000"/>
                <a:gd name="connsiteY55" fmla="*/ 7274 h 10000"/>
                <a:gd name="connsiteX56" fmla="*/ 4065 w 10000"/>
                <a:gd name="connsiteY56" fmla="*/ 7354 h 10000"/>
                <a:gd name="connsiteX57" fmla="*/ 4092 w 10000"/>
                <a:gd name="connsiteY57" fmla="*/ 7440 h 10000"/>
                <a:gd name="connsiteX58" fmla="*/ 4111 w 10000"/>
                <a:gd name="connsiteY58" fmla="*/ 7520 h 10000"/>
                <a:gd name="connsiteX59" fmla="*/ 4131 w 10000"/>
                <a:gd name="connsiteY59" fmla="*/ 7600 h 10000"/>
                <a:gd name="connsiteX60" fmla="*/ 4144 w 10000"/>
                <a:gd name="connsiteY60" fmla="*/ 7686 h 10000"/>
                <a:gd name="connsiteX61" fmla="*/ 4157 w 10000"/>
                <a:gd name="connsiteY61" fmla="*/ 7771 h 10000"/>
                <a:gd name="connsiteX62" fmla="*/ 4163 w 10000"/>
                <a:gd name="connsiteY62" fmla="*/ 7857 h 10000"/>
                <a:gd name="connsiteX63" fmla="*/ 4170 w 10000"/>
                <a:gd name="connsiteY63" fmla="*/ 7942 h 10000"/>
                <a:gd name="connsiteX64" fmla="*/ 4170 w 10000"/>
                <a:gd name="connsiteY64" fmla="*/ 8028 h 10000"/>
                <a:gd name="connsiteX65" fmla="*/ 4176 w 10000"/>
                <a:gd name="connsiteY65" fmla="*/ 8113 h 10000"/>
                <a:gd name="connsiteX66" fmla="*/ 4170 w 10000"/>
                <a:gd name="connsiteY66" fmla="*/ 8226 h 10000"/>
                <a:gd name="connsiteX67" fmla="*/ 4163 w 10000"/>
                <a:gd name="connsiteY67" fmla="*/ 8343 h 10000"/>
                <a:gd name="connsiteX68" fmla="*/ 4157 w 10000"/>
                <a:gd name="connsiteY68" fmla="*/ 8450 h 10000"/>
                <a:gd name="connsiteX69" fmla="*/ 4137 w 10000"/>
                <a:gd name="connsiteY69" fmla="*/ 8562 h 10000"/>
                <a:gd name="connsiteX70" fmla="*/ 6739 w 10000"/>
                <a:gd name="connsiteY70" fmla="*/ 10000 h 10000"/>
                <a:gd name="connsiteX71" fmla="*/ 9850 w 10000"/>
                <a:gd name="connsiteY71" fmla="*/ 9498 h 10000"/>
                <a:gd name="connsiteX72" fmla="*/ 9889 w 10000"/>
                <a:gd name="connsiteY72" fmla="*/ 9332 h 10000"/>
                <a:gd name="connsiteX73" fmla="*/ 9915 w 10000"/>
                <a:gd name="connsiteY73" fmla="*/ 9161 h 10000"/>
                <a:gd name="connsiteX74" fmla="*/ 9941 w 10000"/>
                <a:gd name="connsiteY74" fmla="*/ 8990 h 10000"/>
                <a:gd name="connsiteX75" fmla="*/ 9961 w 10000"/>
                <a:gd name="connsiteY75" fmla="*/ 8813 h 10000"/>
                <a:gd name="connsiteX76" fmla="*/ 9974 w 10000"/>
                <a:gd name="connsiteY76" fmla="*/ 8637 h 10000"/>
                <a:gd name="connsiteX77" fmla="*/ 9987 w 10000"/>
                <a:gd name="connsiteY77" fmla="*/ 8466 h 10000"/>
                <a:gd name="connsiteX78" fmla="*/ 9993 w 10000"/>
                <a:gd name="connsiteY78" fmla="*/ 8290 h 10000"/>
                <a:gd name="connsiteX79" fmla="*/ 10000 w 10000"/>
                <a:gd name="connsiteY79" fmla="*/ 8113 h 10000"/>
                <a:gd name="connsiteX80" fmla="*/ 9993 w 10000"/>
                <a:gd name="connsiteY80" fmla="*/ 7900 h 10000"/>
                <a:gd name="connsiteX81" fmla="*/ 9987 w 10000"/>
                <a:gd name="connsiteY81" fmla="*/ 7696 h 10000"/>
                <a:gd name="connsiteX82" fmla="*/ 9967 w 10000"/>
                <a:gd name="connsiteY82" fmla="*/ 7488 h 10000"/>
                <a:gd name="connsiteX83" fmla="*/ 9948 w 10000"/>
                <a:gd name="connsiteY83" fmla="*/ 7285 h 10000"/>
                <a:gd name="connsiteX84" fmla="*/ 9915 w 10000"/>
                <a:gd name="connsiteY84" fmla="*/ 7076 h 10000"/>
                <a:gd name="connsiteX85" fmla="*/ 9882 w 10000"/>
                <a:gd name="connsiteY85" fmla="*/ 6879 h 10000"/>
                <a:gd name="connsiteX86" fmla="*/ 9843 w 10000"/>
                <a:gd name="connsiteY86" fmla="*/ 6676 h 10000"/>
                <a:gd name="connsiteX87" fmla="*/ 9797 w 10000"/>
                <a:gd name="connsiteY87" fmla="*/ 6478 h 10000"/>
                <a:gd name="connsiteX88" fmla="*/ 9745 w 10000"/>
                <a:gd name="connsiteY88" fmla="*/ 6280 h 10000"/>
                <a:gd name="connsiteX89" fmla="*/ 9686 w 10000"/>
                <a:gd name="connsiteY89" fmla="*/ 6088 h 10000"/>
                <a:gd name="connsiteX90" fmla="*/ 9621 w 10000"/>
                <a:gd name="connsiteY90" fmla="*/ 5890 h 10000"/>
                <a:gd name="connsiteX91" fmla="*/ 9556 w 10000"/>
                <a:gd name="connsiteY91" fmla="*/ 5697 h 10000"/>
                <a:gd name="connsiteX92" fmla="*/ 9477 w 10000"/>
                <a:gd name="connsiteY92" fmla="*/ 5510 h 10000"/>
                <a:gd name="connsiteX93" fmla="*/ 9399 w 10000"/>
                <a:gd name="connsiteY93" fmla="*/ 5323 h 10000"/>
                <a:gd name="connsiteX94" fmla="*/ 9307 w 10000"/>
                <a:gd name="connsiteY94" fmla="*/ 5136 h 10000"/>
                <a:gd name="connsiteX95" fmla="*/ 9216 w 10000"/>
                <a:gd name="connsiteY95" fmla="*/ 4955 h 10000"/>
                <a:gd name="connsiteX96" fmla="*/ 9124 w 10000"/>
                <a:gd name="connsiteY96" fmla="*/ 4773 h 10000"/>
                <a:gd name="connsiteX97" fmla="*/ 9020 w 10000"/>
                <a:gd name="connsiteY97" fmla="*/ 4596 h 10000"/>
                <a:gd name="connsiteX98" fmla="*/ 8915 w 10000"/>
                <a:gd name="connsiteY98" fmla="*/ 4420 h 10000"/>
                <a:gd name="connsiteX99" fmla="*/ 8804 w 10000"/>
                <a:gd name="connsiteY99" fmla="*/ 4244 h 10000"/>
                <a:gd name="connsiteX100" fmla="*/ 8686 w 10000"/>
                <a:gd name="connsiteY100" fmla="*/ 4073 h 10000"/>
                <a:gd name="connsiteX101" fmla="*/ 8562 w 10000"/>
                <a:gd name="connsiteY101" fmla="*/ 3907 h 10000"/>
                <a:gd name="connsiteX102" fmla="*/ 8438 w 10000"/>
                <a:gd name="connsiteY102" fmla="*/ 3741 h 10000"/>
                <a:gd name="connsiteX103" fmla="*/ 8307 w 10000"/>
                <a:gd name="connsiteY103" fmla="*/ 3576 h 10000"/>
                <a:gd name="connsiteX104" fmla="*/ 8170 w 10000"/>
                <a:gd name="connsiteY104" fmla="*/ 3415 h 10000"/>
                <a:gd name="connsiteX105" fmla="*/ 8026 w 10000"/>
                <a:gd name="connsiteY105" fmla="*/ 3260 h 10000"/>
                <a:gd name="connsiteX106" fmla="*/ 7882 w 10000"/>
                <a:gd name="connsiteY106" fmla="*/ 3105 h 10000"/>
                <a:gd name="connsiteX107" fmla="*/ 7732 w 10000"/>
                <a:gd name="connsiteY107" fmla="*/ 2950 h 10000"/>
                <a:gd name="connsiteX108" fmla="*/ 7582 w 10000"/>
                <a:gd name="connsiteY108" fmla="*/ 2806 h 10000"/>
                <a:gd name="connsiteX109" fmla="*/ 7418 w 10000"/>
                <a:gd name="connsiteY109" fmla="*/ 2662 h 10000"/>
                <a:gd name="connsiteX110" fmla="*/ 7261 w 10000"/>
                <a:gd name="connsiteY110" fmla="*/ 2517 h 10000"/>
                <a:gd name="connsiteX111" fmla="*/ 7092 w 10000"/>
                <a:gd name="connsiteY111" fmla="*/ 2373 h 10000"/>
                <a:gd name="connsiteX112" fmla="*/ 6922 w 10000"/>
                <a:gd name="connsiteY112" fmla="*/ 2239 h 10000"/>
                <a:gd name="connsiteX113" fmla="*/ 6752 w 10000"/>
                <a:gd name="connsiteY113" fmla="*/ 2106 h 10000"/>
                <a:gd name="connsiteX114" fmla="*/ 6569 w 10000"/>
                <a:gd name="connsiteY114" fmla="*/ 1978 h 10000"/>
                <a:gd name="connsiteX115" fmla="*/ 6386 w 10000"/>
                <a:gd name="connsiteY115" fmla="*/ 1855 h 10000"/>
                <a:gd name="connsiteX116" fmla="*/ 6203 w 10000"/>
                <a:gd name="connsiteY116" fmla="*/ 1732 h 10000"/>
                <a:gd name="connsiteX117" fmla="*/ 6013 w 10000"/>
                <a:gd name="connsiteY117" fmla="*/ 1614 h 10000"/>
                <a:gd name="connsiteX118" fmla="*/ 5817 w 10000"/>
                <a:gd name="connsiteY118" fmla="*/ 1497 h 10000"/>
                <a:gd name="connsiteX119" fmla="*/ 5621 w 10000"/>
                <a:gd name="connsiteY119" fmla="*/ 1384 h 10000"/>
                <a:gd name="connsiteX120" fmla="*/ 5425 w 10000"/>
                <a:gd name="connsiteY120" fmla="*/ 1277 h 10000"/>
                <a:gd name="connsiteX121" fmla="*/ 5222 w 10000"/>
                <a:gd name="connsiteY121" fmla="*/ 1176 h 10000"/>
                <a:gd name="connsiteX122" fmla="*/ 5020 w 10000"/>
                <a:gd name="connsiteY122" fmla="*/ 1074 h 10000"/>
                <a:gd name="connsiteX123" fmla="*/ 4804 w 10000"/>
                <a:gd name="connsiteY123" fmla="*/ 978 h 10000"/>
                <a:gd name="connsiteX124" fmla="*/ 4595 w 10000"/>
                <a:gd name="connsiteY124" fmla="*/ 887 h 10000"/>
                <a:gd name="connsiteX125" fmla="*/ 4379 w 10000"/>
                <a:gd name="connsiteY125" fmla="*/ 802 h 10000"/>
                <a:gd name="connsiteX126" fmla="*/ 4157 w 10000"/>
                <a:gd name="connsiteY126" fmla="*/ 716 h 10000"/>
                <a:gd name="connsiteX127" fmla="*/ 3941 w 10000"/>
                <a:gd name="connsiteY127" fmla="*/ 636 h 10000"/>
                <a:gd name="connsiteX128" fmla="*/ 3719 w 10000"/>
                <a:gd name="connsiteY128" fmla="*/ 567 h 10000"/>
                <a:gd name="connsiteX129" fmla="*/ 3490 w 10000"/>
                <a:gd name="connsiteY129" fmla="*/ 492 h 10000"/>
                <a:gd name="connsiteX130" fmla="*/ 3261 w 10000"/>
                <a:gd name="connsiteY130" fmla="*/ 428 h 10000"/>
                <a:gd name="connsiteX131" fmla="*/ 3026 w 10000"/>
                <a:gd name="connsiteY131" fmla="*/ 363 h 10000"/>
                <a:gd name="connsiteX132" fmla="*/ 2797 w 10000"/>
                <a:gd name="connsiteY132" fmla="*/ 310 h 10000"/>
                <a:gd name="connsiteX133" fmla="*/ 2556 w 10000"/>
                <a:gd name="connsiteY133" fmla="*/ 257 h 10000"/>
                <a:gd name="connsiteX134" fmla="*/ 2314 w 10000"/>
                <a:gd name="connsiteY134" fmla="*/ 208 h 10000"/>
                <a:gd name="connsiteX135" fmla="*/ 2078 w 10000"/>
                <a:gd name="connsiteY135" fmla="*/ 166 h 10000"/>
                <a:gd name="connsiteX136" fmla="*/ 1837 w 10000"/>
                <a:gd name="connsiteY136" fmla="*/ 128 h 10000"/>
                <a:gd name="connsiteX137" fmla="*/ 1588 w 10000"/>
                <a:gd name="connsiteY137" fmla="*/ 91 h 10000"/>
                <a:gd name="connsiteX138" fmla="*/ 1340 w 10000"/>
                <a:gd name="connsiteY138" fmla="*/ 64 h 10000"/>
                <a:gd name="connsiteX139" fmla="*/ 1092 w 10000"/>
                <a:gd name="connsiteY139" fmla="*/ 43 h 10000"/>
                <a:gd name="connsiteX140" fmla="*/ 843 w 10000"/>
                <a:gd name="connsiteY140" fmla="*/ 27 h 10000"/>
                <a:gd name="connsiteX141" fmla="*/ 588 w 10000"/>
                <a:gd name="connsiteY141" fmla="*/ 11 h 10000"/>
                <a:gd name="connsiteX142" fmla="*/ 333 w 10000"/>
                <a:gd name="connsiteY142" fmla="*/ 5 h 10000"/>
                <a:gd name="connsiteX143" fmla="*/ 78 w 10000"/>
                <a:gd name="connsiteY143" fmla="*/ 0 h 10000"/>
                <a:gd name="connsiteX144" fmla="*/ 0 w 10000"/>
                <a:gd name="connsiteY144" fmla="*/ 5 h 10000"/>
                <a:gd name="connsiteX145" fmla="*/ 1245 w 10000"/>
                <a:gd name="connsiteY145" fmla="*/ 2443 h 10000"/>
                <a:gd name="connsiteX146" fmla="*/ 26 w 10000"/>
                <a:gd name="connsiteY146" fmla="*/ 4768 h 10000"/>
                <a:gd name="connsiteX0" fmla="*/ 26 w 10000"/>
                <a:gd name="connsiteY0" fmla="*/ 4768 h 10000"/>
                <a:gd name="connsiteX1" fmla="*/ 59 w 10000"/>
                <a:gd name="connsiteY1" fmla="*/ 4762 h 10000"/>
                <a:gd name="connsiteX2" fmla="*/ 163 w 10000"/>
                <a:gd name="connsiteY2" fmla="*/ 4762 h 10000"/>
                <a:gd name="connsiteX3" fmla="*/ 268 w 10000"/>
                <a:gd name="connsiteY3" fmla="*/ 4768 h 10000"/>
                <a:gd name="connsiteX4" fmla="*/ 373 w 10000"/>
                <a:gd name="connsiteY4" fmla="*/ 4773 h 10000"/>
                <a:gd name="connsiteX5" fmla="*/ 477 w 10000"/>
                <a:gd name="connsiteY5" fmla="*/ 4778 h 10000"/>
                <a:gd name="connsiteX6" fmla="*/ 582 w 10000"/>
                <a:gd name="connsiteY6" fmla="*/ 4794 h 10000"/>
                <a:gd name="connsiteX7" fmla="*/ 686 w 10000"/>
                <a:gd name="connsiteY7" fmla="*/ 4805 h 10000"/>
                <a:gd name="connsiteX8" fmla="*/ 784 w 10000"/>
                <a:gd name="connsiteY8" fmla="*/ 4816 h 10000"/>
                <a:gd name="connsiteX9" fmla="*/ 882 w 10000"/>
                <a:gd name="connsiteY9" fmla="*/ 4832 h 10000"/>
                <a:gd name="connsiteX10" fmla="*/ 987 w 10000"/>
                <a:gd name="connsiteY10" fmla="*/ 4848 h 10000"/>
                <a:gd name="connsiteX11" fmla="*/ 1085 w 10000"/>
                <a:gd name="connsiteY11" fmla="*/ 4869 h 10000"/>
                <a:gd name="connsiteX12" fmla="*/ 1183 w 10000"/>
                <a:gd name="connsiteY12" fmla="*/ 4890 h 10000"/>
                <a:gd name="connsiteX13" fmla="*/ 1281 w 10000"/>
                <a:gd name="connsiteY13" fmla="*/ 4912 h 10000"/>
                <a:gd name="connsiteX14" fmla="*/ 1373 w 10000"/>
                <a:gd name="connsiteY14" fmla="*/ 4939 h 10000"/>
                <a:gd name="connsiteX15" fmla="*/ 1471 w 10000"/>
                <a:gd name="connsiteY15" fmla="*/ 4965 h 10000"/>
                <a:gd name="connsiteX16" fmla="*/ 1562 w 10000"/>
                <a:gd name="connsiteY16" fmla="*/ 4997 h 10000"/>
                <a:gd name="connsiteX17" fmla="*/ 1654 w 10000"/>
                <a:gd name="connsiteY17" fmla="*/ 5029 h 10000"/>
                <a:gd name="connsiteX18" fmla="*/ 1745 w 10000"/>
                <a:gd name="connsiteY18" fmla="*/ 5061 h 10000"/>
                <a:gd name="connsiteX19" fmla="*/ 1837 w 10000"/>
                <a:gd name="connsiteY19" fmla="*/ 5094 h 10000"/>
                <a:gd name="connsiteX20" fmla="*/ 1928 w 10000"/>
                <a:gd name="connsiteY20" fmla="*/ 5131 h 10000"/>
                <a:gd name="connsiteX21" fmla="*/ 2020 w 10000"/>
                <a:gd name="connsiteY21" fmla="*/ 5168 h 10000"/>
                <a:gd name="connsiteX22" fmla="*/ 2105 w 10000"/>
                <a:gd name="connsiteY22" fmla="*/ 5211 h 10000"/>
                <a:gd name="connsiteX23" fmla="*/ 2190 w 10000"/>
                <a:gd name="connsiteY23" fmla="*/ 5249 h 10000"/>
                <a:gd name="connsiteX24" fmla="*/ 2275 w 10000"/>
                <a:gd name="connsiteY24" fmla="*/ 5291 h 10000"/>
                <a:gd name="connsiteX25" fmla="*/ 2353 w 10000"/>
                <a:gd name="connsiteY25" fmla="*/ 5334 h 10000"/>
                <a:gd name="connsiteX26" fmla="*/ 2438 w 10000"/>
                <a:gd name="connsiteY26" fmla="*/ 5382 h 10000"/>
                <a:gd name="connsiteX27" fmla="*/ 2516 w 10000"/>
                <a:gd name="connsiteY27" fmla="*/ 5430 h 10000"/>
                <a:gd name="connsiteX28" fmla="*/ 2595 w 10000"/>
                <a:gd name="connsiteY28" fmla="*/ 5478 h 10000"/>
                <a:gd name="connsiteX29" fmla="*/ 2673 w 10000"/>
                <a:gd name="connsiteY29" fmla="*/ 5526 h 10000"/>
                <a:gd name="connsiteX30" fmla="*/ 2752 w 10000"/>
                <a:gd name="connsiteY30" fmla="*/ 5580 h 10000"/>
                <a:gd name="connsiteX31" fmla="*/ 2824 w 10000"/>
                <a:gd name="connsiteY31" fmla="*/ 5633 h 10000"/>
                <a:gd name="connsiteX32" fmla="*/ 2895 w 10000"/>
                <a:gd name="connsiteY32" fmla="*/ 5687 h 10000"/>
                <a:gd name="connsiteX33" fmla="*/ 2967 w 10000"/>
                <a:gd name="connsiteY33" fmla="*/ 5746 h 10000"/>
                <a:gd name="connsiteX34" fmla="*/ 3033 w 10000"/>
                <a:gd name="connsiteY34" fmla="*/ 5804 h 10000"/>
                <a:gd name="connsiteX35" fmla="*/ 3105 w 10000"/>
                <a:gd name="connsiteY35" fmla="*/ 5863 h 10000"/>
                <a:gd name="connsiteX36" fmla="*/ 3170 w 10000"/>
                <a:gd name="connsiteY36" fmla="*/ 5922 h 10000"/>
                <a:gd name="connsiteX37" fmla="*/ 3229 w 10000"/>
                <a:gd name="connsiteY37" fmla="*/ 5986 h 10000"/>
                <a:gd name="connsiteX38" fmla="*/ 3294 w 10000"/>
                <a:gd name="connsiteY38" fmla="*/ 6045 h 10000"/>
                <a:gd name="connsiteX39" fmla="*/ 3353 w 10000"/>
                <a:gd name="connsiteY39" fmla="*/ 6109 h 10000"/>
                <a:gd name="connsiteX40" fmla="*/ 3412 w 10000"/>
                <a:gd name="connsiteY40" fmla="*/ 6173 h 10000"/>
                <a:gd name="connsiteX41" fmla="*/ 3471 w 10000"/>
                <a:gd name="connsiteY41" fmla="*/ 6237 h 10000"/>
                <a:gd name="connsiteX42" fmla="*/ 3523 w 10000"/>
                <a:gd name="connsiteY42" fmla="*/ 6307 h 10000"/>
                <a:gd name="connsiteX43" fmla="*/ 3575 w 10000"/>
                <a:gd name="connsiteY43" fmla="*/ 6376 h 10000"/>
                <a:gd name="connsiteX44" fmla="*/ 3627 w 10000"/>
                <a:gd name="connsiteY44" fmla="*/ 6446 h 10000"/>
                <a:gd name="connsiteX45" fmla="*/ 3680 w 10000"/>
                <a:gd name="connsiteY45" fmla="*/ 6515 h 10000"/>
                <a:gd name="connsiteX46" fmla="*/ 3719 w 10000"/>
                <a:gd name="connsiteY46" fmla="*/ 6590 h 10000"/>
                <a:gd name="connsiteX47" fmla="*/ 3771 w 10000"/>
                <a:gd name="connsiteY47" fmla="*/ 6665 h 10000"/>
                <a:gd name="connsiteX48" fmla="*/ 3810 w 10000"/>
                <a:gd name="connsiteY48" fmla="*/ 6734 h 10000"/>
                <a:gd name="connsiteX49" fmla="*/ 3850 w 10000"/>
                <a:gd name="connsiteY49" fmla="*/ 6809 h 10000"/>
                <a:gd name="connsiteX50" fmla="*/ 3889 w 10000"/>
                <a:gd name="connsiteY50" fmla="*/ 6884 h 10000"/>
                <a:gd name="connsiteX51" fmla="*/ 3922 w 10000"/>
                <a:gd name="connsiteY51" fmla="*/ 6959 h 10000"/>
                <a:gd name="connsiteX52" fmla="*/ 3954 w 10000"/>
                <a:gd name="connsiteY52" fmla="*/ 7039 h 10000"/>
                <a:gd name="connsiteX53" fmla="*/ 3987 w 10000"/>
                <a:gd name="connsiteY53" fmla="*/ 7119 h 10000"/>
                <a:gd name="connsiteX54" fmla="*/ 4020 w 10000"/>
                <a:gd name="connsiteY54" fmla="*/ 7194 h 10000"/>
                <a:gd name="connsiteX55" fmla="*/ 4046 w 10000"/>
                <a:gd name="connsiteY55" fmla="*/ 7274 h 10000"/>
                <a:gd name="connsiteX56" fmla="*/ 4065 w 10000"/>
                <a:gd name="connsiteY56" fmla="*/ 7354 h 10000"/>
                <a:gd name="connsiteX57" fmla="*/ 4092 w 10000"/>
                <a:gd name="connsiteY57" fmla="*/ 7440 h 10000"/>
                <a:gd name="connsiteX58" fmla="*/ 4111 w 10000"/>
                <a:gd name="connsiteY58" fmla="*/ 7520 h 10000"/>
                <a:gd name="connsiteX59" fmla="*/ 4131 w 10000"/>
                <a:gd name="connsiteY59" fmla="*/ 7600 h 10000"/>
                <a:gd name="connsiteX60" fmla="*/ 4144 w 10000"/>
                <a:gd name="connsiteY60" fmla="*/ 7686 h 10000"/>
                <a:gd name="connsiteX61" fmla="*/ 4157 w 10000"/>
                <a:gd name="connsiteY61" fmla="*/ 7771 h 10000"/>
                <a:gd name="connsiteX62" fmla="*/ 4163 w 10000"/>
                <a:gd name="connsiteY62" fmla="*/ 7857 h 10000"/>
                <a:gd name="connsiteX63" fmla="*/ 4170 w 10000"/>
                <a:gd name="connsiteY63" fmla="*/ 7942 h 10000"/>
                <a:gd name="connsiteX64" fmla="*/ 4170 w 10000"/>
                <a:gd name="connsiteY64" fmla="*/ 8028 h 10000"/>
                <a:gd name="connsiteX65" fmla="*/ 4176 w 10000"/>
                <a:gd name="connsiteY65" fmla="*/ 8113 h 10000"/>
                <a:gd name="connsiteX66" fmla="*/ 4170 w 10000"/>
                <a:gd name="connsiteY66" fmla="*/ 8226 h 10000"/>
                <a:gd name="connsiteX67" fmla="*/ 4163 w 10000"/>
                <a:gd name="connsiteY67" fmla="*/ 8343 h 10000"/>
                <a:gd name="connsiteX68" fmla="*/ 4157 w 10000"/>
                <a:gd name="connsiteY68" fmla="*/ 8450 h 10000"/>
                <a:gd name="connsiteX69" fmla="*/ 4137 w 10000"/>
                <a:gd name="connsiteY69" fmla="*/ 8562 h 10000"/>
                <a:gd name="connsiteX70" fmla="*/ 6739 w 10000"/>
                <a:gd name="connsiteY70" fmla="*/ 10000 h 10000"/>
                <a:gd name="connsiteX71" fmla="*/ 9850 w 10000"/>
                <a:gd name="connsiteY71" fmla="*/ 9498 h 10000"/>
                <a:gd name="connsiteX72" fmla="*/ 9889 w 10000"/>
                <a:gd name="connsiteY72" fmla="*/ 9332 h 10000"/>
                <a:gd name="connsiteX73" fmla="*/ 9915 w 10000"/>
                <a:gd name="connsiteY73" fmla="*/ 9161 h 10000"/>
                <a:gd name="connsiteX74" fmla="*/ 9941 w 10000"/>
                <a:gd name="connsiteY74" fmla="*/ 8990 h 10000"/>
                <a:gd name="connsiteX75" fmla="*/ 9961 w 10000"/>
                <a:gd name="connsiteY75" fmla="*/ 8813 h 10000"/>
                <a:gd name="connsiteX76" fmla="*/ 9974 w 10000"/>
                <a:gd name="connsiteY76" fmla="*/ 8637 h 10000"/>
                <a:gd name="connsiteX77" fmla="*/ 9987 w 10000"/>
                <a:gd name="connsiteY77" fmla="*/ 8466 h 10000"/>
                <a:gd name="connsiteX78" fmla="*/ 9993 w 10000"/>
                <a:gd name="connsiteY78" fmla="*/ 8290 h 10000"/>
                <a:gd name="connsiteX79" fmla="*/ 10000 w 10000"/>
                <a:gd name="connsiteY79" fmla="*/ 8113 h 10000"/>
                <a:gd name="connsiteX80" fmla="*/ 9993 w 10000"/>
                <a:gd name="connsiteY80" fmla="*/ 7900 h 10000"/>
                <a:gd name="connsiteX81" fmla="*/ 9987 w 10000"/>
                <a:gd name="connsiteY81" fmla="*/ 7696 h 10000"/>
                <a:gd name="connsiteX82" fmla="*/ 9967 w 10000"/>
                <a:gd name="connsiteY82" fmla="*/ 7488 h 10000"/>
                <a:gd name="connsiteX83" fmla="*/ 9948 w 10000"/>
                <a:gd name="connsiteY83" fmla="*/ 7285 h 10000"/>
                <a:gd name="connsiteX84" fmla="*/ 9915 w 10000"/>
                <a:gd name="connsiteY84" fmla="*/ 7076 h 10000"/>
                <a:gd name="connsiteX85" fmla="*/ 9882 w 10000"/>
                <a:gd name="connsiteY85" fmla="*/ 6879 h 10000"/>
                <a:gd name="connsiteX86" fmla="*/ 9843 w 10000"/>
                <a:gd name="connsiteY86" fmla="*/ 6676 h 10000"/>
                <a:gd name="connsiteX87" fmla="*/ 9797 w 10000"/>
                <a:gd name="connsiteY87" fmla="*/ 6478 h 10000"/>
                <a:gd name="connsiteX88" fmla="*/ 9745 w 10000"/>
                <a:gd name="connsiteY88" fmla="*/ 6280 h 10000"/>
                <a:gd name="connsiteX89" fmla="*/ 9686 w 10000"/>
                <a:gd name="connsiteY89" fmla="*/ 6088 h 10000"/>
                <a:gd name="connsiteX90" fmla="*/ 9621 w 10000"/>
                <a:gd name="connsiteY90" fmla="*/ 5890 h 10000"/>
                <a:gd name="connsiteX91" fmla="*/ 9556 w 10000"/>
                <a:gd name="connsiteY91" fmla="*/ 5697 h 10000"/>
                <a:gd name="connsiteX92" fmla="*/ 9477 w 10000"/>
                <a:gd name="connsiteY92" fmla="*/ 5510 h 10000"/>
                <a:gd name="connsiteX93" fmla="*/ 9399 w 10000"/>
                <a:gd name="connsiteY93" fmla="*/ 5323 h 10000"/>
                <a:gd name="connsiteX94" fmla="*/ 9307 w 10000"/>
                <a:gd name="connsiteY94" fmla="*/ 5136 h 10000"/>
                <a:gd name="connsiteX95" fmla="*/ 9216 w 10000"/>
                <a:gd name="connsiteY95" fmla="*/ 4955 h 10000"/>
                <a:gd name="connsiteX96" fmla="*/ 9124 w 10000"/>
                <a:gd name="connsiteY96" fmla="*/ 4773 h 10000"/>
                <a:gd name="connsiteX97" fmla="*/ 9020 w 10000"/>
                <a:gd name="connsiteY97" fmla="*/ 4596 h 10000"/>
                <a:gd name="connsiteX98" fmla="*/ 8915 w 10000"/>
                <a:gd name="connsiteY98" fmla="*/ 4420 h 10000"/>
                <a:gd name="connsiteX99" fmla="*/ 8804 w 10000"/>
                <a:gd name="connsiteY99" fmla="*/ 4244 h 10000"/>
                <a:gd name="connsiteX100" fmla="*/ 8686 w 10000"/>
                <a:gd name="connsiteY100" fmla="*/ 4073 h 10000"/>
                <a:gd name="connsiteX101" fmla="*/ 8562 w 10000"/>
                <a:gd name="connsiteY101" fmla="*/ 3907 h 10000"/>
                <a:gd name="connsiteX102" fmla="*/ 8438 w 10000"/>
                <a:gd name="connsiteY102" fmla="*/ 3741 h 10000"/>
                <a:gd name="connsiteX103" fmla="*/ 8307 w 10000"/>
                <a:gd name="connsiteY103" fmla="*/ 3576 h 10000"/>
                <a:gd name="connsiteX104" fmla="*/ 8170 w 10000"/>
                <a:gd name="connsiteY104" fmla="*/ 3415 h 10000"/>
                <a:gd name="connsiteX105" fmla="*/ 8026 w 10000"/>
                <a:gd name="connsiteY105" fmla="*/ 3260 h 10000"/>
                <a:gd name="connsiteX106" fmla="*/ 7882 w 10000"/>
                <a:gd name="connsiteY106" fmla="*/ 3105 h 10000"/>
                <a:gd name="connsiteX107" fmla="*/ 7732 w 10000"/>
                <a:gd name="connsiteY107" fmla="*/ 2950 h 10000"/>
                <a:gd name="connsiteX108" fmla="*/ 7582 w 10000"/>
                <a:gd name="connsiteY108" fmla="*/ 2806 h 10000"/>
                <a:gd name="connsiteX109" fmla="*/ 7418 w 10000"/>
                <a:gd name="connsiteY109" fmla="*/ 2662 h 10000"/>
                <a:gd name="connsiteX110" fmla="*/ 7261 w 10000"/>
                <a:gd name="connsiteY110" fmla="*/ 2517 h 10000"/>
                <a:gd name="connsiteX111" fmla="*/ 7092 w 10000"/>
                <a:gd name="connsiteY111" fmla="*/ 2373 h 10000"/>
                <a:gd name="connsiteX112" fmla="*/ 6922 w 10000"/>
                <a:gd name="connsiteY112" fmla="*/ 2239 h 10000"/>
                <a:gd name="connsiteX113" fmla="*/ 6752 w 10000"/>
                <a:gd name="connsiteY113" fmla="*/ 2106 h 10000"/>
                <a:gd name="connsiteX114" fmla="*/ 6569 w 10000"/>
                <a:gd name="connsiteY114" fmla="*/ 1978 h 10000"/>
                <a:gd name="connsiteX115" fmla="*/ 6386 w 10000"/>
                <a:gd name="connsiteY115" fmla="*/ 1855 h 10000"/>
                <a:gd name="connsiteX116" fmla="*/ 6203 w 10000"/>
                <a:gd name="connsiteY116" fmla="*/ 1732 h 10000"/>
                <a:gd name="connsiteX117" fmla="*/ 6013 w 10000"/>
                <a:gd name="connsiteY117" fmla="*/ 1614 h 10000"/>
                <a:gd name="connsiteX118" fmla="*/ 5817 w 10000"/>
                <a:gd name="connsiteY118" fmla="*/ 1497 h 10000"/>
                <a:gd name="connsiteX119" fmla="*/ 5621 w 10000"/>
                <a:gd name="connsiteY119" fmla="*/ 1384 h 10000"/>
                <a:gd name="connsiteX120" fmla="*/ 5425 w 10000"/>
                <a:gd name="connsiteY120" fmla="*/ 1277 h 10000"/>
                <a:gd name="connsiteX121" fmla="*/ 5222 w 10000"/>
                <a:gd name="connsiteY121" fmla="*/ 1176 h 10000"/>
                <a:gd name="connsiteX122" fmla="*/ 5020 w 10000"/>
                <a:gd name="connsiteY122" fmla="*/ 1074 h 10000"/>
                <a:gd name="connsiteX123" fmla="*/ 4804 w 10000"/>
                <a:gd name="connsiteY123" fmla="*/ 978 h 10000"/>
                <a:gd name="connsiteX124" fmla="*/ 4595 w 10000"/>
                <a:gd name="connsiteY124" fmla="*/ 887 h 10000"/>
                <a:gd name="connsiteX125" fmla="*/ 4379 w 10000"/>
                <a:gd name="connsiteY125" fmla="*/ 802 h 10000"/>
                <a:gd name="connsiteX126" fmla="*/ 4157 w 10000"/>
                <a:gd name="connsiteY126" fmla="*/ 716 h 10000"/>
                <a:gd name="connsiteX127" fmla="*/ 3941 w 10000"/>
                <a:gd name="connsiteY127" fmla="*/ 636 h 10000"/>
                <a:gd name="connsiteX128" fmla="*/ 3719 w 10000"/>
                <a:gd name="connsiteY128" fmla="*/ 567 h 10000"/>
                <a:gd name="connsiteX129" fmla="*/ 3490 w 10000"/>
                <a:gd name="connsiteY129" fmla="*/ 492 h 10000"/>
                <a:gd name="connsiteX130" fmla="*/ 3261 w 10000"/>
                <a:gd name="connsiteY130" fmla="*/ 428 h 10000"/>
                <a:gd name="connsiteX131" fmla="*/ 3026 w 10000"/>
                <a:gd name="connsiteY131" fmla="*/ 363 h 10000"/>
                <a:gd name="connsiteX132" fmla="*/ 2797 w 10000"/>
                <a:gd name="connsiteY132" fmla="*/ 310 h 10000"/>
                <a:gd name="connsiteX133" fmla="*/ 2556 w 10000"/>
                <a:gd name="connsiteY133" fmla="*/ 257 h 10000"/>
                <a:gd name="connsiteX134" fmla="*/ 2314 w 10000"/>
                <a:gd name="connsiteY134" fmla="*/ 208 h 10000"/>
                <a:gd name="connsiteX135" fmla="*/ 2078 w 10000"/>
                <a:gd name="connsiteY135" fmla="*/ 166 h 10000"/>
                <a:gd name="connsiteX136" fmla="*/ 1837 w 10000"/>
                <a:gd name="connsiteY136" fmla="*/ 128 h 10000"/>
                <a:gd name="connsiteX137" fmla="*/ 1588 w 10000"/>
                <a:gd name="connsiteY137" fmla="*/ 91 h 10000"/>
                <a:gd name="connsiteX138" fmla="*/ 1340 w 10000"/>
                <a:gd name="connsiteY138" fmla="*/ 64 h 10000"/>
                <a:gd name="connsiteX139" fmla="*/ 1092 w 10000"/>
                <a:gd name="connsiteY139" fmla="*/ 43 h 10000"/>
                <a:gd name="connsiteX140" fmla="*/ 843 w 10000"/>
                <a:gd name="connsiteY140" fmla="*/ 27 h 10000"/>
                <a:gd name="connsiteX141" fmla="*/ 588 w 10000"/>
                <a:gd name="connsiteY141" fmla="*/ 11 h 10000"/>
                <a:gd name="connsiteX142" fmla="*/ 333 w 10000"/>
                <a:gd name="connsiteY142" fmla="*/ 5 h 10000"/>
                <a:gd name="connsiteX143" fmla="*/ 78 w 10000"/>
                <a:gd name="connsiteY143" fmla="*/ 0 h 10000"/>
                <a:gd name="connsiteX144" fmla="*/ 0 w 10000"/>
                <a:gd name="connsiteY144" fmla="*/ 5 h 10000"/>
                <a:gd name="connsiteX145" fmla="*/ 1245 w 10000"/>
                <a:gd name="connsiteY145" fmla="*/ 2443 h 10000"/>
                <a:gd name="connsiteX146" fmla="*/ 26 w 10000"/>
                <a:gd name="connsiteY146" fmla="*/ 4768 h 10000"/>
                <a:gd name="connsiteX0" fmla="*/ 0 w 9974"/>
                <a:gd name="connsiteY0" fmla="*/ 4771 h 10003"/>
                <a:gd name="connsiteX1" fmla="*/ 33 w 9974"/>
                <a:gd name="connsiteY1" fmla="*/ 4765 h 10003"/>
                <a:gd name="connsiteX2" fmla="*/ 137 w 9974"/>
                <a:gd name="connsiteY2" fmla="*/ 4765 h 10003"/>
                <a:gd name="connsiteX3" fmla="*/ 242 w 9974"/>
                <a:gd name="connsiteY3" fmla="*/ 4771 h 10003"/>
                <a:gd name="connsiteX4" fmla="*/ 347 w 9974"/>
                <a:gd name="connsiteY4" fmla="*/ 4776 h 10003"/>
                <a:gd name="connsiteX5" fmla="*/ 451 w 9974"/>
                <a:gd name="connsiteY5" fmla="*/ 4781 h 10003"/>
                <a:gd name="connsiteX6" fmla="*/ 556 w 9974"/>
                <a:gd name="connsiteY6" fmla="*/ 4797 h 10003"/>
                <a:gd name="connsiteX7" fmla="*/ 660 w 9974"/>
                <a:gd name="connsiteY7" fmla="*/ 4808 h 10003"/>
                <a:gd name="connsiteX8" fmla="*/ 758 w 9974"/>
                <a:gd name="connsiteY8" fmla="*/ 4819 h 10003"/>
                <a:gd name="connsiteX9" fmla="*/ 856 w 9974"/>
                <a:gd name="connsiteY9" fmla="*/ 4835 h 10003"/>
                <a:gd name="connsiteX10" fmla="*/ 961 w 9974"/>
                <a:gd name="connsiteY10" fmla="*/ 4851 h 10003"/>
                <a:gd name="connsiteX11" fmla="*/ 1059 w 9974"/>
                <a:gd name="connsiteY11" fmla="*/ 4872 h 10003"/>
                <a:gd name="connsiteX12" fmla="*/ 1157 w 9974"/>
                <a:gd name="connsiteY12" fmla="*/ 4893 h 10003"/>
                <a:gd name="connsiteX13" fmla="*/ 1255 w 9974"/>
                <a:gd name="connsiteY13" fmla="*/ 4915 h 10003"/>
                <a:gd name="connsiteX14" fmla="*/ 1347 w 9974"/>
                <a:gd name="connsiteY14" fmla="*/ 4942 h 10003"/>
                <a:gd name="connsiteX15" fmla="*/ 1445 w 9974"/>
                <a:gd name="connsiteY15" fmla="*/ 4968 h 10003"/>
                <a:gd name="connsiteX16" fmla="*/ 1536 w 9974"/>
                <a:gd name="connsiteY16" fmla="*/ 5000 h 10003"/>
                <a:gd name="connsiteX17" fmla="*/ 1628 w 9974"/>
                <a:gd name="connsiteY17" fmla="*/ 5032 h 10003"/>
                <a:gd name="connsiteX18" fmla="*/ 1719 w 9974"/>
                <a:gd name="connsiteY18" fmla="*/ 5064 h 10003"/>
                <a:gd name="connsiteX19" fmla="*/ 1811 w 9974"/>
                <a:gd name="connsiteY19" fmla="*/ 5097 h 10003"/>
                <a:gd name="connsiteX20" fmla="*/ 1902 w 9974"/>
                <a:gd name="connsiteY20" fmla="*/ 5134 h 10003"/>
                <a:gd name="connsiteX21" fmla="*/ 1994 w 9974"/>
                <a:gd name="connsiteY21" fmla="*/ 5171 h 10003"/>
                <a:gd name="connsiteX22" fmla="*/ 2079 w 9974"/>
                <a:gd name="connsiteY22" fmla="*/ 5214 h 10003"/>
                <a:gd name="connsiteX23" fmla="*/ 2164 w 9974"/>
                <a:gd name="connsiteY23" fmla="*/ 5252 h 10003"/>
                <a:gd name="connsiteX24" fmla="*/ 2249 w 9974"/>
                <a:gd name="connsiteY24" fmla="*/ 5294 h 10003"/>
                <a:gd name="connsiteX25" fmla="*/ 2327 w 9974"/>
                <a:gd name="connsiteY25" fmla="*/ 5337 h 10003"/>
                <a:gd name="connsiteX26" fmla="*/ 2412 w 9974"/>
                <a:gd name="connsiteY26" fmla="*/ 5385 h 10003"/>
                <a:gd name="connsiteX27" fmla="*/ 2490 w 9974"/>
                <a:gd name="connsiteY27" fmla="*/ 5433 h 10003"/>
                <a:gd name="connsiteX28" fmla="*/ 2569 w 9974"/>
                <a:gd name="connsiteY28" fmla="*/ 5481 h 10003"/>
                <a:gd name="connsiteX29" fmla="*/ 2647 w 9974"/>
                <a:gd name="connsiteY29" fmla="*/ 5529 h 10003"/>
                <a:gd name="connsiteX30" fmla="*/ 2726 w 9974"/>
                <a:gd name="connsiteY30" fmla="*/ 5583 h 10003"/>
                <a:gd name="connsiteX31" fmla="*/ 2798 w 9974"/>
                <a:gd name="connsiteY31" fmla="*/ 5636 h 10003"/>
                <a:gd name="connsiteX32" fmla="*/ 2869 w 9974"/>
                <a:gd name="connsiteY32" fmla="*/ 5690 h 10003"/>
                <a:gd name="connsiteX33" fmla="*/ 2941 w 9974"/>
                <a:gd name="connsiteY33" fmla="*/ 5749 h 10003"/>
                <a:gd name="connsiteX34" fmla="*/ 3007 w 9974"/>
                <a:gd name="connsiteY34" fmla="*/ 5807 h 10003"/>
                <a:gd name="connsiteX35" fmla="*/ 3079 w 9974"/>
                <a:gd name="connsiteY35" fmla="*/ 5866 h 10003"/>
                <a:gd name="connsiteX36" fmla="*/ 3144 w 9974"/>
                <a:gd name="connsiteY36" fmla="*/ 5925 h 10003"/>
                <a:gd name="connsiteX37" fmla="*/ 3203 w 9974"/>
                <a:gd name="connsiteY37" fmla="*/ 5989 h 10003"/>
                <a:gd name="connsiteX38" fmla="*/ 3268 w 9974"/>
                <a:gd name="connsiteY38" fmla="*/ 6048 h 10003"/>
                <a:gd name="connsiteX39" fmla="*/ 3327 w 9974"/>
                <a:gd name="connsiteY39" fmla="*/ 6112 h 10003"/>
                <a:gd name="connsiteX40" fmla="*/ 3386 w 9974"/>
                <a:gd name="connsiteY40" fmla="*/ 6176 h 10003"/>
                <a:gd name="connsiteX41" fmla="*/ 3445 w 9974"/>
                <a:gd name="connsiteY41" fmla="*/ 6240 h 10003"/>
                <a:gd name="connsiteX42" fmla="*/ 3497 w 9974"/>
                <a:gd name="connsiteY42" fmla="*/ 6310 h 10003"/>
                <a:gd name="connsiteX43" fmla="*/ 3549 w 9974"/>
                <a:gd name="connsiteY43" fmla="*/ 6379 h 10003"/>
                <a:gd name="connsiteX44" fmla="*/ 3601 w 9974"/>
                <a:gd name="connsiteY44" fmla="*/ 6449 h 10003"/>
                <a:gd name="connsiteX45" fmla="*/ 3654 w 9974"/>
                <a:gd name="connsiteY45" fmla="*/ 6518 h 10003"/>
                <a:gd name="connsiteX46" fmla="*/ 3693 w 9974"/>
                <a:gd name="connsiteY46" fmla="*/ 6593 h 10003"/>
                <a:gd name="connsiteX47" fmla="*/ 3745 w 9974"/>
                <a:gd name="connsiteY47" fmla="*/ 6668 h 10003"/>
                <a:gd name="connsiteX48" fmla="*/ 3784 w 9974"/>
                <a:gd name="connsiteY48" fmla="*/ 6737 h 10003"/>
                <a:gd name="connsiteX49" fmla="*/ 3824 w 9974"/>
                <a:gd name="connsiteY49" fmla="*/ 6812 h 10003"/>
                <a:gd name="connsiteX50" fmla="*/ 3863 w 9974"/>
                <a:gd name="connsiteY50" fmla="*/ 6887 h 10003"/>
                <a:gd name="connsiteX51" fmla="*/ 3896 w 9974"/>
                <a:gd name="connsiteY51" fmla="*/ 6962 h 10003"/>
                <a:gd name="connsiteX52" fmla="*/ 3928 w 9974"/>
                <a:gd name="connsiteY52" fmla="*/ 7042 h 10003"/>
                <a:gd name="connsiteX53" fmla="*/ 3961 w 9974"/>
                <a:gd name="connsiteY53" fmla="*/ 7122 h 10003"/>
                <a:gd name="connsiteX54" fmla="*/ 3994 w 9974"/>
                <a:gd name="connsiteY54" fmla="*/ 7197 h 10003"/>
                <a:gd name="connsiteX55" fmla="*/ 4020 w 9974"/>
                <a:gd name="connsiteY55" fmla="*/ 7277 h 10003"/>
                <a:gd name="connsiteX56" fmla="*/ 4039 w 9974"/>
                <a:gd name="connsiteY56" fmla="*/ 7357 h 10003"/>
                <a:gd name="connsiteX57" fmla="*/ 4066 w 9974"/>
                <a:gd name="connsiteY57" fmla="*/ 7443 h 10003"/>
                <a:gd name="connsiteX58" fmla="*/ 4085 w 9974"/>
                <a:gd name="connsiteY58" fmla="*/ 7523 h 10003"/>
                <a:gd name="connsiteX59" fmla="*/ 4105 w 9974"/>
                <a:gd name="connsiteY59" fmla="*/ 7603 h 10003"/>
                <a:gd name="connsiteX60" fmla="*/ 4118 w 9974"/>
                <a:gd name="connsiteY60" fmla="*/ 7689 h 10003"/>
                <a:gd name="connsiteX61" fmla="*/ 4131 w 9974"/>
                <a:gd name="connsiteY61" fmla="*/ 7774 h 10003"/>
                <a:gd name="connsiteX62" fmla="*/ 4137 w 9974"/>
                <a:gd name="connsiteY62" fmla="*/ 7860 h 10003"/>
                <a:gd name="connsiteX63" fmla="*/ 4144 w 9974"/>
                <a:gd name="connsiteY63" fmla="*/ 7945 h 10003"/>
                <a:gd name="connsiteX64" fmla="*/ 4144 w 9974"/>
                <a:gd name="connsiteY64" fmla="*/ 8031 h 10003"/>
                <a:gd name="connsiteX65" fmla="*/ 4150 w 9974"/>
                <a:gd name="connsiteY65" fmla="*/ 8116 h 10003"/>
                <a:gd name="connsiteX66" fmla="*/ 4144 w 9974"/>
                <a:gd name="connsiteY66" fmla="*/ 8229 h 10003"/>
                <a:gd name="connsiteX67" fmla="*/ 4137 w 9974"/>
                <a:gd name="connsiteY67" fmla="*/ 8346 h 10003"/>
                <a:gd name="connsiteX68" fmla="*/ 4131 w 9974"/>
                <a:gd name="connsiteY68" fmla="*/ 8453 h 10003"/>
                <a:gd name="connsiteX69" fmla="*/ 4111 w 9974"/>
                <a:gd name="connsiteY69" fmla="*/ 8565 h 10003"/>
                <a:gd name="connsiteX70" fmla="*/ 6713 w 9974"/>
                <a:gd name="connsiteY70" fmla="*/ 10003 h 10003"/>
                <a:gd name="connsiteX71" fmla="*/ 9824 w 9974"/>
                <a:gd name="connsiteY71" fmla="*/ 9501 h 10003"/>
                <a:gd name="connsiteX72" fmla="*/ 9863 w 9974"/>
                <a:gd name="connsiteY72" fmla="*/ 9335 h 10003"/>
                <a:gd name="connsiteX73" fmla="*/ 9889 w 9974"/>
                <a:gd name="connsiteY73" fmla="*/ 9164 h 10003"/>
                <a:gd name="connsiteX74" fmla="*/ 9915 w 9974"/>
                <a:gd name="connsiteY74" fmla="*/ 8993 h 10003"/>
                <a:gd name="connsiteX75" fmla="*/ 9935 w 9974"/>
                <a:gd name="connsiteY75" fmla="*/ 8816 h 10003"/>
                <a:gd name="connsiteX76" fmla="*/ 9948 w 9974"/>
                <a:gd name="connsiteY76" fmla="*/ 8640 h 10003"/>
                <a:gd name="connsiteX77" fmla="*/ 9961 w 9974"/>
                <a:gd name="connsiteY77" fmla="*/ 8469 h 10003"/>
                <a:gd name="connsiteX78" fmla="*/ 9967 w 9974"/>
                <a:gd name="connsiteY78" fmla="*/ 8293 h 10003"/>
                <a:gd name="connsiteX79" fmla="*/ 9974 w 9974"/>
                <a:gd name="connsiteY79" fmla="*/ 8116 h 10003"/>
                <a:gd name="connsiteX80" fmla="*/ 9967 w 9974"/>
                <a:gd name="connsiteY80" fmla="*/ 7903 h 10003"/>
                <a:gd name="connsiteX81" fmla="*/ 9961 w 9974"/>
                <a:gd name="connsiteY81" fmla="*/ 7699 h 10003"/>
                <a:gd name="connsiteX82" fmla="*/ 9941 w 9974"/>
                <a:gd name="connsiteY82" fmla="*/ 7491 h 10003"/>
                <a:gd name="connsiteX83" fmla="*/ 9922 w 9974"/>
                <a:gd name="connsiteY83" fmla="*/ 7288 h 10003"/>
                <a:gd name="connsiteX84" fmla="*/ 9889 w 9974"/>
                <a:gd name="connsiteY84" fmla="*/ 7079 h 10003"/>
                <a:gd name="connsiteX85" fmla="*/ 9856 w 9974"/>
                <a:gd name="connsiteY85" fmla="*/ 6882 h 10003"/>
                <a:gd name="connsiteX86" fmla="*/ 9817 w 9974"/>
                <a:gd name="connsiteY86" fmla="*/ 6679 h 10003"/>
                <a:gd name="connsiteX87" fmla="*/ 9771 w 9974"/>
                <a:gd name="connsiteY87" fmla="*/ 6481 h 10003"/>
                <a:gd name="connsiteX88" fmla="*/ 9719 w 9974"/>
                <a:gd name="connsiteY88" fmla="*/ 6283 h 10003"/>
                <a:gd name="connsiteX89" fmla="*/ 9660 w 9974"/>
                <a:gd name="connsiteY89" fmla="*/ 6091 h 10003"/>
                <a:gd name="connsiteX90" fmla="*/ 9595 w 9974"/>
                <a:gd name="connsiteY90" fmla="*/ 5893 h 10003"/>
                <a:gd name="connsiteX91" fmla="*/ 9530 w 9974"/>
                <a:gd name="connsiteY91" fmla="*/ 5700 h 10003"/>
                <a:gd name="connsiteX92" fmla="*/ 9451 w 9974"/>
                <a:gd name="connsiteY92" fmla="*/ 5513 h 10003"/>
                <a:gd name="connsiteX93" fmla="*/ 9373 w 9974"/>
                <a:gd name="connsiteY93" fmla="*/ 5326 h 10003"/>
                <a:gd name="connsiteX94" fmla="*/ 9281 w 9974"/>
                <a:gd name="connsiteY94" fmla="*/ 5139 h 10003"/>
                <a:gd name="connsiteX95" fmla="*/ 9190 w 9974"/>
                <a:gd name="connsiteY95" fmla="*/ 4958 h 10003"/>
                <a:gd name="connsiteX96" fmla="*/ 9098 w 9974"/>
                <a:gd name="connsiteY96" fmla="*/ 4776 h 10003"/>
                <a:gd name="connsiteX97" fmla="*/ 8994 w 9974"/>
                <a:gd name="connsiteY97" fmla="*/ 4599 h 10003"/>
                <a:gd name="connsiteX98" fmla="*/ 8889 w 9974"/>
                <a:gd name="connsiteY98" fmla="*/ 4423 h 10003"/>
                <a:gd name="connsiteX99" fmla="*/ 8778 w 9974"/>
                <a:gd name="connsiteY99" fmla="*/ 4247 h 10003"/>
                <a:gd name="connsiteX100" fmla="*/ 8660 w 9974"/>
                <a:gd name="connsiteY100" fmla="*/ 4076 h 10003"/>
                <a:gd name="connsiteX101" fmla="*/ 8536 w 9974"/>
                <a:gd name="connsiteY101" fmla="*/ 3910 h 10003"/>
                <a:gd name="connsiteX102" fmla="*/ 8412 w 9974"/>
                <a:gd name="connsiteY102" fmla="*/ 3744 h 10003"/>
                <a:gd name="connsiteX103" fmla="*/ 8281 w 9974"/>
                <a:gd name="connsiteY103" fmla="*/ 3579 h 10003"/>
                <a:gd name="connsiteX104" fmla="*/ 8144 w 9974"/>
                <a:gd name="connsiteY104" fmla="*/ 3418 h 10003"/>
                <a:gd name="connsiteX105" fmla="*/ 8000 w 9974"/>
                <a:gd name="connsiteY105" fmla="*/ 3263 h 10003"/>
                <a:gd name="connsiteX106" fmla="*/ 7856 w 9974"/>
                <a:gd name="connsiteY106" fmla="*/ 3108 h 10003"/>
                <a:gd name="connsiteX107" fmla="*/ 7706 w 9974"/>
                <a:gd name="connsiteY107" fmla="*/ 2953 h 10003"/>
                <a:gd name="connsiteX108" fmla="*/ 7556 w 9974"/>
                <a:gd name="connsiteY108" fmla="*/ 2809 h 10003"/>
                <a:gd name="connsiteX109" fmla="*/ 7392 w 9974"/>
                <a:gd name="connsiteY109" fmla="*/ 2665 h 10003"/>
                <a:gd name="connsiteX110" fmla="*/ 7235 w 9974"/>
                <a:gd name="connsiteY110" fmla="*/ 2520 h 10003"/>
                <a:gd name="connsiteX111" fmla="*/ 7066 w 9974"/>
                <a:gd name="connsiteY111" fmla="*/ 2376 h 10003"/>
                <a:gd name="connsiteX112" fmla="*/ 6896 w 9974"/>
                <a:gd name="connsiteY112" fmla="*/ 2242 h 10003"/>
                <a:gd name="connsiteX113" fmla="*/ 6726 w 9974"/>
                <a:gd name="connsiteY113" fmla="*/ 2109 h 10003"/>
                <a:gd name="connsiteX114" fmla="*/ 6543 w 9974"/>
                <a:gd name="connsiteY114" fmla="*/ 1981 h 10003"/>
                <a:gd name="connsiteX115" fmla="*/ 6360 w 9974"/>
                <a:gd name="connsiteY115" fmla="*/ 1858 h 10003"/>
                <a:gd name="connsiteX116" fmla="*/ 6177 w 9974"/>
                <a:gd name="connsiteY116" fmla="*/ 1735 h 10003"/>
                <a:gd name="connsiteX117" fmla="*/ 5987 w 9974"/>
                <a:gd name="connsiteY117" fmla="*/ 1617 h 10003"/>
                <a:gd name="connsiteX118" fmla="*/ 5791 w 9974"/>
                <a:gd name="connsiteY118" fmla="*/ 1500 h 10003"/>
                <a:gd name="connsiteX119" fmla="*/ 5595 w 9974"/>
                <a:gd name="connsiteY119" fmla="*/ 1387 h 10003"/>
                <a:gd name="connsiteX120" fmla="*/ 5399 w 9974"/>
                <a:gd name="connsiteY120" fmla="*/ 1280 h 10003"/>
                <a:gd name="connsiteX121" fmla="*/ 5196 w 9974"/>
                <a:gd name="connsiteY121" fmla="*/ 1179 h 10003"/>
                <a:gd name="connsiteX122" fmla="*/ 4994 w 9974"/>
                <a:gd name="connsiteY122" fmla="*/ 1077 h 10003"/>
                <a:gd name="connsiteX123" fmla="*/ 4778 w 9974"/>
                <a:gd name="connsiteY123" fmla="*/ 981 h 10003"/>
                <a:gd name="connsiteX124" fmla="*/ 4569 w 9974"/>
                <a:gd name="connsiteY124" fmla="*/ 890 h 10003"/>
                <a:gd name="connsiteX125" fmla="*/ 4353 w 9974"/>
                <a:gd name="connsiteY125" fmla="*/ 805 h 10003"/>
                <a:gd name="connsiteX126" fmla="*/ 4131 w 9974"/>
                <a:gd name="connsiteY126" fmla="*/ 719 h 10003"/>
                <a:gd name="connsiteX127" fmla="*/ 3915 w 9974"/>
                <a:gd name="connsiteY127" fmla="*/ 639 h 10003"/>
                <a:gd name="connsiteX128" fmla="*/ 3693 w 9974"/>
                <a:gd name="connsiteY128" fmla="*/ 570 h 10003"/>
                <a:gd name="connsiteX129" fmla="*/ 3464 w 9974"/>
                <a:gd name="connsiteY129" fmla="*/ 495 h 10003"/>
                <a:gd name="connsiteX130" fmla="*/ 3235 w 9974"/>
                <a:gd name="connsiteY130" fmla="*/ 431 h 10003"/>
                <a:gd name="connsiteX131" fmla="*/ 3000 w 9974"/>
                <a:gd name="connsiteY131" fmla="*/ 366 h 10003"/>
                <a:gd name="connsiteX132" fmla="*/ 2771 w 9974"/>
                <a:gd name="connsiteY132" fmla="*/ 313 h 10003"/>
                <a:gd name="connsiteX133" fmla="*/ 2530 w 9974"/>
                <a:gd name="connsiteY133" fmla="*/ 260 h 10003"/>
                <a:gd name="connsiteX134" fmla="*/ 2288 w 9974"/>
                <a:gd name="connsiteY134" fmla="*/ 211 h 10003"/>
                <a:gd name="connsiteX135" fmla="*/ 2052 w 9974"/>
                <a:gd name="connsiteY135" fmla="*/ 169 h 10003"/>
                <a:gd name="connsiteX136" fmla="*/ 1811 w 9974"/>
                <a:gd name="connsiteY136" fmla="*/ 131 h 10003"/>
                <a:gd name="connsiteX137" fmla="*/ 1562 w 9974"/>
                <a:gd name="connsiteY137" fmla="*/ 94 h 10003"/>
                <a:gd name="connsiteX138" fmla="*/ 1314 w 9974"/>
                <a:gd name="connsiteY138" fmla="*/ 67 h 10003"/>
                <a:gd name="connsiteX139" fmla="*/ 1066 w 9974"/>
                <a:gd name="connsiteY139" fmla="*/ 46 h 10003"/>
                <a:gd name="connsiteX140" fmla="*/ 817 w 9974"/>
                <a:gd name="connsiteY140" fmla="*/ 30 h 10003"/>
                <a:gd name="connsiteX141" fmla="*/ 562 w 9974"/>
                <a:gd name="connsiteY141" fmla="*/ 14 h 10003"/>
                <a:gd name="connsiteX142" fmla="*/ 307 w 9974"/>
                <a:gd name="connsiteY142" fmla="*/ 8 h 10003"/>
                <a:gd name="connsiteX143" fmla="*/ 52 w 9974"/>
                <a:gd name="connsiteY143" fmla="*/ 3 h 10003"/>
                <a:gd name="connsiteX144" fmla="*/ 13 w 9974"/>
                <a:gd name="connsiteY144" fmla="*/ 0 h 10003"/>
                <a:gd name="connsiteX145" fmla="*/ 1219 w 9974"/>
                <a:gd name="connsiteY145" fmla="*/ 2446 h 10003"/>
                <a:gd name="connsiteX146" fmla="*/ 0 w 9974"/>
                <a:gd name="connsiteY146" fmla="*/ 4771 h 10003"/>
                <a:gd name="connsiteX0" fmla="*/ 0 w 9990"/>
                <a:gd name="connsiteY0" fmla="*/ 4770 h 10000"/>
                <a:gd name="connsiteX1" fmla="*/ 23 w 9990"/>
                <a:gd name="connsiteY1" fmla="*/ 4764 h 10000"/>
                <a:gd name="connsiteX2" fmla="*/ 127 w 9990"/>
                <a:gd name="connsiteY2" fmla="*/ 4764 h 10000"/>
                <a:gd name="connsiteX3" fmla="*/ 233 w 9990"/>
                <a:gd name="connsiteY3" fmla="*/ 4770 h 10000"/>
                <a:gd name="connsiteX4" fmla="*/ 338 w 9990"/>
                <a:gd name="connsiteY4" fmla="*/ 4775 h 10000"/>
                <a:gd name="connsiteX5" fmla="*/ 442 w 9990"/>
                <a:gd name="connsiteY5" fmla="*/ 4780 h 10000"/>
                <a:gd name="connsiteX6" fmla="*/ 547 w 9990"/>
                <a:gd name="connsiteY6" fmla="*/ 4796 h 10000"/>
                <a:gd name="connsiteX7" fmla="*/ 652 w 9990"/>
                <a:gd name="connsiteY7" fmla="*/ 4807 h 10000"/>
                <a:gd name="connsiteX8" fmla="*/ 750 w 9990"/>
                <a:gd name="connsiteY8" fmla="*/ 4818 h 10000"/>
                <a:gd name="connsiteX9" fmla="*/ 848 w 9990"/>
                <a:gd name="connsiteY9" fmla="*/ 4834 h 10000"/>
                <a:gd name="connsiteX10" fmla="*/ 954 w 9990"/>
                <a:gd name="connsiteY10" fmla="*/ 4850 h 10000"/>
                <a:gd name="connsiteX11" fmla="*/ 1052 w 9990"/>
                <a:gd name="connsiteY11" fmla="*/ 4871 h 10000"/>
                <a:gd name="connsiteX12" fmla="*/ 1150 w 9990"/>
                <a:gd name="connsiteY12" fmla="*/ 4892 h 10000"/>
                <a:gd name="connsiteX13" fmla="*/ 1248 w 9990"/>
                <a:gd name="connsiteY13" fmla="*/ 4914 h 10000"/>
                <a:gd name="connsiteX14" fmla="*/ 1341 w 9990"/>
                <a:gd name="connsiteY14" fmla="*/ 4941 h 10000"/>
                <a:gd name="connsiteX15" fmla="*/ 1439 w 9990"/>
                <a:gd name="connsiteY15" fmla="*/ 4967 h 10000"/>
                <a:gd name="connsiteX16" fmla="*/ 1530 w 9990"/>
                <a:gd name="connsiteY16" fmla="*/ 4999 h 10000"/>
                <a:gd name="connsiteX17" fmla="*/ 1622 w 9990"/>
                <a:gd name="connsiteY17" fmla="*/ 5030 h 10000"/>
                <a:gd name="connsiteX18" fmla="*/ 1713 w 9990"/>
                <a:gd name="connsiteY18" fmla="*/ 5062 h 10000"/>
                <a:gd name="connsiteX19" fmla="*/ 1806 w 9990"/>
                <a:gd name="connsiteY19" fmla="*/ 5095 h 10000"/>
                <a:gd name="connsiteX20" fmla="*/ 1897 w 9990"/>
                <a:gd name="connsiteY20" fmla="*/ 5132 h 10000"/>
                <a:gd name="connsiteX21" fmla="*/ 1989 w 9990"/>
                <a:gd name="connsiteY21" fmla="*/ 5169 h 10000"/>
                <a:gd name="connsiteX22" fmla="*/ 2074 w 9990"/>
                <a:gd name="connsiteY22" fmla="*/ 5212 h 10000"/>
                <a:gd name="connsiteX23" fmla="*/ 2160 w 9990"/>
                <a:gd name="connsiteY23" fmla="*/ 5250 h 10000"/>
                <a:gd name="connsiteX24" fmla="*/ 2245 w 9990"/>
                <a:gd name="connsiteY24" fmla="*/ 5292 h 10000"/>
                <a:gd name="connsiteX25" fmla="*/ 2323 w 9990"/>
                <a:gd name="connsiteY25" fmla="*/ 5335 h 10000"/>
                <a:gd name="connsiteX26" fmla="*/ 2408 w 9990"/>
                <a:gd name="connsiteY26" fmla="*/ 5383 h 10000"/>
                <a:gd name="connsiteX27" fmla="*/ 2486 w 9990"/>
                <a:gd name="connsiteY27" fmla="*/ 5431 h 10000"/>
                <a:gd name="connsiteX28" fmla="*/ 2566 w 9990"/>
                <a:gd name="connsiteY28" fmla="*/ 5479 h 10000"/>
                <a:gd name="connsiteX29" fmla="*/ 2644 w 9990"/>
                <a:gd name="connsiteY29" fmla="*/ 5527 h 10000"/>
                <a:gd name="connsiteX30" fmla="*/ 2723 w 9990"/>
                <a:gd name="connsiteY30" fmla="*/ 5581 h 10000"/>
                <a:gd name="connsiteX31" fmla="*/ 2795 w 9990"/>
                <a:gd name="connsiteY31" fmla="*/ 5634 h 10000"/>
                <a:gd name="connsiteX32" fmla="*/ 2866 w 9990"/>
                <a:gd name="connsiteY32" fmla="*/ 5688 h 10000"/>
                <a:gd name="connsiteX33" fmla="*/ 2939 w 9990"/>
                <a:gd name="connsiteY33" fmla="*/ 5747 h 10000"/>
                <a:gd name="connsiteX34" fmla="*/ 3005 w 9990"/>
                <a:gd name="connsiteY34" fmla="*/ 5805 h 10000"/>
                <a:gd name="connsiteX35" fmla="*/ 3077 w 9990"/>
                <a:gd name="connsiteY35" fmla="*/ 5864 h 10000"/>
                <a:gd name="connsiteX36" fmla="*/ 3142 w 9990"/>
                <a:gd name="connsiteY36" fmla="*/ 5923 h 10000"/>
                <a:gd name="connsiteX37" fmla="*/ 3201 w 9990"/>
                <a:gd name="connsiteY37" fmla="*/ 5987 h 10000"/>
                <a:gd name="connsiteX38" fmla="*/ 3267 w 9990"/>
                <a:gd name="connsiteY38" fmla="*/ 6046 h 10000"/>
                <a:gd name="connsiteX39" fmla="*/ 3326 w 9990"/>
                <a:gd name="connsiteY39" fmla="*/ 6110 h 10000"/>
                <a:gd name="connsiteX40" fmla="*/ 3385 w 9990"/>
                <a:gd name="connsiteY40" fmla="*/ 6174 h 10000"/>
                <a:gd name="connsiteX41" fmla="*/ 3444 w 9990"/>
                <a:gd name="connsiteY41" fmla="*/ 6238 h 10000"/>
                <a:gd name="connsiteX42" fmla="*/ 3496 w 9990"/>
                <a:gd name="connsiteY42" fmla="*/ 6308 h 10000"/>
                <a:gd name="connsiteX43" fmla="*/ 3548 w 9990"/>
                <a:gd name="connsiteY43" fmla="*/ 6377 h 10000"/>
                <a:gd name="connsiteX44" fmla="*/ 3600 w 9990"/>
                <a:gd name="connsiteY44" fmla="*/ 6447 h 10000"/>
                <a:gd name="connsiteX45" fmla="*/ 3654 w 9990"/>
                <a:gd name="connsiteY45" fmla="*/ 6516 h 10000"/>
                <a:gd name="connsiteX46" fmla="*/ 3693 w 9990"/>
                <a:gd name="connsiteY46" fmla="*/ 6591 h 10000"/>
                <a:gd name="connsiteX47" fmla="*/ 3745 w 9990"/>
                <a:gd name="connsiteY47" fmla="*/ 6666 h 10000"/>
                <a:gd name="connsiteX48" fmla="*/ 3784 w 9990"/>
                <a:gd name="connsiteY48" fmla="*/ 6735 h 10000"/>
                <a:gd name="connsiteX49" fmla="*/ 3824 w 9990"/>
                <a:gd name="connsiteY49" fmla="*/ 6810 h 10000"/>
                <a:gd name="connsiteX50" fmla="*/ 3863 w 9990"/>
                <a:gd name="connsiteY50" fmla="*/ 6885 h 10000"/>
                <a:gd name="connsiteX51" fmla="*/ 3896 w 9990"/>
                <a:gd name="connsiteY51" fmla="*/ 6960 h 10000"/>
                <a:gd name="connsiteX52" fmla="*/ 3928 w 9990"/>
                <a:gd name="connsiteY52" fmla="*/ 7040 h 10000"/>
                <a:gd name="connsiteX53" fmla="*/ 3961 w 9990"/>
                <a:gd name="connsiteY53" fmla="*/ 7120 h 10000"/>
                <a:gd name="connsiteX54" fmla="*/ 3994 w 9990"/>
                <a:gd name="connsiteY54" fmla="*/ 7195 h 10000"/>
                <a:gd name="connsiteX55" fmla="*/ 4020 w 9990"/>
                <a:gd name="connsiteY55" fmla="*/ 7275 h 10000"/>
                <a:gd name="connsiteX56" fmla="*/ 4040 w 9990"/>
                <a:gd name="connsiteY56" fmla="*/ 7355 h 10000"/>
                <a:gd name="connsiteX57" fmla="*/ 4067 w 9990"/>
                <a:gd name="connsiteY57" fmla="*/ 7441 h 10000"/>
                <a:gd name="connsiteX58" fmla="*/ 4086 w 9990"/>
                <a:gd name="connsiteY58" fmla="*/ 7521 h 10000"/>
                <a:gd name="connsiteX59" fmla="*/ 4106 w 9990"/>
                <a:gd name="connsiteY59" fmla="*/ 7601 h 10000"/>
                <a:gd name="connsiteX60" fmla="*/ 4119 w 9990"/>
                <a:gd name="connsiteY60" fmla="*/ 7687 h 10000"/>
                <a:gd name="connsiteX61" fmla="*/ 4132 w 9990"/>
                <a:gd name="connsiteY61" fmla="*/ 7772 h 10000"/>
                <a:gd name="connsiteX62" fmla="*/ 4138 w 9990"/>
                <a:gd name="connsiteY62" fmla="*/ 7858 h 10000"/>
                <a:gd name="connsiteX63" fmla="*/ 4145 w 9990"/>
                <a:gd name="connsiteY63" fmla="*/ 7943 h 10000"/>
                <a:gd name="connsiteX64" fmla="*/ 4145 w 9990"/>
                <a:gd name="connsiteY64" fmla="*/ 8029 h 10000"/>
                <a:gd name="connsiteX65" fmla="*/ 4151 w 9990"/>
                <a:gd name="connsiteY65" fmla="*/ 8114 h 10000"/>
                <a:gd name="connsiteX66" fmla="*/ 4145 w 9990"/>
                <a:gd name="connsiteY66" fmla="*/ 8227 h 10000"/>
                <a:gd name="connsiteX67" fmla="*/ 4138 w 9990"/>
                <a:gd name="connsiteY67" fmla="*/ 8343 h 10000"/>
                <a:gd name="connsiteX68" fmla="*/ 4132 w 9990"/>
                <a:gd name="connsiteY68" fmla="*/ 8450 h 10000"/>
                <a:gd name="connsiteX69" fmla="*/ 4112 w 9990"/>
                <a:gd name="connsiteY69" fmla="*/ 8562 h 10000"/>
                <a:gd name="connsiteX70" fmla="*/ 6720 w 9990"/>
                <a:gd name="connsiteY70" fmla="*/ 10000 h 10000"/>
                <a:gd name="connsiteX71" fmla="*/ 9840 w 9990"/>
                <a:gd name="connsiteY71" fmla="*/ 9498 h 10000"/>
                <a:gd name="connsiteX72" fmla="*/ 9879 w 9990"/>
                <a:gd name="connsiteY72" fmla="*/ 9332 h 10000"/>
                <a:gd name="connsiteX73" fmla="*/ 9905 w 9990"/>
                <a:gd name="connsiteY73" fmla="*/ 9161 h 10000"/>
                <a:gd name="connsiteX74" fmla="*/ 9931 w 9990"/>
                <a:gd name="connsiteY74" fmla="*/ 8990 h 10000"/>
                <a:gd name="connsiteX75" fmla="*/ 9951 w 9990"/>
                <a:gd name="connsiteY75" fmla="*/ 8813 h 10000"/>
                <a:gd name="connsiteX76" fmla="*/ 9964 w 9990"/>
                <a:gd name="connsiteY76" fmla="*/ 8637 h 10000"/>
                <a:gd name="connsiteX77" fmla="*/ 9977 w 9990"/>
                <a:gd name="connsiteY77" fmla="*/ 8466 h 10000"/>
                <a:gd name="connsiteX78" fmla="*/ 9983 w 9990"/>
                <a:gd name="connsiteY78" fmla="*/ 8291 h 10000"/>
                <a:gd name="connsiteX79" fmla="*/ 9990 w 9990"/>
                <a:gd name="connsiteY79" fmla="*/ 8114 h 10000"/>
                <a:gd name="connsiteX80" fmla="*/ 9983 w 9990"/>
                <a:gd name="connsiteY80" fmla="*/ 7901 h 10000"/>
                <a:gd name="connsiteX81" fmla="*/ 9977 w 9990"/>
                <a:gd name="connsiteY81" fmla="*/ 7697 h 10000"/>
                <a:gd name="connsiteX82" fmla="*/ 9957 w 9990"/>
                <a:gd name="connsiteY82" fmla="*/ 7489 h 10000"/>
                <a:gd name="connsiteX83" fmla="*/ 9938 w 9990"/>
                <a:gd name="connsiteY83" fmla="*/ 7286 h 10000"/>
                <a:gd name="connsiteX84" fmla="*/ 9905 w 9990"/>
                <a:gd name="connsiteY84" fmla="*/ 7077 h 10000"/>
                <a:gd name="connsiteX85" fmla="*/ 9872 w 9990"/>
                <a:gd name="connsiteY85" fmla="*/ 6880 h 10000"/>
                <a:gd name="connsiteX86" fmla="*/ 9833 w 9990"/>
                <a:gd name="connsiteY86" fmla="*/ 6677 h 10000"/>
                <a:gd name="connsiteX87" fmla="*/ 9786 w 9990"/>
                <a:gd name="connsiteY87" fmla="*/ 6479 h 10000"/>
                <a:gd name="connsiteX88" fmla="*/ 9734 w 9990"/>
                <a:gd name="connsiteY88" fmla="*/ 6281 h 10000"/>
                <a:gd name="connsiteX89" fmla="*/ 9675 w 9990"/>
                <a:gd name="connsiteY89" fmla="*/ 6089 h 10000"/>
                <a:gd name="connsiteX90" fmla="*/ 9610 w 9990"/>
                <a:gd name="connsiteY90" fmla="*/ 5891 h 10000"/>
                <a:gd name="connsiteX91" fmla="*/ 9545 w 9990"/>
                <a:gd name="connsiteY91" fmla="*/ 5698 h 10000"/>
                <a:gd name="connsiteX92" fmla="*/ 9466 w 9990"/>
                <a:gd name="connsiteY92" fmla="*/ 5511 h 10000"/>
                <a:gd name="connsiteX93" fmla="*/ 9387 w 9990"/>
                <a:gd name="connsiteY93" fmla="*/ 5324 h 10000"/>
                <a:gd name="connsiteX94" fmla="*/ 9295 w 9990"/>
                <a:gd name="connsiteY94" fmla="*/ 5137 h 10000"/>
                <a:gd name="connsiteX95" fmla="*/ 9204 w 9990"/>
                <a:gd name="connsiteY95" fmla="*/ 4957 h 10000"/>
                <a:gd name="connsiteX96" fmla="*/ 9112 w 9990"/>
                <a:gd name="connsiteY96" fmla="*/ 4775 h 10000"/>
                <a:gd name="connsiteX97" fmla="*/ 9007 w 9990"/>
                <a:gd name="connsiteY97" fmla="*/ 4598 h 10000"/>
                <a:gd name="connsiteX98" fmla="*/ 8902 w 9990"/>
                <a:gd name="connsiteY98" fmla="*/ 4422 h 10000"/>
                <a:gd name="connsiteX99" fmla="*/ 8791 w 9990"/>
                <a:gd name="connsiteY99" fmla="*/ 4246 h 10000"/>
                <a:gd name="connsiteX100" fmla="*/ 8673 w 9990"/>
                <a:gd name="connsiteY100" fmla="*/ 4075 h 10000"/>
                <a:gd name="connsiteX101" fmla="*/ 8548 w 9990"/>
                <a:gd name="connsiteY101" fmla="*/ 3909 h 10000"/>
                <a:gd name="connsiteX102" fmla="*/ 8424 w 9990"/>
                <a:gd name="connsiteY102" fmla="*/ 3743 h 10000"/>
                <a:gd name="connsiteX103" fmla="*/ 8293 w 9990"/>
                <a:gd name="connsiteY103" fmla="*/ 3578 h 10000"/>
                <a:gd name="connsiteX104" fmla="*/ 8155 w 9990"/>
                <a:gd name="connsiteY104" fmla="*/ 3417 h 10000"/>
                <a:gd name="connsiteX105" fmla="*/ 8011 w 9990"/>
                <a:gd name="connsiteY105" fmla="*/ 3262 h 10000"/>
                <a:gd name="connsiteX106" fmla="*/ 7866 w 9990"/>
                <a:gd name="connsiteY106" fmla="*/ 3107 h 10000"/>
                <a:gd name="connsiteX107" fmla="*/ 7716 w 9990"/>
                <a:gd name="connsiteY107" fmla="*/ 2952 h 10000"/>
                <a:gd name="connsiteX108" fmla="*/ 7566 w 9990"/>
                <a:gd name="connsiteY108" fmla="*/ 2808 h 10000"/>
                <a:gd name="connsiteX109" fmla="*/ 7401 w 9990"/>
                <a:gd name="connsiteY109" fmla="*/ 2664 h 10000"/>
                <a:gd name="connsiteX110" fmla="*/ 7244 w 9990"/>
                <a:gd name="connsiteY110" fmla="*/ 2519 h 10000"/>
                <a:gd name="connsiteX111" fmla="*/ 7074 w 9990"/>
                <a:gd name="connsiteY111" fmla="*/ 2375 h 10000"/>
                <a:gd name="connsiteX112" fmla="*/ 6904 w 9990"/>
                <a:gd name="connsiteY112" fmla="*/ 2241 h 10000"/>
                <a:gd name="connsiteX113" fmla="*/ 6734 w 9990"/>
                <a:gd name="connsiteY113" fmla="*/ 2108 h 10000"/>
                <a:gd name="connsiteX114" fmla="*/ 6550 w 9990"/>
                <a:gd name="connsiteY114" fmla="*/ 1980 h 10000"/>
                <a:gd name="connsiteX115" fmla="*/ 6367 w 9990"/>
                <a:gd name="connsiteY115" fmla="*/ 1857 h 10000"/>
                <a:gd name="connsiteX116" fmla="*/ 6183 w 9990"/>
                <a:gd name="connsiteY116" fmla="*/ 1734 h 10000"/>
                <a:gd name="connsiteX117" fmla="*/ 5993 w 9990"/>
                <a:gd name="connsiteY117" fmla="*/ 1617 h 10000"/>
                <a:gd name="connsiteX118" fmla="*/ 5796 w 9990"/>
                <a:gd name="connsiteY118" fmla="*/ 1500 h 10000"/>
                <a:gd name="connsiteX119" fmla="*/ 5600 w 9990"/>
                <a:gd name="connsiteY119" fmla="*/ 1387 h 10000"/>
                <a:gd name="connsiteX120" fmla="*/ 5403 w 9990"/>
                <a:gd name="connsiteY120" fmla="*/ 1280 h 10000"/>
                <a:gd name="connsiteX121" fmla="*/ 5200 w 9990"/>
                <a:gd name="connsiteY121" fmla="*/ 1179 h 10000"/>
                <a:gd name="connsiteX122" fmla="*/ 4997 w 9990"/>
                <a:gd name="connsiteY122" fmla="*/ 1077 h 10000"/>
                <a:gd name="connsiteX123" fmla="*/ 4780 w 9990"/>
                <a:gd name="connsiteY123" fmla="*/ 981 h 10000"/>
                <a:gd name="connsiteX124" fmla="*/ 4571 w 9990"/>
                <a:gd name="connsiteY124" fmla="*/ 890 h 10000"/>
                <a:gd name="connsiteX125" fmla="*/ 4354 w 9990"/>
                <a:gd name="connsiteY125" fmla="*/ 805 h 10000"/>
                <a:gd name="connsiteX126" fmla="*/ 4132 w 9990"/>
                <a:gd name="connsiteY126" fmla="*/ 719 h 10000"/>
                <a:gd name="connsiteX127" fmla="*/ 3915 w 9990"/>
                <a:gd name="connsiteY127" fmla="*/ 639 h 10000"/>
                <a:gd name="connsiteX128" fmla="*/ 3693 w 9990"/>
                <a:gd name="connsiteY128" fmla="*/ 570 h 10000"/>
                <a:gd name="connsiteX129" fmla="*/ 3463 w 9990"/>
                <a:gd name="connsiteY129" fmla="*/ 495 h 10000"/>
                <a:gd name="connsiteX130" fmla="*/ 3233 w 9990"/>
                <a:gd name="connsiteY130" fmla="*/ 431 h 10000"/>
                <a:gd name="connsiteX131" fmla="*/ 2998 w 9990"/>
                <a:gd name="connsiteY131" fmla="*/ 366 h 10000"/>
                <a:gd name="connsiteX132" fmla="*/ 2768 w 9990"/>
                <a:gd name="connsiteY132" fmla="*/ 313 h 10000"/>
                <a:gd name="connsiteX133" fmla="*/ 2527 w 9990"/>
                <a:gd name="connsiteY133" fmla="*/ 260 h 10000"/>
                <a:gd name="connsiteX134" fmla="*/ 2284 w 9990"/>
                <a:gd name="connsiteY134" fmla="*/ 211 h 10000"/>
                <a:gd name="connsiteX135" fmla="*/ 2047 w 9990"/>
                <a:gd name="connsiteY135" fmla="*/ 169 h 10000"/>
                <a:gd name="connsiteX136" fmla="*/ 1806 w 9990"/>
                <a:gd name="connsiteY136" fmla="*/ 131 h 10000"/>
                <a:gd name="connsiteX137" fmla="*/ 1556 w 9990"/>
                <a:gd name="connsiteY137" fmla="*/ 94 h 10000"/>
                <a:gd name="connsiteX138" fmla="*/ 1307 w 9990"/>
                <a:gd name="connsiteY138" fmla="*/ 67 h 10000"/>
                <a:gd name="connsiteX139" fmla="*/ 1059 w 9990"/>
                <a:gd name="connsiteY139" fmla="*/ 46 h 10000"/>
                <a:gd name="connsiteX140" fmla="*/ 809 w 9990"/>
                <a:gd name="connsiteY140" fmla="*/ 30 h 10000"/>
                <a:gd name="connsiteX141" fmla="*/ 553 w 9990"/>
                <a:gd name="connsiteY141" fmla="*/ 14 h 10000"/>
                <a:gd name="connsiteX142" fmla="*/ 298 w 9990"/>
                <a:gd name="connsiteY142" fmla="*/ 8 h 10000"/>
                <a:gd name="connsiteX143" fmla="*/ 42 w 9990"/>
                <a:gd name="connsiteY143" fmla="*/ 3 h 10000"/>
                <a:gd name="connsiteX144" fmla="*/ 3 w 9990"/>
                <a:gd name="connsiteY144" fmla="*/ 0 h 10000"/>
                <a:gd name="connsiteX145" fmla="*/ 1212 w 9990"/>
                <a:gd name="connsiteY145" fmla="*/ 2445 h 10000"/>
                <a:gd name="connsiteX146" fmla="*/ 0 w 9990"/>
                <a:gd name="connsiteY146" fmla="*/ 4770 h 10000"/>
                <a:gd name="connsiteX0" fmla="*/ 7 w 9997"/>
                <a:gd name="connsiteY0" fmla="*/ 4770 h 10000"/>
                <a:gd name="connsiteX1" fmla="*/ 20 w 9997"/>
                <a:gd name="connsiteY1" fmla="*/ 4764 h 10000"/>
                <a:gd name="connsiteX2" fmla="*/ 124 w 9997"/>
                <a:gd name="connsiteY2" fmla="*/ 4764 h 10000"/>
                <a:gd name="connsiteX3" fmla="*/ 230 w 9997"/>
                <a:gd name="connsiteY3" fmla="*/ 4770 h 10000"/>
                <a:gd name="connsiteX4" fmla="*/ 335 w 9997"/>
                <a:gd name="connsiteY4" fmla="*/ 4775 h 10000"/>
                <a:gd name="connsiteX5" fmla="*/ 439 w 9997"/>
                <a:gd name="connsiteY5" fmla="*/ 4780 h 10000"/>
                <a:gd name="connsiteX6" fmla="*/ 545 w 9997"/>
                <a:gd name="connsiteY6" fmla="*/ 4796 h 10000"/>
                <a:gd name="connsiteX7" fmla="*/ 650 w 9997"/>
                <a:gd name="connsiteY7" fmla="*/ 4807 h 10000"/>
                <a:gd name="connsiteX8" fmla="*/ 748 w 9997"/>
                <a:gd name="connsiteY8" fmla="*/ 4818 h 10000"/>
                <a:gd name="connsiteX9" fmla="*/ 846 w 9997"/>
                <a:gd name="connsiteY9" fmla="*/ 4834 h 10000"/>
                <a:gd name="connsiteX10" fmla="*/ 952 w 9997"/>
                <a:gd name="connsiteY10" fmla="*/ 4850 h 10000"/>
                <a:gd name="connsiteX11" fmla="*/ 1050 w 9997"/>
                <a:gd name="connsiteY11" fmla="*/ 4871 h 10000"/>
                <a:gd name="connsiteX12" fmla="*/ 1148 w 9997"/>
                <a:gd name="connsiteY12" fmla="*/ 4892 h 10000"/>
                <a:gd name="connsiteX13" fmla="*/ 1246 w 9997"/>
                <a:gd name="connsiteY13" fmla="*/ 4914 h 10000"/>
                <a:gd name="connsiteX14" fmla="*/ 1339 w 9997"/>
                <a:gd name="connsiteY14" fmla="*/ 4941 h 10000"/>
                <a:gd name="connsiteX15" fmla="*/ 1437 w 9997"/>
                <a:gd name="connsiteY15" fmla="*/ 4967 h 10000"/>
                <a:gd name="connsiteX16" fmla="*/ 1529 w 9997"/>
                <a:gd name="connsiteY16" fmla="*/ 4999 h 10000"/>
                <a:gd name="connsiteX17" fmla="*/ 1621 w 9997"/>
                <a:gd name="connsiteY17" fmla="*/ 5030 h 10000"/>
                <a:gd name="connsiteX18" fmla="*/ 1712 w 9997"/>
                <a:gd name="connsiteY18" fmla="*/ 5062 h 10000"/>
                <a:gd name="connsiteX19" fmla="*/ 1805 w 9997"/>
                <a:gd name="connsiteY19" fmla="*/ 5095 h 10000"/>
                <a:gd name="connsiteX20" fmla="*/ 1896 w 9997"/>
                <a:gd name="connsiteY20" fmla="*/ 5132 h 10000"/>
                <a:gd name="connsiteX21" fmla="*/ 1988 w 9997"/>
                <a:gd name="connsiteY21" fmla="*/ 5169 h 10000"/>
                <a:gd name="connsiteX22" fmla="*/ 2073 w 9997"/>
                <a:gd name="connsiteY22" fmla="*/ 5212 h 10000"/>
                <a:gd name="connsiteX23" fmla="*/ 2159 w 9997"/>
                <a:gd name="connsiteY23" fmla="*/ 5250 h 10000"/>
                <a:gd name="connsiteX24" fmla="*/ 2244 w 9997"/>
                <a:gd name="connsiteY24" fmla="*/ 5292 h 10000"/>
                <a:gd name="connsiteX25" fmla="*/ 2322 w 9997"/>
                <a:gd name="connsiteY25" fmla="*/ 5335 h 10000"/>
                <a:gd name="connsiteX26" fmla="*/ 2407 w 9997"/>
                <a:gd name="connsiteY26" fmla="*/ 5383 h 10000"/>
                <a:gd name="connsiteX27" fmla="*/ 2485 w 9997"/>
                <a:gd name="connsiteY27" fmla="*/ 5431 h 10000"/>
                <a:gd name="connsiteX28" fmla="*/ 2566 w 9997"/>
                <a:gd name="connsiteY28" fmla="*/ 5479 h 10000"/>
                <a:gd name="connsiteX29" fmla="*/ 2644 w 9997"/>
                <a:gd name="connsiteY29" fmla="*/ 5527 h 10000"/>
                <a:gd name="connsiteX30" fmla="*/ 2723 w 9997"/>
                <a:gd name="connsiteY30" fmla="*/ 5581 h 10000"/>
                <a:gd name="connsiteX31" fmla="*/ 2795 w 9997"/>
                <a:gd name="connsiteY31" fmla="*/ 5634 h 10000"/>
                <a:gd name="connsiteX32" fmla="*/ 2866 w 9997"/>
                <a:gd name="connsiteY32" fmla="*/ 5688 h 10000"/>
                <a:gd name="connsiteX33" fmla="*/ 2939 w 9997"/>
                <a:gd name="connsiteY33" fmla="*/ 5747 h 10000"/>
                <a:gd name="connsiteX34" fmla="*/ 3005 w 9997"/>
                <a:gd name="connsiteY34" fmla="*/ 5805 h 10000"/>
                <a:gd name="connsiteX35" fmla="*/ 3077 w 9997"/>
                <a:gd name="connsiteY35" fmla="*/ 5864 h 10000"/>
                <a:gd name="connsiteX36" fmla="*/ 3142 w 9997"/>
                <a:gd name="connsiteY36" fmla="*/ 5923 h 10000"/>
                <a:gd name="connsiteX37" fmla="*/ 3201 w 9997"/>
                <a:gd name="connsiteY37" fmla="*/ 5987 h 10000"/>
                <a:gd name="connsiteX38" fmla="*/ 3267 w 9997"/>
                <a:gd name="connsiteY38" fmla="*/ 6046 h 10000"/>
                <a:gd name="connsiteX39" fmla="*/ 3326 w 9997"/>
                <a:gd name="connsiteY39" fmla="*/ 6110 h 10000"/>
                <a:gd name="connsiteX40" fmla="*/ 3385 w 9997"/>
                <a:gd name="connsiteY40" fmla="*/ 6174 h 10000"/>
                <a:gd name="connsiteX41" fmla="*/ 3444 w 9997"/>
                <a:gd name="connsiteY41" fmla="*/ 6238 h 10000"/>
                <a:gd name="connsiteX42" fmla="*/ 3496 w 9997"/>
                <a:gd name="connsiteY42" fmla="*/ 6308 h 10000"/>
                <a:gd name="connsiteX43" fmla="*/ 3549 w 9997"/>
                <a:gd name="connsiteY43" fmla="*/ 6377 h 10000"/>
                <a:gd name="connsiteX44" fmla="*/ 3601 w 9997"/>
                <a:gd name="connsiteY44" fmla="*/ 6447 h 10000"/>
                <a:gd name="connsiteX45" fmla="*/ 3655 w 9997"/>
                <a:gd name="connsiteY45" fmla="*/ 6516 h 10000"/>
                <a:gd name="connsiteX46" fmla="*/ 3694 w 9997"/>
                <a:gd name="connsiteY46" fmla="*/ 6591 h 10000"/>
                <a:gd name="connsiteX47" fmla="*/ 3746 w 9997"/>
                <a:gd name="connsiteY47" fmla="*/ 6666 h 10000"/>
                <a:gd name="connsiteX48" fmla="*/ 3785 w 9997"/>
                <a:gd name="connsiteY48" fmla="*/ 6735 h 10000"/>
                <a:gd name="connsiteX49" fmla="*/ 3825 w 9997"/>
                <a:gd name="connsiteY49" fmla="*/ 6810 h 10000"/>
                <a:gd name="connsiteX50" fmla="*/ 3864 w 9997"/>
                <a:gd name="connsiteY50" fmla="*/ 6885 h 10000"/>
                <a:gd name="connsiteX51" fmla="*/ 3897 w 9997"/>
                <a:gd name="connsiteY51" fmla="*/ 6960 h 10000"/>
                <a:gd name="connsiteX52" fmla="*/ 3929 w 9997"/>
                <a:gd name="connsiteY52" fmla="*/ 7040 h 10000"/>
                <a:gd name="connsiteX53" fmla="*/ 3962 w 9997"/>
                <a:gd name="connsiteY53" fmla="*/ 7120 h 10000"/>
                <a:gd name="connsiteX54" fmla="*/ 3995 w 9997"/>
                <a:gd name="connsiteY54" fmla="*/ 7195 h 10000"/>
                <a:gd name="connsiteX55" fmla="*/ 4021 w 9997"/>
                <a:gd name="connsiteY55" fmla="*/ 7275 h 10000"/>
                <a:gd name="connsiteX56" fmla="*/ 4041 w 9997"/>
                <a:gd name="connsiteY56" fmla="*/ 7355 h 10000"/>
                <a:gd name="connsiteX57" fmla="*/ 4068 w 9997"/>
                <a:gd name="connsiteY57" fmla="*/ 7441 h 10000"/>
                <a:gd name="connsiteX58" fmla="*/ 4087 w 9997"/>
                <a:gd name="connsiteY58" fmla="*/ 7521 h 10000"/>
                <a:gd name="connsiteX59" fmla="*/ 4107 w 9997"/>
                <a:gd name="connsiteY59" fmla="*/ 7601 h 10000"/>
                <a:gd name="connsiteX60" fmla="*/ 4120 w 9997"/>
                <a:gd name="connsiteY60" fmla="*/ 7687 h 10000"/>
                <a:gd name="connsiteX61" fmla="*/ 4133 w 9997"/>
                <a:gd name="connsiteY61" fmla="*/ 7772 h 10000"/>
                <a:gd name="connsiteX62" fmla="*/ 4139 w 9997"/>
                <a:gd name="connsiteY62" fmla="*/ 7858 h 10000"/>
                <a:gd name="connsiteX63" fmla="*/ 4146 w 9997"/>
                <a:gd name="connsiteY63" fmla="*/ 7943 h 10000"/>
                <a:gd name="connsiteX64" fmla="*/ 4146 w 9997"/>
                <a:gd name="connsiteY64" fmla="*/ 8029 h 10000"/>
                <a:gd name="connsiteX65" fmla="*/ 4152 w 9997"/>
                <a:gd name="connsiteY65" fmla="*/ 8114 h 10000"/>
                <a:gd name="connsiteX66" fmla="*/ 4146 w 9997"/>
                <a:gd name="connsiteY66" fmla="*/ 8227 h 10000"/>
                <a:gd name="connsiteX67" fmla="*/ 4139 w 9997"/>
                <a:gd name="connsiteY67" fmla="*/ 8343 h 10000"/>
                <a:gd name="connsiteX68" fmla="*/ 4133 w 9997"/>
                <a:gd name="connsiteY68" fmla="*/ 8450 h 10000"/>
                <a:gd name="connsiteX69" fmla="*/ 4113 w 9997"/>
                <a:gd name="connsiteY69" fmla="*/ 8562 h 10000"/>
                <a:gd name="connsiteX70" fmla="*/ 6724 w 9997"/>
                <a:gd name="connsiteY70" fmla="*/ 10000 h 10000"/>
                <a:gd name="connsiteX71" fmla="*/ 9847 w 9997"/>
                <a:gd name="connsiteY71" fmla="*/ 9498 h 10000"/>
                <a:gd name="connsiteX72" fmla="*/ 9886 w 9997"/>
                <a:gd name="connsiteY72" fmla="*/ 9332 h 10000"/>
                <a:gd name="connsiteX73" fmla="*/ 9912 w 9997"/>
                <a:gd name="connsiteY73" fmla="*/ 9161 h 10000"/>
                <a:gd name="connsiteX74" fmla="*/ 9938 w 9997"/>
                <a:gd name="connsiteY74" fmla="*/ 8990 h 10000"/>
                <a:gd name="connsiteX75" fmla="*/ 9958 w 9997"/>
                <a:gd name="connsiteY75" fmla="*/ 8813 h 10000"/>
                <a:gd name="connsiteX76" fmla="*/ 9971 w 9997"/>
                <a:gd name="connsiteY76" fmla="*/ 8637 h 10000"/>
                <a:gd name="connsiteX77" fmla="*/ 9984 w 9997"/>
                <a:gd name="connsiteY77" fmla="*/ 8466 h 10000"/>
                <a:gd name="connsiteX78" fmla="*/ 9990 w 9997"/>
                <a:gd name="connsiteY78" fmla="*/ 8291 h 10000"/>
                <a:gd name="connsiteX79" fmla="*/ 9997 w 9997"/>
                <a:gd name="connsiteY79" fmla="*/ 8114 h 10000"/>
                <a:gd name="connsiteX80" fmla="*/ 9990 w 9997"/>
                <a:gd name="connsiteY80" fmla="*/ 7901 h 10000"/>
                <a:gd name="connsiteX81" fmla="*/ 9984 w 9997"/>
                <a:gd name="connsiteY81" fmla="*/ 7697 h 10000"/>
                <a:gd name="connsiteX82" fmla="*/ 9964 w 9997"/>
                <a:gd name="connsiteY82" fmla="*/ 7489 h 10000"/>
                <a:gd name="connsiteX83" fmla="*/ 9945 w 9997"/>
                <a:gd name="connsiteY83" fmla="*/ 7286 h 10000"/>
                <a:gd name="connsiteX84" fmla="*/ 9912 w 9997"/>
                <a:gd name="connsiteY84" fmla="*/ 7077 h 10000"/>
                <a:gd name="connsiteX85" fmla="*/ 9879 w 9997"/>
                <a:gd name="connsiteY85" fmla="*/ 6880 h 10000"/>
                <a:gd name="connsiteX86" fmla="*/ 9840 w 9997"/>
                <a:gd name="connsiteY86" fmla="*/ 6677 h 10000"/>
                <a:gd name="connsiteX87" fmla="*/ 9793 w 9997"/>
                <a:gd name="connsiteY87" fmla="*/ 6479 h 10000"/>
                <a:gd name="connsiteX88" fmla="*/ 9741 w 9997"/>
                <a:gd name="connsiteY88" fmla="*/ 6281 h 10000"/>
                <a:gd name="connsiteX89" fmla="*/ 9682 w 9997"/>
                <a:gd name="connsiteY89" fmla="*/ 6089 h 10000"/>
                <a:gd name="connsiteX90" fmla="*/ 9617 w 9997"/>
                <a:gd name="connsiteY90" fmla="*/ 5891 h 10000"/>
                <a:gd name="connsiteX91" fmla="*/ 9552 w 9997"/>
                <a:gd name="connsiteY91" fmla="*/ 5698 h 10000"/>
                <a:gd name="connsiteX92" fmla="*/ 9472 w 9997"/>
                <a:gd name="connsiteY92" fmla="*/ 5511 h 10000"/>
                <a:gd name="connsiteX93" fmla="*/ 9393 w 9997"/>
                <a:gd name="connsiteY93" fmla="*/ 5324 h 10000"/>
                <a:gd name="connsiteX94" fmla="*/ 9301 w 9997"/>
                <a:gd name="connsiteY94" fmla="*/ 5137 h 10000"/>
                <a:gd name="connsiteX95" fmla="*/ 9210 w 9997"/>
                <a:gd name="connsiteY95" fmla="*/ 4957 h 10000"/>
                <a:gd name="connsiteX96" fmla="*/ 9118 w 9997"/>
                <a:gd name="connsiteY96" fmla="*/ 4775 h 10000"/>
                <a:gd name="connsiteX97" fmla="*/ 9013 w 9997"/>
                <a:gd name="connsiteY97" fmla="*/ 4598 h 10000"/>
                <a:gd name="connsiteX98" fmla="*/ 8908 w 9997"/>
                <a:gd name="connsiteY98" fmla="*/ 4422 h 10000"/>
                <a:gd name="connsiteX99" fmla="*/ 8797 w 9997"/>
                <a:gd name="connsiteY99" fmla="*/ 4246 h 10000"/>
                <a:gd name="connsiteX100" fmla="*/ 8679 w 9997"/>
                <a:gd name="connsiteY100" fmla="*/ 4075 h 10000"/>
                <a:gd name="connsiteX101" fmla="*/ 8554 w 9997"/>
                <a:gd name="connsiteY101" fmla="*/ 3909 h 10000"/>
                <a:gd name="connsiteX102" fmla="*/ 8429 w 9997"/>
                <a:gd name="connsiteY102" fmla="*/ 3743 h 10000"/>
                <a:gd name="connsiteX103" fmla="*/ 8298 w 9997"/>
                <a:gd name="connsiteY103" fmla="*/ 3578 h 10000"/>
                <a:gd name="connsiteX104" fmla="*/ 8160 w 9997"/>
                <a:gd name="connsiteY104" fmla="*/ 3417 h 10000"/>
                <a:gd name="connsiteX105" fmla="*/ 8016 w 9997"/>
                <a:gd name="connsiteY105" fmla="*/ 3262 h 10000"/>
                <a:gd name="connsiteX106" fmla="*/ 7871 w 9997"/>
                <a:gd name="connsiteY106" fmla="*/ 3107 h 10000"/>
                <a:gd name="connsiteX107" fmla="*/ 7721 w 9997"/>
                <a:gd name="connsiteY107" fmla="*/ 2952 h 10000"/>
                <a:gd name="connsiteX108" fmla="*/ 7571 w 9997"/>
                <a:gd name="connsiteY108" fmla="*/ 2808 h 10000"/>
                <a:gd name="connsiteX109" fmla="*/ 7405 w 9997"/>
                <a:gd name="connsiteY109" fmla="*/ 2664 h 10000"/>
                <a:gd name="connsiteX110" fmla="*/ 7248 w 9997"/>
                <a:gd name="connsiteY110" fmla="*/ 2519 h 10000"/>
                <a:gd name="connsiteX111" fmla="*/ 7078 w 9997"/>
                <a:gd name="connsiteY111" fmla="*/ 2375 h 10000"/>
                <a:gd name="connsiteX112" fmla="*/ 6908 w 9997"/>
                <a:gd name="connsiteY112" fmla="*/ 2241 h 10000"/>
                <a:gd name="connsiteX113" fmla="*/ 6738 w 9997"/>
                <a:gd name="connsiteY113" fmla="*/ 2108 h 10000"/>
                <a:gd name="connsiteX114" fmla="*/ 6554 w 9997"/>
                <a:gd name="connsiteY114" fmla="*/ 1980 h 10000"/>
                <a:gd name="connsiteX115" fmla="*/ 6370 w 9997"/>
                <a:gd name="connsiteY115" fmla="*/ 1857 h 10000"/>
                <a:gd name="connsiteX116" fmla="*/ 6186 w 9997"/>
                <a:gd name="connsiteY116" fmla="*/ 1734 h 10000"/>
                <a:gd name="connsiteX117" fmla="*/ 5996 w 9997"/>
                <a:gd name="connsiteY117" fmla="*/ 1617 h 10000"/>
                <a:gd name="connsiteX118" fmla="*/ 5799 w 9997"/>
                <a:gd name="connsiteY118" fmla="*/ 1500 h 10000"/>
                <a:gd name="connsiteX119" fmla="*/ 5603 w 9997"/>
                <a:gd name="connsiteY119" fmla="*/ 1387 h 10000"/>
                <a:gd name="connsiteX120" fmla="*/ 5405 w 9997"/>
                <a:gd name="connsiteY120" fmla="*/ 1280 h 10000"/>
                <a:gd name="connsiteX121" fmla="*/ 5202 w 9997"/>
                <a:gd name="connsiteY121" fmla="*/ 1179 h 10000"/>
                <a:gd name="connsiteX122" fmla="*/ 4999 w 9997"/>
                <a:gd name="connsiteY122" fmla="*/ 1077 h 10000"/>
                <a:gd name="connsiteX123" fmla="*/ 4782 w 9997"/>
                <a:gd name="connsiteY123" fmla="*/ 981 h 10000"/>
                <a:gd name="connsiteX124" fmla="*/ 4573 w 9997"/>
                <a:gd name="connsiteY124" fmla="*/ 890 h 10000"/>
                <a:gd name="connsiteX125" fmla="*/ 4355 w 9997"/>
                <a:gd name="connsiteY125" fmla="*/ 805 h 10000"/>
                <a:gd name="connsiteX126" fmla="*/ 4133 w 9997"/>
                <a:gd name="connsiteY126" fmla="*/ 719 h 10000"/>
                <a:gd name="connsiteX127" fmla="*/ 3916 w 9997"/>
                <a:gd name="connsiteY127" fmla="*/ 639 h 10000"/>
                <a:gd name="connsiteX128" fmla="*/ 3694 w 9997"/>
                <a:gd name="connsiteY128" fmla="*/ 570 h 10000"/>
                <a:gd name="connsiteX129" fmla="*/ 3463 w 9997"/>
                <a:gd name="connsiteY129" fmla="*/ 495 h 10000"/>
                <a:gd name="connsiteX130" fmla="*/ 3233 w 9997"/>
                <a:gd name="connsiteY130" fmla="*/ 431 h 10000"/>
                <a:gd name="connsiteX131" fmla="*/ 2998 w 9997"/>
                <a:gd name="connsiteY131" fmla="*/ 366 h 10000"/>
                <a:gd name="connsiteX132" fmla="*/ 2768 w 9997"/>
                <a:gd name="connsiteY132" fmla="*/ 313 h 10000"/>
                <a:gd name="connsiteX133" fmla="*/ 2527 w 9997"/>
                <a:gd name="connsiteY133" fmla="*/ 260 h 10000"/>
                <a:gd name="connsiteX134" fmla="*/ 2283 w 9997"/>
                <a:gd name="connsiteY134" fmla="*/ 211 h 10000"/>
                <a:gd name="connsiteX135" fmla="*/ 2046 w 9997"/>
                <a:gd name="connsiteY135" fmla="*/ 169 h 10000"/>
                <a:gd name="connsiteX136" fmla="*/ 1805 w 9997"/>
                <a:gd name="connsiteY136" fmla="*/ 131 h 10000"/>
                <a:gd name="connsiteX137" fmla="*/ 1555 w 9997"/>
                <a:gd name="connsiteY137" fmla="*/ 94 h 10000"/>
                <a:gd name="connsiteX138" fmla="*/ 1305 w 9997"/>
                <a:gd name="connsiteY138" fmla="*/ 67 h 10000"/>
                <a:gd name="connsiteX139" fmla="*/ 1057 w 9997"/>
                <a:gd name="connsiteY139" fmla="*/ 46 h 10000"/>
                <a:gd name="connsiteX140" fmla="*/ 807 w 9997"/>
                <a:gd name="connsiteY140" fmla="*/ 30 h 10000"/>
                <a:gd name="connsiteX141" fmla="*/ 551 w 9997"/>
                <a:gd name="connsiteY141" fmla="*/ 14 h 10000"/>
                <a:gd name="connsiteX142" fmla="*/ 295 w 9997"/>
                <a:gd name="connsiteY142" fmla="*/ 8 h 10000"/>
                <a:gd name="connsiteX143" fmla="*/ 39 w 9997"/>
                <a:gd name="connsiteY143" fmla="*/ 3 h 10000"/>
                <a:gd name="connsiteX144" fmla="*/ 0 w 9997"/>
                <a:gd name="connsiteY144" fmla="*/ 0 h 10000"/>
                <a:gd name="connsiteX145" fmla="*/ 1210 w 9997"/>
                <a:gd name="connsiteY145" fmla="*/ 2445 h 10000"/>
                <a:gd name="connsiteX146" fmla="*/ 7 w 9997"/>
                <a:gd name="connsiteY146" fmla="*/ 477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</a:cxnLst>
              <a:rect l="l" t="t" r="r" b="b"/>
              <a:pathLst>
                <a:path w="9997" h="10000">
                  <a:moveTo>
                    <a:pt x="7" y="4770"/>
                  </a:moveTo>
                  <a:cubicBezTo>
                    <a:pt x="15" y="4768"/>
                    <a:pt x="12" y="4766"/>
                    <a:pt x="20" y="4764"/>
                  </a:cubicBezTo>
                  <a:lnTo>
                    <a:pt x="124" y="4764"/>
                  </a:lnTo>
                  <a:lnTo>
                    <a:pt x="230" y="4770"/>
                  </a:lnTo>
                  <a:lnTo>
                    <a:pt x="335" y="4775"/>
                  </a:lnTo>
                  <a:lnTo>
                    <a:pt x="439" y="4780"/>
                  </a:lnTo>
                  <a:lnTo>
                    <a:pt x="545" y="4796"/>
                  </a:lnTo>
                  <a:lnTo>
                    <a:pt x="650" y="4807"/>
                  </a:lnTo>
                  <a:lnTo>
                    <a:pt x="748" y="4818"/>
                  </a:lnTo>
                  <a:cubicBezTo>
                    <a:pt x="781" y="4823"/>
                    <a:pt x="813" y="4829"/>
                    <a:pt x="846" y="4834"/>
                  </a:cubicBezTo>
                  <a:lnTo>
                    <a:pt x="952" y="4850"/>
                  </a:lnTo>
                  <a:lnTo>
                    <a:pt x="1050" y="4871"/>
                  </a:lnTo>
                  <a:lnTo>
                    <a:pt x="1148" y="4892"/>
                  </a:lnTo>
                  <a:cubicBezTo>
                    <a:pt x="1181" y="4899"/>
                    <a:pt x="1213" y="4907"/>
                    <a:pt x="1246" y="4914"/>
                  </a:cubicBezTo>
                  <a:lnTo>
                    <a:pt x="1339" y="4941"/>
                  </a:lnTo>
                  <a:lnTo>
                    <a:pt x="1437" y="4967"/>
                  </a:lnTo>
                  <a:cubicBezTo>
                    <a:pt x="1467" y="4978"/>
                    <a:pt x="1499" y="4988"/>
                    <a:pt x="1529" y="4999"/>
                  </a:cubicBezTo>
                  <a:cubicBezTo>
                    <a:pt x="1560" y="5009"/>
                    <a:pt x="1590" y="5020"/>
                    <a:pt x="1621" y="5030"/>
                  </a:cubicBezTo>
                  <a:cubicBezTo>
                    <a:pt x="1651" y="5041"/>
                    <a:pt x="1682" y="5051"/>
                    <a:pt x="1712" y="5062"/>
                  </a:cubicBezTo>
                  <a:lnTo>
                    <a:pt x="1805" y="5095"/>
                  </a:lnTo>
                  <a:lnTo>
                    <a:pt x="1896" y="5132"/>
                  </a:lnTo>
                  <a:cubicBezTo>
                    <a:pt x="1927" y="5144"/>
                    <a:pt x="1957" y="5157"/>
                    <a:pt x="1988" y="5169"/>
                  </a:cubicBezTo>
                  <a:lnTo>
                    <a:pt x="2073" y="5212"/>
                  </a:lnTo>
                  <a:cubicBezTo>
                    <a:pt x="2101" y="5225"/>
                    <a:pt x="2131" y="5237"/>
                    <a:pt x="2159" y="5250"/>
                  </a:cubicBezTo>
                  <a:lnTo>
                    <a:pt x="2244" y="5292"/>
                  </a:lnTo>
                  <a:cubicBezTo>
                    <a:pt x="2270" y="5306"/>
                    <a:pt x="2296" y="5321"/>
                    <a:pt x="2322" y="5335"/>
                  </a:cubicBezTo>
                  <a:lnTo>
                    <a:pt x="2407" y="5383"/>
                  </a:lnTo>
                  <a:lnTo>
                    <a:pt x="2485" y="5431"/>
                  </a:lnTo>
                  <a:lnTo>
                    <a:pt x="2566" y="5479"/>
                  </a:lnTo>
                  <a:lnTo>
                    <a:pt x="2644" y="5527"/>
                  </a:lnTo>
                  <a:lnTo>
                    <a:pt x="2723" y="5581"/>
                  </a:lnTo>
                  <a:cubicBezTo>
                    <a:pt x="2747" y="5599"/>
                    <a:pt x="2771" y="5616"/>
                    <a:pt x="2795" y="5634"/>
                  </a:cubicBezTo>
                  <a:cubicBezTo>
                    <a:pt x="2819" y="5652"/>
                    <a:pt x="2842" y="5670"/>
                    <a:pt x="2866" y="5688"/>
                  </a:cubicBezTo>
                  <a:cubicBezTo>
                    <a:pt x="2891" y="5708"/>
                    <a:pt x="2915" y="5727"/>
                    <a:pt x="2939" y="5747"/>
                  </a:cubicBezTo>
                  <a:cubicBezTo>
                    <a:pt x="2961" y="5766"/>
                    <a:pt x="2983" y="5786"/>
                    <a:pt x="3005" y="5805"/>
                  </a:cubicBezTo>
                  <a:cubicBezTo>
                    <a:pt x="3029" y="5825"/>
                    <a:pt x="3053" y="5844"/>
                    <a:pt x="3077" y="5864"/>
                  </a:cubicBezTo>
                  <a:lnTo>
                    <a:pt x="3142" y="5923"/>
                  </a:lnTo>
                  <a:cubicBezTo>
                    <a:pt x="3162" y="5944"/>
                    <a:pt x="3181" y="5966"/>
                    <a:pt x="3201" y="5987"/>
                  </a:cubicBezTo>
                  <a:cubicBezTo>
                    <a:pt x="3223" y="6007"/>
                    <a:pt x="3245" y="6026"/>
                    <a:pt x="3267" y="6046"/>
                  </a:cubicBezTo>
                  <a:cubicBezTo>
                    <a:pt x="3287" y="6067"/>
                    <a:pt x="3306" y="6089"/>
                    <a:pt x="3326" y="6110"/>
                  </a:cubicBezTo>
                  <a:cubicBezTo>
                    <a:pt x="3346" y="6131"/>
                    <a:pt x="3365" y="6153"/>
                    <a:pt x="3385" y="6174"/>
                  </a:cubicBezTo>
                  <a:cubicBezTo>
                    <a:pt x="3405" y="6195"/>
                    <a:pt x="3424" y="6217"/>
                    <a:pt x="3444" y="6238"/>
                  </a:cubicBezTo>
                  <a:lnTo>
                    <a:pt x="3496" y="6308"/>
                  </a:lnTo>
                  <a:cubicBezTo>
                    <a:pt x="3514" y="6331"/>
                    <a:pt x="3532" y="6354"/>
                    <a:pt x="3549" y="6377"/>
                  </a:cubicBezTo>
                  <a:lnTo>
                    <a:pt x="3601" y="6447"/>
                  </a:lnTo>
                  <a:cubicBezTo>
                    <a:pt x="3619" y="6470"/>
                    <a:pt x="3636" y="6493"/>
                    <a:pt x="3655" y="6516"/>
                  </a:cubicBezTo>
                  <a:lnTo>
                    <a:pt x="3694" y="6591"/>
                  </a:lnTo>
                  <a:cubicBezTo>
                    <a:pt x="3711" y="6616"/>
                    <a:pt x="3729" y="6641"/>
                    <a:pt x="3746" y="6666"/>
                  </a:cubicBezTo>
                  <a:lnTo>
                    <a:pt x="3785" y="6735"/>
                  </a:lnTo>
                  <a:cubicBezTo>
                    <a:pt x="3798" y="6760"/>
                    <a:pt x="3812" y="6785"/>
                    <a:pt x="3825" y="6810"/>
                  </a:cubicBezTo>
                  <a:lnTo>
                    <a:pt x="3864" y="6885"/>
                  </a:lnTo>
                  <a:lnTo>
                    <a:pt x="3897" y="6960"/>
                  </a:lnTo>
                  <a:cubicBezTo>
                    <a:pt x="3908" y="6987"/>
                    <a:pt x="3918" y="7013"/>
                    <a:pt x="3929" y="7040"/>
                  </a:cubicBezTo>
                  <a:cubicBezTo>
                    <a:pt x="3940" y="7067"/>
                    <a:pt x="3951" y="7093"/>
                    <a:pt x="3962" y="7120"/>
                  </a:cubicBezTo>
                  <a:lnTo>
                    <a:pt x="3995" y="7195"/>
                  </a:lnTo>
                  <a:cubicBezTo>
                    <a:pt x="4004" y="7222"/>
                    <a:pt x="4012" y="7248"/>
                    <a:pt x="4021" y="7275"/>
                  </a:cubicBezTo>
                  <a:cubicBezTo>
                    <a:pt x="4027" y="7302"/>
                    <a:pt x="4035" y="7328"/>
                    <a:pt x="4041" y="7355"/>
                  </a:cubicBezTo>
                  <a:cubicBezTo>
                    <a:pt x="4050" y="7384"/>
                    <a:pt x="4059" y="7412"/>
                    <a:pt x="4068" y="7441"/>
                  </a:cubicBezTo>
                  <a:cubicBezTo>
                    <a:pt x="4074" y="7468"/>
                    <a:pt x="4081" y="7494"/>
                    <a:pt x="4087" y="7521"/>
                  </a:cubicBezTo>
                  <a:cubicBezTo>
                    <a:pt x="4094" y="7548"/>
                    <a:pt x="4100" y="7574"/>
                    <a:pt x="4107" y="7601"/>
                  </a:cubicBezTo>
                  <a:cubicBezTo>
                    <a:pt x="4111" y="7630"/>
                    <a:pt x="4116" y="7658"/>
                    <a:pt x="4120" y="7687"/>
                  </a:cubicBezTo>
                  <a:cubicBezTo>
                    <a:pt x="4124" y="7715"/>
                    <a:pt x="4129" y="7744"/>
                    <a:pt x="4133" y="7772"/>
                  </a:cubicBezTo>
                  <a:cubicBezTo>
                    <a:pt x="4135" y="7801"/>
                    <a:pt x="4137" y="7829"/>
                    <a:pt x="4139" y="7858"/>
                  </a:cubicBezTo>
                  <a:cubicBezTo>
                    <a:pt x="4141" y="7886"/>
                    <a:pt x="4144" y="7915"/>
                    <a:pt x="4146" y="7943"/>
                  </a:cubicBezTo>
                  <a:lnTo>
                    <a:pt x="4146" y="8029"/>
                  </a:lnTo>
                  <a:cubicBezTo>
                    <a:pt x="4148" y="8057"/>
                    <a:pt x="4150" y="8086"/>
                    <a:pt x="4152" y="8114"/>
                  </a:cubicBezTo>
                  <a:cubicBezTo>
                    <a:pt x="4150" y="8152"/>
                    <a:pt x="4148" y="8189"/>
                    <a:pt x="4146" y="8227"/>
                  </a:cubicBezTo>
                  <a:cubicBezTo>
                    <a:pt x="4144" y="8266"/>
                    <a:pt x="4141" y="8305"/>
                    <a:pt x="4139" y="8343"/>
                  </a:cubicBezTo>
                  <a:cubicBezTo>
                    <a:pt x="4137" y="8379"/>
                    <a:pt x="4135" y="8414"/>
                    <a:pt x="4133" y="8450"/>
                  </a:cubicBezTo>
                  <a:cubicBezTo>
                    <a:pt x="4126" y="8487"/>
                    <a:pt x="4120" y="8525"/>
                    <a:pt x="4113" y="8562"/>
                  </a:cubicBezTo>
                  <a:lnTo>
                    <a:pt x="6724" y="10000"/>
                  </a:lnTo>
                  <a:lnTo>
                    <a:pt x="9847" y="9498"/>
                  </a:lnTo>
                  <a:cubicBezTo>
                    <a:pt x="9860" y="9443"/>
                    <a:pt x="9873" y="9387"/>
                    <a:pt x="9886" y="9332"/>
                  </a:cubicBezTo>
                  <a:cubicBezTo>
                    <a:pt x="9895" y="9275"/>
                    <a:pt x="9903" y="9218"/>
                    <a:pt x="9912" y="9161"/>
                  </a:cubicBezTo>
                  <a:cubicBezTo>
                    <a:pt x="9921" y="9104"/>
                    <a:pt x="9929" y="9047"/>
                    <a:pt x="9938" y="8990"/>
                  </a:cubicBezTo>
                  <a:cubicBezTo>
                    <a:pt x="9945" y="8931"/>
                    <a:pt x="9951" y="8872"/>
                    <a:pt x="9958" y="8813"/>
                  </a:cubicBezTo>
                  <a:cubicBezTo>
                    <a:pt x="9962" y="8754"/>
                    <a:pt x="9967" y="8696"/>
                    <a:pt x="9971" y="8637"/>
                  </a:cubicBezTo>
                  <a:cubicBezTo>
                    <a:pt x="9975" y="8580"/>
                    <a:pt x="9980" y="8523"/>
                    <a:pt x="9984" y="8466"/>
                  </a:cubicBezTo>
                  <a:cubicBezTo>
                    <a:pt x="9986" y="8407"/>
                    <a:pt x="9988" y="8349"/>
                    <a:pt x="9990" y="8291"/>
                  </a:cubicBezTo>
                  <a:cubicBezTo>
                    <a:pt x="9992" y="8232"/>
                    <a:pt x="9995" y="8173"/>
                    <a:pt x="9997" y="8114"/>
                  </a:cubicBezTo>
                  <a:cubicBezTo>
                    <a:pt x="9995" y="8043"/>
                    <a:pt x="9992" y="7972"/>
                    <a:pt x="9990" y="7901"/>
                  </a:cubicBezTo>
                  <a:lnTo>
                    <a:pt x="9984" y="7697"/>
                  </a:lnTo>
                  <a:cubicBezTo>
                    <a:pt x="9977" y="7628"/>
                    <a:pt x="9971" y="7558"/>
                    <a:pt x="9964" y="7489"/>
                  </a:cubicBezTo>
                  <a:cubicBezTo>
                    <a:pt x="9958" y="7421"/>
                    <a:pt x="9951" y="7354"/>
                    <a:pt x="9945" y="7286"/>
                  </a:cubicBezTo>
                  <a:cubicBezTo>
                    <a:pt x="9934" y="7216"/>
                    <a:pt x="9923" y="7147"/>
                    <a:pt x="9912" y="7077"/>
                  </a:cubicBezTo>
                  <a:cubicBezTo>
                    <a:pt x="9901" y="7011"/>
                    <a:pt x="9890" y="6946"/>
                    <a:pt x="9879" y="6880"/>
                  </a:cubicBezTo>
                  <a:cubicBezTo>
                    <a:pt x="9866" y="6812"/>
                    <a:pt x="9853" y="6745"/>
                    <a:pt x="9840" y="6677"/>
                  </a:cubicBezTo>
                  <a:cubicBezTo>
                    <a:pt x="9825" y="6611"/>
                    <a:pt x="9809" y="6545"/>
                    <a:pt x="9793" y="6479"/>
                  </a:cubicBezTo>
                  <a:cubicBezTo>
                    <a:pt x="9776" y="6413"/>
                    <a:pt x="9758" y="6347"/>
                    <a:pt x="9741" y="6281"/>
                  </a:cubicBezTo>
                  <a:cubicBezTo>
                    <a:pt x="9721" y="6217"/>
                    <a:pt x="9702" y="6153"/>
                    <a:pt x="9682" y="6089"/>
                  </a:cubicBezTo>
                  <a:cubicBezTo>
                    <a:pt x="9660" y="6023"/>
                    <a:pt x="9639" y="5957"/>
                    <a:pt x="9617" y="5891"/>
                  </a:cubicBezTo>
                  <a:cubicBezTo>
                    <a:pt x="9595" y="5827"/>
                    <a:pt x="9574" y="5762"/>
                    <a:pt x="9552" y="5698"/>
                  </a:cubicBezTo>
                  <a:cubicBezTo>
                    <a:pt x="9526" y="5636"/>
                    <a:pt x="9499" y="5573"/>
                    <a:pt x="9472" y="5511"/>
                  </a:cubicBezTo>
                  <a:cubicBezTo>
                    <a:pt x="9446" y="5449"/>
                    <a:pt x="9420" y="5386"/>
                    <a:pt x="9393" y="5324"/>
                  </a:cubicBezTo>
                  <a:cubicBezTo>
                    <a:pt x="9362" y="5262"/>
                    <a:pt x="9332" y="5199"/>
                    <a:pt x="9301" y="5137"/>
                  </a:cubicBezTo>
                  <a:cubicBezTo>
                    <a:pt x="9271" y="5077"/>
                    <a:pt x="9240" y="5016"/>
                    <a:pt x="9210" y="4957"/>
                  </a:cubicBezTo>
                  <a:cubicBezTo>
                    <a:pt x="9179" y="4896"/>
                    <a:pt x="9149" y="4836"/>
                    <a:pt x="9118" y="4775"/>
                  </a:cubicBezTo>
                  <a:cubicBezTo>
                    <a:pt x="9083" y="4716"/>
                    <a:pt x="9049" y="4657"/>
                    <a:pt x="9013" y="4598"/>
                  </a:cubicBezTo>
                  <a:lnTo>
                    <a:pt x="8908" y="4422"/>
                  </a:lnTo>
                  <a:lnTo>
                    <a:pt x="8797" y="4246"/>
                  </a:lnTo>
                  <a:cubicBezTo>
                    <a:pt x="8758" y="4189"/>
                    <a:pt x="8718" y="4132"/>
                    <a:pt x="8679" y="4075"/>
                  </a:cubicBezTo>
                  <a:cubicBezTo>
                    <a:pt x="8637" y="4020"/>
                    <a:pt x="8596" y="3964"/>
                    <a:pt x="8554" y="3909"/>
                  </a:cubicBezTo>
                  <a:cubicBezTo>
                    <a:pt x="8512" y="3854"/>
                    <a:pt x="8471" y="3798"/>
                    <a:pt x="8429" y="3743"/>
                  </a:cubicBezTo>
                  <a:lnTo>
                    <a:pt x="8298" y="3578"/>
                  </a:lnTo>
                  <a:lnTo>
                    <a:pt x="8160" y="3417"/>
                  </a:lnTo>
                  <a:lnTo>
                    <a:pt x="8016" y="3262"/>
                  </a:lnTo>
                  <a:cubicBezTo>
                    <a:pt x="7968" y="3210"/>
                    <a:pt x="7919" y="3159"/>
                    <a:pt x="7871" y="3107"/>
                  </a:cubicBezTo>
                  <a:lnTo>
                    <a:pt x="7721" y="2952"/>
                  </a:lnTo>
                  <a:lnTo>
                    <a:pt x="7571" y="2808"/>
                  </a:lnTo>
                  <a:lnTo>
                    <a:pt x="7405" y="2664"/>
                  </a:lnTo>
                  <a:lnTo>
                    <a:pt x="7248" y="2519"/>
                  </a:lnTo>
                  <a:lnTo>
                    <a:pt x="7078" y="2375"/>
                  </a:lnTo>
                  <a:lnTo>
                    <a:pt x="6908" y="2241"/>
                  </a:lnTo>
                  <a:cubicBezTo>
                    <a:pt x="6851" y="2197"/>
                    <a:pt x="6795" y="2152"/>
                    <a:pt x="6738" y="2108"/>
                  </a:cubicBezTo>
                  <a:lnTo>
                    <a:pt x="6554" y="1980"/>
                  </a:lnTo>
                  <a:lnTo>
                    <a:pt x="6370" y="1857"/>
                  </a:lnTo>
                  <a:lnTo>
                    <a:pt x="6186" y="1734"/>
                  </a:lnTo>
                  <a:lnTo>
                    <a:pt x="5996" y="1617"/>
                  </a:lnTo>
                  <a:lnTo>
                    <a:pt x="5799" y="1500"/>
                  </a:lnTo>
                  <a:lnTo>
                    <a:pt x="5603" y="1387"/>
                  </a:lnTo>
                  <a:lnTo>
                    <a:pt x="5405" y="1280"/>
                  </a:lnTo>
                  <a:lnTo>
                    <a:pt x="5202" y="1179"/>
                  </a:lnTo>
                  <a:lnTo>
                    <a:pt x="4999" y="1077"/>
                  </a:lnTo>
                  <a:lnTo>
                    <a:pt x="4782" y="981"/>
                  </a:lnTo>
                  <a:lnTo>
                    <a:pt x="4573" y="890"/>
                  </a:lnTo>
                  <a:lnTo>
                    <a:pt x="4355" y="805"/>
                  </a:lnTo>
                  <a:lnTo>
                    <a:pt x="4133" y="719"/>
                  </a:lnTo>
                  <a:lnTo>
                    <a:pt x="3916" y="639"/>
                  </a:lnTo>
                  <a:lnTo>
                    <a:pt x="3694" y="570"/>
                  </a:lnTo>
                  <a:lnTo>
                    <a:pt x="3463" y="495"/>
                  </a:lnTo>
                  <a:lnTo>
                    <a:pt x="3233" y="431"/>
                  </a:lnTo>
                  <a:lnTo>
                    <a:pt x="2998" y="366"/>
                  </a:lnTo>
                  <a:lnTo>
                    <a:pt x="2768" y="313"/>
                  </a:lnTo>
                  <a:lnTo>
                    <a:pt x="2527" y="260"/>
                  </a:lnTo>
                  <a:lnTo>
                    <a:pt x="2283" y="211"/>
                  </a:lnTo>
                  <a:lnTo>
                    <a:pt x="2046" y="169"/>
                  </a:lnTo>
                  <a:lnTo>
                    <a:pt x="1805" y="131"/>
                  </a:lnTo>
                  <a:lnTo>
                    <a:pt x="1555" y="94"/>
                  </a:lnTo>
                  <a:lnTo>
                    <a:pt x="1305" y="67"/>
                  </a:lnTo>
                  <a:lnTo>
                    <a:pt x="1057" y="46"/>
                  </a:lnTo>
                  <a:lnTo>
                    <a:pt x="807" y="30"/>
                  </a:lnTo>
                  <a:lnTo>
                    <a:pt x="551" y="14"/>
                  </a:lnTo>
                  <a:lnTo>
                    <a:pt x="295" y="8"/>
                  </a:lnTo>
                  <a:lnTo>
                    <a:pt x="39" y="3"/>
                  </a:lnTo>
                  <a:cubicBezTo>
                    <a:pt x="13" y="5"/>
                    <a:pt x="26" y="-2"/>
                    <a:pt x="0" y="0"/>
                  </a:cubicBezTo>
                  <a:lnTo>
                    <a:pt x="1210" y="2445"/>
                  </a:lnTo>
                  <a:lnTo>
                    <a:pt x="7" y="477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/>
            </a:p>
          </p:txBody>
        </p:sp>
        <p:sp>
          <p:nvSpPr>
            <p:cNvPr id="65" name="Freeform 4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-84370714" y="-26265662"/>
              <a:ext cx="41346518" cy="66837563"/>
            </a:xfrm>
            <a:custGeom>
              <a:avLst/>
              <a:gdLst>
                <a:gd name="T0" fmla="*/ 2147483647 w 1349"/>
                <a:gd name="T1" fmla="*/ 2147483647 h 2182"/>
                <a:gd name="T2" fmla="*/ 2147483647 w 1349"/>
                <a:gd name="T3" fmla="*/ 2147483647 h 2182"/>
                <a:gd name="T4" fmla="*/ 2147483647 w 1349"/>
                <a:gd name="T5" fmla="*/ 2147483647 h 2182"/>
                <a:gd name="T6" fmla="*/ 2147483647 w 1349"/>
                <a:gd name="T7" fmla="*/ 2147483647 h 2182"/>
                <a:gd name="T8" fmla="*/ 2147483647 w 1349"/>
                <a:gd name="T9" fmla="*/ 2147483647 h 2182"/>
                <a:gd name="T10" fmla="*/ 2147483647 w 1349"/>
                <a:gd name="T11" fmla="*/ 2147483647 h 2182"/>
                <a:gd name="T12" fmla="*/ 2147483647 w 1349"/>
                <a:gd name="T13" fmla="*/ 2147483647 h 2182"/>
                <a:gd name="T14" fmla="*/ 2147483647 w 1349"/>
                <a:gd name="T15" fmla="*/ 2147483647 h 2182"/>
                <a:gd name="T16" fmla="*/ 2147483647 w 1349"/>
                <a:gd name="T17" fmla="*/ 2147483647 h 2182"/>
                <a:gd name="T18" fmla="*/ 2147483647 w 1349"/>
                <a:gd name="T19" fmla="*/ 2147483647 h 2182"/>
                <a:gd name="T20" fmla="*/ 2147483647 w 1349"/>
                <a:gd name="T21" fmla="*/ 2147483647 h 2182"/>
                <a:gd name="T22" fmla="*/ 2147483647 w 1349"/>
                <a:gd name="T23" fmla="*/ 2147483647 h 2182"/>
                <a:gd name="T24" fmla="*/ 2147483647 w 1349"/>
                <a:gd name="T25" fmla="*/ 2147483647 h 2182"/>
                <a:gd name="T26" fmla="*/ 2147483647 w 1349"/>
                <a:gd name="T27" fmla="*/ 2147483647 h 2182"/>
                <a:gd name="T28" fmla="*/ 2147483647 w 1349"/>
                <a:gd name="T29" fmla="*/ 2147483647 h 2182"/>
                <a:gd name="T30" fmla="*/ 2147483647 w 1349"/>
                <a:gd name="T31" fmla="*/ 2147483647 h 2182"/>
                <a:gd name="T32" fmla="*/ 2147483647 w 1349"/>
                <a:gd name="T33" fmla="*/ 2147483647 h 2182"/>
                <a:gd name="T34" fmla="*/ 2147483647 w 1349"/>
                <a:gd name="T35" fmla="*/ 2147483647 h 2182"/>
                <a:gd name="T36" fmla="*/ 2147483647 w 1349"/>
                <a:gd name="T37" fmla="*/ 2147483647 h 2182"/>
                <a:gd name="T38" fmla="*/ 2147483647 w 1349"/>
                <a:gd name="T39" fmla="*/ 2147483647 h 2182"/>
                <a:gd name="T40" fmla="*/ 2147483647 w 1349"/>
                <a:gd name="T41" fmla="*/ 2147483647 h 2182"/>
                <a:gd name="T42" fmla="*/ 2147483647 w 1349"/>
                <a:gd name="T43" fmla="*/ 2147483647 h 2182"/>
                <a:gd name="T44" fmla="*/ 2147483647 w 1349"/>
                <a:gd name="T45" fmla="*/ 2147483647 h 2182"/>
                <a:gd name="T46" fmla="*/ 2147483647 w 1349"/>
                <a:gd name="T47" fmla="*/ 2147483647 h 2182"/>
                <a:gd name="T48" fmla="*/ 2147483647 w 1349"/>
                <a:gd name="T49" fmla="*/ 2147483647 h 2182"/>
                <a:gd name="T50" fmla="*/ 2147483647 w 1349"/>
                <a:gd name="T51" fmla="*/ 2147483647 h 2182"/>
                <a:gd name="T52" fmla="*/ 2147483647 w 1349"/>
                <a:gd name="T53" fmla="*/ 2147483647 h 2182"/>
                <a:gd name="T54" fmla="*/ 2147483647 w 1349"/>
                <a:gd name="T55" fmla="*/ 2147483647 h 2182"/>
                <a:gd name="T56" fmla="*/ 2147483647 w 1349"/>
                <a:gd name="T57" fmla="*/ 2147483647 h 2182"/>
                <a:gd name="T58" fmla="*/ 2147483647 w 1349"/>
                <a:gd name="T59" fmla="*/ 2147483647 h 2182"/>
                <a:gd name="T60" fmla="*/ 2147483647 w 1349"/>
                <a:gd name="T61" fmla="*/ 2147483647 h 2182"/>
                <a:gd name="T62" fmla="*/ 2147483647 w 1349"/>
                <a:gd name="T63" fmla="*/ 2147483647 h 2182"/>
                <a:gd name="T64" fmla="*/ 2147483647 w 1349"/>
                <a:gd name="T65" fmla="*/ 2147483647 h 2182"/>
                <a:gd name="T66" fmla="*/ 2147483647 w 1349"/>
                <a:gd name="T67" fmla="*/ 2147483647 h 2182"/>
                <a:gd name="T68" fmla="*/ 2147483647 w 1349"/>
                <a:gd name="T69" fmla="*/ 2147483647 h 2182"/>
                <a:gd name="T70" fmla="*/ 2147483647 w 1349"/>
                <a:gd name="T71" fmla="*/ 2147483647 h 2182"/>
                <a:gd name="T72" fmla="*/ 2147483647 w 1349"/>
                <a:gd name="T73" fmla="*/ 2147483647 h 2182"/>
                <a:gd name="T74" fmla="*/ 0 w 1349"/>
                <a:gd name="T75" fmla="*/ 2147483647 h 2182"/>
                <a:gd name="T76" fmla="*/ 2147483647 w 1349"/>
                <a:gd name="T77" fmla="*/ 2147483647 h 2182"/>
                <a:gd name="T78" fmla="*/ 2147483647 w 1349"/>
                <a:gd name="T79" fmla="*/ 2147483647 h 2182"/>
                <a:gd name="T80" fmla="*/ 2147483647 w 1349"/>
                <a:gd name="T81" fmla="*/ 2147483647 h 2182"/>
                <a:gd name="T82" fmla="*/ 2147483647 w 1349"/>
                <a:gd name="T83" fmla="*/ 2147483647 h 2182"/>
                <a:gd name="T84" fmla="*/ 2147483647 w 1349"/>
                <a:gd name="T85" fmla="*/ 2147483647 h 2182"/>
                <a:gd name="T86" fmla="*/ 2147483647 w 1349"/>
                <a:gd name="T87" fmla="*/ 2147483647 h 2182"/>
                <a:gd name="T88" fmla="*/ 2147483647 w 1349"/>
                <a:gd name="T89" fmla="*/ 2147483647 h 2182"/>
                <a:gd name="T90" fmla="*/ 2147483647 w 1349"/>
                <a:gd name="T91" fmla="*/ 2147483647 h 2182"/>
                <a:gd name="T92" fmla="*/ 2147483647 w 1349"/>
                <a:gd name="T93" fmla="*/ 2147483647 h 2182"/>
                <a:gd name="T94" fmla="*/ 2147483647 w 1349"/>
                <a:gd name="T95" fmla="*/ 2147483647 h 2182"/>
                <a:gd name="T96" fmla="*/ 2147483647 w 1349"/>
                <a:gd name="T97" fmla="*/ 2147483647 h 2182"/>
                <a:gd name="T98" fmla="*/ 2147483647 w 1349"/>
                <a:gd name="T99" fmla="*/ 2147483647 h 2182"/>
                <a:gd name="T100" fmla="*/ 2147483647 w 1349"/>
                <a:gd name="T101" fmla="*/ 2147483647 h 2182"/>
                <a:gd name="T102" fmla="*/ 2147483647 w 1349"/>
                <a:gd name="T103" fmla="*/ 2147483647 h 2182"/>
                <a:gd name="T104" fmla="*/ 2147483647 w 1349"/>
                <a:gd name="T105" fmla="*/ 2147483647 h 2182"/>
                <a:gd name="T106" fmla="*/ 2147483647 w 1349"/>
                <a:gd name="T107" fmla="*/ 2147483647 h 2182"/>
                <a:gd name="T108" fmla="*/ 2147483647 w 1349"/>
                <a:gd name="T109" fmla="*/ 2147483647 h 2182"/>
                <a:gd name="T110" fmla="*/ 2147483647 w 1349"/>
                <a:gd name="T111" fmla="*/ 2147483647 h 2182"/>
                <a:gd name="T112" fmla="*/ 2147483647 w 1349"/>
                <a:gd name="T113" fmla="*/ 2147483647 h 2182"/>
                <a:gd name="T114" fmla="*/ 2147483647 w 1349"/>
                <a:gd name="T115" fmla="*/ 2147483647 h 2182"/>
                <a:gd name="T116" fmla="*/ 2147483647 w 1349"/>
                <a:gd name="T117" fmla="*/ 2147483647 h 2182"/>
                <a:gd name="T118" fmla="*/ 2147483647 w 1349"/>
                <a:gd name="T119" fmla="*/ 2147483647 h 218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49"/>
                <a:gd name="T181" fmla="*/ 0 h 2182"/>
                <a:gd name="T182" fmla="*/ 1349 w 1349"/>
                <a:gd name="T183" fmla="*/ 2182 h 2182"/>
                <a:gd name="connsiteX0" fmla="*/ 10000 w 10000"/>
                <a:gd name="connsiteY0" fmla="*/ 6141 h 10000"/>
                <a:gd name="connsiteX1" fmla="*/ 10000 w 10000"/>
                <a:gd name="connsiteY1" fmla="*/ 6141 h 10000"/>
                <a:gd name="connsiteX2" fmla="*/ 9911 w 10000"/>
                <a:gd name="connsiteY2" fmla="*/ 6127 h 10000"/>
                <a:gd name="connsiteX3" fmla="*/ 9815 w 10000"/>
                <a:gd name="connsiteY3" fmla="*/ 6109 h 10000"/>
                <a:gd name="connsiteX4" fmla="*/ 9726 w 10000"/>
                <a:gd name="connsiteY4" fmla="*/ 6091 h 10000"/>
                <a:gd name="connsiteX5" fmla="*/ 9637 w 10000"/>
                <a:gd name="connsiteY5" fmla="*/ 6068 h 10000"/>
                <a:gd name="connsiteX6" fmla="*/ 9548 w 10000"/>
                <a:gd name="connsiteY6" fmla="*/ 6049 h 10000"/>
                <a:gd name="connsiteX7" fmla="*/ 9466 w 10000"/>
                <a:gd name="connsiteY7" fmla="*/ 6027 h 10000"/>
                <a:gd name="connsiteX8" fmla="*/ 9377 w 10000"/>
                <a:gd name="connsiteY8" fmla="*/ 6004 h 10000"/>
                <a:gd name="connsiteX9" fmla="*/ 9288 w 10000"/>
                <a:gd name="connsiteY9" fmla="*/ 5981 h 10000"/>
                <a:gd name="connsiteX10" fmla="*/ 9118 w 10000"/>
                <a:gd name="connsiteY10" fmla="*/ 5930 h 10000"/>
                <a:gd name="connsiteX11" fmla="*/ 8955 w 10000"/>
                <a:gd name="connsiteY11" fmla="*/ 5875 h 10000"/>
                <a:gd name="connsiteX12" fmla="*/ 8792 w 10000"/>
                <a:gd name="connsiteY12" fmla="*/ 5816 h 10000"/>
                <a:gd name="connsiteX13" fmla="*/ 8636 w 10000"/>
                <a:gd name="connsiteY13" fmla="*/ 5752 h 10000"/>
                <a:gd name="connsiteX14" fmla="*/ 8480 w 10000"/>
                <a:gd name="connsiteY14" fmla="*/ 5687 h 10000"/>
                <a:gd name="connsiteX15" fmla="*/ 8340 w 10000"/>
                <a:gd name="connsiteY15" fmla="*/ 5619 h 10000"/>
                <a:gd name="connsiteX16" fmla="*/ 8199 w 10000"/>
                <a:gd name="connsiteY16" fmla="*/ 5545 h 10000"/>
                <a:gd name="connsiteX17" fmla="*/ 8058 w 10000"/>
                <a:gd name="connsiteY17" fmla="*/ 5467 h 10000"/>
                <a:gd name="connsiteX18" fmla="*/ 7924 w 10000"/>
                <a:gd name="connsiteY18" fmla="*/ 5385 h 10000"/>
                <a:gd name="connsiteX19" fmla="*/ 7798 w 10000"/>
                <a:gd name="connsiteY19" fmla="*/ 5302 h 10000"/>
                <a:gd name="connsiteX20" fmla="*/ 7672 w 10000"/>
                <a:gd name="connsiteY20" fmla="*/ 5215 h 10000"/>
                <a:gd name="connsiteX21" fmla="*/ 7554 w 10000"/>
                <a:gd name="connsiteY21" fmla="*/ 5128 h 10000"/>
                <a:gd name="connsiteX22" fmla="*/ 7450 w 10000"/>
                <a:gd name="connsiteY22" fmla="*/ 5032 h 10000"/>
                <a:gd name="connsiteX23" fmla="*/ 7346 w 10000"/>
                <a:gd name="connsiteY23" fmla="*/ 4936 h 10000"/>
                <a:gd name="connsiteX24" fmla="*/ 7250 w 10000"/>
                <a:gd name="connsiteY24" fmla="*/ 4840 h 10000"/>
                <a:gd name="connsiteX25" fmla="*/ 7161 w 10000"/>
                <a:gd name="connsiteY25" fmla="*/ 4739 h 10000"/>
                <a:gd name="connsiteX26" fmla="*/ 7072 w 10000"/>
                <a:gd name="connsiteY26" fmla="*/ 4638 h 10000"/>
                <a:gd name="connsiteX27" fmla="*/ 6990 w 10000"/>
                <a:gd name="connsiteY27" fmla="*/ 4528 h 10000"/>
                <a:gd name="connsiteX28" fmla="*/ 6953 w 10000"/>
                <a:gd name="connsiteY28" fmla="*/ 4478 h 10000"/>
                <a:gd name="connsiteX29" fmla="*/ 6916 w 10000"/>
                <a:gd name="connsiteY29" fmla="*/ 4423 h 10000"/>
                <a:gd name="connsiteX30" fmla="*/ 6887 w 10000"/>
                <a:gd name="connsiteY30" fmla="*/ 4368 h 10000"/>
                <a:gd name="connsiteX31" fmla="*/ 6850 w 10000"/>
                <a:gd name="connsiteY31" fmla="*/ 4313 h 10000"/>
                <a:gd name="connsiteX32" fmla="*/ 6820 w 10000"/>
                <a:gd name="connsiteY32" fmla="*/ 4258 h 10000"/>
                <a:gd name="connsiteX33" fmla="*/ 6790 w 10000"/>
                <a:gd name="connsiteY33" fmla="*/ 4203 h 10000"/>
                <a:gd name="connsiteX34" fmla="*/ 6768 w 10000"/>
                <a:gd name="connsiteY34" fmla="*/ 4143 h 10000"/>
                <a:gd name="connsiteX35" fmla="*/ 6738 w 10000"/>
                <a:gd name="connsiteY35" fmla="*/ 4088 h 10000"/>
                <a:gd name="connsiteX36" fmla="*/ 6723 w 10000"/>
                <a:gd name="connsiteY36" fmla="*/ 4028 h 10000"/>
                <a:gd name="connsiteX37" fmla="*/ 6694 w 10000"/>
                <a:gd name="connsiteY37" fmla="*/ 3973 h 10000"/>
                <a:gd name="connsiteX38" fmla="*/ 6679 w 10000"/>
                <a:gd name="connsiteY38" fmla="*/ 3914 h 10000"/>
                <a:gd name="connsiteX39" fmla="*/ 6664 w 10000"/>
                <a:gd name="connsiteY39" fmla="*/ 3854 h 10000"/>
                <a:gd name="connsiteX40" fmla="*/ 6649 w 10000"/>
                <a:gd name="connsiteY40" fmla="*/ 3795 h 10000"/>
                <a:gd name="connsiteX41" fmla="*/ 6635 w 10000"/>
                <a:gd name="connsiteY41" fmla="*/ 3740 h 10000"/>
                <a:gd name="connsiteX42" fmla="*/ 6620 w 10000"/>
                <a:gd name="connsiteY42" fmla="*/ 3680 h 10000"/>
                <a:gd name="connsiteX43" fmla="*/ 6612 w 10000"/>
                <a:gd name="connsiteY43" fmla="*/ 3621 h 10000"/>
                <a:gd name="connsiteX44" fmla="*/ 6605 w 10000"/>
                <a:gd name="connsiteY44" fmla="*/ 3561 h 10000"/>
                <a:gd name="connsiteX45" fmla="*/ 6597 w 10000"/>
                <a:gd name="connsiteY45" fmla="*/ 3497 h 10000"/>
                <a:gd name="connsiteX46" fmla="*/ 6597 w 10000"/>
                <a:gd name="connsiteY46" fmla="*/ 3437 h 10000"/>
                <a:gd name="connsiteX47" fmla="*/ 6590 w 10000"/>
                <a:gd name="connsiteY47" fmla="*/ 3373 h 10000"/>
                <a:gd name="connsiteX48" fmla="*/ 6597 w 10000"/>
                <a:gd name="connsiteY48" fmla="*/ 3313 h 10000"/>
                <a:gd name="connsiteX49" fmla="*/ 6605 w 10000"/>
                <a:gd name="connsiteY49" fmla="*/ 3245 h 10000"/>
                <a:gd name="connsiteX50" fmla="*/ 6605 w 10000"/>
                <a:gd name="connsiteY50" fmla="*/ 3181 h 10000"/>
                <a:gd name="connsiteX51" fmla="*/ 6612 w 10000"/>
                <a:gd name="connsiteY51" fmla="*/ 3116 h 10000"/>
                <a:gd name="connsiteX52" fmla="*/ 6620 w 10000"/>
                <a:gd name="connsiteY52" fmla="*/ 3052 h 10000"/>
                <a:gd name="connsiteX53" fmla="*/ 6635 w 10000"/>
                <a:gd name="connsiteY53" fmla="*/ 2993 h 10000"/>
                <a:gd name="connsiteX54" fmla="*/ 6649 w 10000"/>
                <a:gd name="connsiteY54" fmla="*/ 2929 h 10000"/>
                <a:gd name="connsiteX55" fmla="*/ 6664 w 10000"/>
                <a:gd name="connsiteY55" fmla="*/ 2869 h 10000"/>
                <a:gd name="connsiteX56" fmla="*/ 6686 w 10000"/>
                <a:gd name="connsiteY56" fmla="*/ 2805 h 10000"/>
                <a:gd name="connsiteX57" fmla="*/ 6709 w 10000"/>
                <a:gd name="connsiteY57" fmla="*/ 2745 h 10000"/>
                <a:gd name="connsiteX58" fmla="*/ 6731 w 10000"/>
                <a:gd name="connsiteY58" fmla="*/ 2686 h 10000"/>
                <a:gd name="connsiteX59" fmla="*/ 6753 w 10000"/>
                <a:gd name="connsiteY59" fmla="*/ 2621 h 10000"/>
                <a:gd name="connsiteX60" fmla="*/ 6783 w 10000"/>
                <a:gd name="connsiteY60" fmla="*/ 2566 h 10000"/>
                <a:gd name="connsiteX61" fmla="*/ 6812 w 10000"/>
                <a:gd name="connsiteY61" fmla="*/ 2507 h 10000"/>
                <a:gd name="connsiteX62" fmla="*/ 6842 w 10000"/>
                <a:gd name="connsiteY62" fmla="*/ 2447 h 10000"/>
                <a:gd name="connsiteX63" fmla="*/ 6879 w 10000"/>
                <a:gd name="connsiteY63" fmla="*/ 2388 h 10000"/>
                <a:gd name="connsiteX64" fmla="*/ 6909 w 10000"/>
                <a:gd name="connsiteY64" fmla="*/ 2333 h 10000"/>
                <a:gd name="connsiteX65" fmla="*/ 6946 w 10000"/>
                <a:gd name="connsiteY65" fmla="*/ 2273 h 10000"/>
                <a:gd name="connsiteX66" fmla="*/ 6990 w 10000"/>
                <a:gd name="connsiteY66" fmla="*/ 2218 h 10000"/>
                <a:gd name="connsiteX67" fmla="*/ 7027 w 10000"/>
                <a:gd name="connsiteY67" fmla="*/ 2163 h 10000"/>
                <a:gd name="connsiteX68" fmla="*/ 7072 w 10000"/>
                <a:gd name="connsiteY68" fmla="*/ 2108 h 10000"/>
                <a:gd name="connsiteX69" fmla="*/ 7109 w 10000"/>
                <a:gd name="connsiteY69" fmla="*/ 2053 h 10000"/>
                <a:gd name="connsiteX70" fmla="*/ 7161 w 10000"/>
                <a:gd name="connsiteY70" fmla="*/ 2003 h 10000"/>
                <a:gd name="connsiteX71" fmla="*/ 7213 w 10000"/>
                <a:gd name="connsiteY71" fmla="*/ 1948 h 10000"/>
                <a:gd name="connsiteX72" fmla="*/ 7257 w 10000"/>
                <a:gd name="connsiteY72" fmla="*/ 1893 h 10000"/>
                <a:gd name="connsiteX73" fmla="*/ 7309 w 10000"/>
                <a:gd name="connsiteY73" fmla="*/ 1842 h 10000"/>
                <a:gd name="connsiteX74" fmla="*/ 7361 w 10000"/>
                <a:gd name="connsiteY74" fmla="*/ 1792 h 10000"/>
                <a:gd name="connsiteX75" fmla="*/ 7413 w 10000"/>
                <a:gd name="connsiteY75" fmla="*/ 1742 h 10000"/>
                <a:gd name="connsiteX76" fmla="*/ 7472 w 10000"/>
                <a:gd name="connsiteY76" fmla="*/ 1691 h 10000"/>
                <a:gd name="connsiteX77" fmla="*/ 7524 w 10000"/>
                <a:gd name="connsiteY77" fmla="*/ 1645 h 10000"/>
                <a:gd name="connsiteX78" fmla="*/ 7583 w 10000"/>
                <a:gd name="connsiteY78" fmla="*/ 1599 h 10000"/>
                <a:gd name="connsiteX79" fmla="*/ 7643 w 10000"/>
                <a:gd name="connsiteY79" fmla="*/ 1549 h 10000"/>
                <a:gd name="connsiteX80" fmla="*/ 5456 w 10000"/>
                <a:gd name="connsiteY80" fmla="*/ 0 h 10000"/>
                <a:gd name="connsiteX81" fmla="*/ 1401 w 10000"/>
                <a:gd name="connsiteY81" fmla="*/ 0 h 10000"/>
                <a:gd name="connsiteX82" fmla="*/ 1305 w 10000"/>
                <a:gd name="connsiteY82" fmla="*/ 128 h 10000"/>
                <a:gd name="connsiteX83" fmla="*/ 1223 w 10000"/>
                <a:gd name="connsiteY83" fmla="*/ 220 h 10000"/>
                <a:gd name="connsiteX84" fmla="*/ 1149 w 10000"/>
                <a:gd name="connsiteY84" fmla="*/ 316 h 10000"/>
                <a:gd name="connsiteX85" fmla="*/ 1067 w 10000"/>
                <a:gd name="connsiteY85" fmla="*/ 412 h 10000"/>
                <a:gd name="connsiteX86" fmla="*/ 1001 w 10000"/>
                <a:gd name="connsiteY86" fmla="*/ 509 h 10000"/>
                <a:gd name="connsiteX87" fmla="*/ 927 w 10000"/>
                <a:gd name="connsiteY87" fmla="*/ 605 h 10000"/>
                <a:gd name="connsiteX88" fmla="*/ 860 w 10000"/>
                <a:gd name="connsiteY88" fmla="*/ 706 h 10000"/>
                <a:gd name="connsiteX89" fmla="*/ 793 w 10000"/>
                <a:gd name="connsiteY89" fmla="*/ 807 h 10000"/>
                <a:gd name="connsiteX90" fmla="*/ 734 w 10000"/>
                <a:gd name="connsiteY90" fmla="*/ 903 h 10000"/>
                <a:gd name="connsiteX91" fmla="*/ 675 w 10000"/>
                <a:gd name="connsiteY91" fmla="*/ 1004 h 10000"/>
                <a:gd name="connsiteX92" fmla="*/ 615 w 10000"/>
                <a:gd name="connsiteY92" fmla="*/ 1104 h 10000"/>
                <a:gd name="connsiteX93" fmla="*/ 556 w 10000"/>
                <a:gd name="connsiteY93" fmla="*/ 1210 h 10000"/>
                <a:gd name="connsiteX94" fmla="*/ 504 w 10000"/>
                <a:gd name="connsiteY94" fmla="*/ 1306 h 10000"/>
                <a:gd name="connsiteX95" fmla="*/ 452 w 10000"/>
                <a:gd name="connsiteY95" fmla="*/ 1412 h 10000"/>
                <a:gd name="connsiteX96" fmla="*/ 408 w 10000"/>
                <a:gd name="connsiteY96" fmla="*/ 1512 h 10000"/>
                <a:gd name="connsiteX97" fmla="*/ 363 w 10000"/>
                <a:gd name="connsiteY97" fmla="*/ 1618 h 10000"/>
                <a:gd name="connsiteX98" fmla="*/ 319 w 10000"/>
                <a:gd name="connsiteY98" fmla="*/ 1723 h 10000"/>
                <a:gd name="connsiteX99" fmla="*/ 282 w 10000"/>
                <a:gd name="connsiteY99" fmla="*/ 1829 h 10000"/>
                <a:gd name="connsiteX100" fmla="*/ 237 w 10000"/>
                <a:gd name="connsiteY100" fmla="*/ 1939 h 10000"/>
                <a:gd name="connsiteX101" fmla="*/ 208 w 10000"/>
                <a:gd name="connsiteY101" fmla="*/ 2044 h 10000"/>
                <a:gd name="connsiteX102" fmla="*/ 170 w 10000"/>
                <a:gd name="connsiteY102" fmla="*/ 2154 h 10000"/>
                <a:gd name="connsiteX103" fmla="*/ 148 w 10000"/>
                <a:gd name="connsiteY103" fmla="*/ 2264 h 10000"/>
                <a:gd name="connsiteX104" fmla="*/ 119 w 10000"/>
                <a:gd name="connsiteY104" fmla="*/ 2369 h 10000"/>
                <a:gd name="connsiteX105" fmla="*/ 96 w 10000"/>
                <a:gd name="connsiteY105" fmla="*/ 2479 h 10000"/>
                <a:gd name="connsiteX106" fmla="*/ 74 w 10000"/>
                <a:gd name="connsiteY106" fmla="*/ 2589 h 10000"/>
                <a:gd name="connsiteX107" fmla="*/ 52 w 10000"/>
                <a:gd name="connsiteY107" fmla="*/ 2704 h 10000"/>
                <a:gd name="connsiteX108" fmla="*/ 37 w 10000"/>
                <a:gd name="connsiteY108" fmla="*/ 2814 h 10000"/>
                <a:gd name="connsiteX109" fmla="*/ 22 w 10000"/>
                <a:gd name="connsiteY109" fmla="*/ 2924 h 10000"/>
                <a:gd name="connsiteX110" fmla="*/ 15 w 10000"/>
                <a:gd name="connsiteY110" fmla="*/ 3034 h 10000"/>
                <a:gd name="connsiteX111" fmla="*/ 7 w 10000"/>
                <a:gd name="connsiteY111" fmla="*/ 3148 h 10000"/>
                <a:gd name="connsiteX112" fmla="*/ 0 w 10000"/>
                <a:gd name="connsiteY112" fmla="*/ 3258 h 10000"/>
                <a:gd name="connsiteX113" fmla="*/ 0 w 10000"/>
                <a:gd name="connsiteY113" fmla="*/ 3373 h 10000"/>
                <a:gd name="connsiteX114" fmla="*/ 7 w 10000"/>
                <a:gd name="connsiteY114" fmla="*/ 3520 h 10000"/>
                <a:gd name="connsiteX115" fmla="*/ 7 w 10000"/>
                <a:gd name="connsiteY115" fmla="*/ 3666 h 10000"/>
                <a:gd name="connsiteX116" fmla="*/ 22 w 10000"/>
                <a:gd name="connsiteY116" fmla="*/ 3804 h 10000"/>
                <a:gd name="connsiteX117" fmla="*/ 37 w 10000"/>
                <a:gd name="connsiteY117" fmla="*/ 3946 h 10000"/>
                <a:gd name="connsiteX118" fmla="*/ 59 w 10000"/>
                <a:gd name="connsiteY118" fmla="*/ 4088 h 10000"/>
                <a:gd name="connsiteX119" fmla="*/ 89 w 10000"/>
                <a:gd name="connsiteY119" fmla="*/ 4230 h 10000"/>
                <a:gd name="connsiteX120" fmla="*/ 119 w 10000"/>
                <a:gd name="connsiteY120" fmla="*/ 4372 h 10000"/>
                <a:gd name="connsiteX121" fmla="*/ 148 w 10000"/>
                <a:gd name="connsiteY121" fmla="*/ 4514 h 10000"/>
                <a:gd name="connsiteX122" fmla="*/ 193 w 10000"/>
                <a:gd name="connsiteY122" fmla="*/ 4652 h 10000"/>
                <a:gd name="connsiteX123" fmla="*/ 237 w 10000"/>
                <a:gd name="connsiteY123" fmla="*/ 4789 h 10000"/>
                <a:gd name="connsiteX124" fmla="*/ 282 w 10000"/>
                <a:gd name="connsiteY124" fmla="*/ 4927 h 10000"/>
                <a:gd name="connsiteX125" fmla="*/ 334 w 10000"/>
                <a:gd name="connsiteY125" fmla="*/ 5064 h 10000"/>
                <a:gd name="connsiteX126" fmla="*/ 393 w 10000"/>
                <a:gd name="connsiteY126" fmla="*/ 5197 h 10000"/>
                <a:gd name="connsiteX127" fmla="*/ 452 w 10000"/>
                <a:gd name="connsiteY127" fmla="*/ 5330 h 10000"/>
                <a:gd name="connsiteX128" fmla="*/ 519 w 10000"/>
                <a:gd name="connsiteY128" fmla="*/ 5463 h 10000"/>
                <a:gd name="connsiteX129" fmla="*/ 586 w 10000"/>
                <a:gd name="connsiteY129" fmla="*/ 5596 h 10000"/>
                <a:gd name="connsiteX130" fmla="*/ 660 w 10000"/>
                <a:gd name="connsiteY130" fmla="*/ 5724 h 10000"/>
                <a:gd name="connsiteX131" fmla="*/ 741 w 10000"/>
                <a:gd name="connsiteY131" fmla="*/ 5852 h 10000"/>
                <a:gd name="connsiteX132" fmla="*/ 823 w 10000"/>
                <a:gd name="connsiteY132" fmla="*/ 5985 h 10000"/>
                <a:gd name="connsiteX133" fmla="*/ 904 w 10000"/>
                <a:gd name="connsiteY133" fmla="*/ 6109 h 10000"/>
                <a:gd name="connsiteX134" fmla="*/ 993 w 10000"/>
                <a:gd name="connsiteY134" fmla="*/ 6233 h 10000"/>
                <a:gd name="connsiteX135" fmla="*/ 1090 w 10000"/>
                <a:gd name="connsiteY135" fmla="*/ 6352 h 10000"/>
                <a:gd name="connsiteX136" fmla="*/ 1186 w 10000"/>
                <a:gd name="connsiteY136" fmla="*/ 6476 h 10000"/>
                <a:gd name="connsiteX137" fmla="*/ 1290 w 10000"/>
                <a:gd name="connsiteY137" fmla="*/ 6599 h 10000"/>
                <a:gd name="connsiteX138" fmla="*/ 1386 w 10000"/>
                <a:gd name="connsiteY138" fmla="*/ 6719 h 10000"/>
                <a:gd name="connsiteX139" fmla="*/ 1497 w 10000"/>
                <a:gd name="connsiteY139" fmla="*/ 6838 h 10000"/>
                <a:gd name="connsiteX140" fmla="*/ 1609 w 10000"/>
                <a:gd name="connsiteY140" fmla="*/ 6952 h 10000"/>
                <a:gd name="connsiteX141" fmla="*/ 1727 w 10000"/>
                <a:gd name="connsiteY141" fmla="*/ 7071 h 10000"/>
                <a:gd name="connsiteX142" fmla="*/ 1846 w 10000"/>
                <a:gd name="connsiteY142" fmla="*/ 7186 h 10000"/>
                <a:gd name="connsiteX143" fmla="*/ 1964 w 10000"/>
                <a:gd name="connsiteY143" fmla="*/ 7296 h 10000"/>
                <a:gd name="connsiteX144" fmla="*/ 2090 w 10000"/>
                <a:gd name="connsiteY144" fmla="*/ 7406 h 10000"/>
                <a:gd name="connsiteX145" fmla="*/ 2224 w 10000"/>
                <a:gd name="connsiteY145" fmla="*/ 7516 h 10000"/>
                <a:gd name="connsiteX146" fmla="*/ 2350 w 10000"/>
                <a:gd name="connsiteY146" fmla="*/ 7626 h 10000"/>
                <a:gd name="connsiteX147" fmla="*/ 2491 w 10000"/>
                <a:gd name="connsiteY147" fmla="*/ 7731 h 10000"/>
                <a:gd name="connsiteX148" fmla="*/ 2617 w 10000"/>
                <a:gd name="connsiteY148" fmla="*/ 7837 h 10000"/>
                <a:gd name="connsiteX149" fmla="*/ 2765 w 10000"/>
                <a:gd name="connsiteY149" fmla="*/ 7938 h 10000"/>
                <a:gd name="connsiteX150" fmla="*/ 2906 w 10000"/>
                <a:gd name="connsiteY150" fmla="*/ 8038 h 10000"/>
                <a:gd name="connsiteX151" fmla="*/ 3054 w 10000"/>
                <a:gd name="connsiteY151" fmla="*/ 8139 h 10000"/>
                <a:gd name="connsiteX152" fmla="*/ 3210 w 10000"/>
                <a:gd name="connsiteY152" fmla="*/ 8236 h 10000"/>
                <a:gd name="connsiteX153" fmla="*/ 3358 w 10000"/>
                <a:gd name="connsiteY153" fmla="*/ 8332 h 10000"/>
                <a:gd name="connsiteX154" fmla="*/ 3514 w 10000"/>
                <a:gd name="connsiteY154" fmla="*/ 8428 h 10000"/>
                <a:gd name="connsiteX155" fmla="*/ 3677 w 10000"/>
                <a:gd name="connsiteY155" fmla="*/ 8520 h 10000"/>
                <a:gd name="connsiteX156" fmla="*/ 3840 w 10000"/>
                <a:gd name="connsiteY156" fmla="*/ 8607 h 10000"/>
                <a:gd name="connsiteX157" fmla="*/ 4010 w 10000"/>
                <a:gd name="connsiteY157" fmla="*/ 8698 h 10000"/>
                <a:gd name="connsiteX158" fmla="*/ 4181 w 10000"/>
                <a:gd name="connsiteY158" fmla="*/ 8776 h 10000"/>
                <a:gd name="connsiteX159" fmla="*/ 4351 w 10000"/>
                <a:gd name="connsiteY159" fmla="*/ 8863 h 10000"/>
                <a:gd name="connsiteX160" fmla="*/ 4522 w 10000"/>
                <a:gd name="connsiteY160" fmla="*/ 8941 h 10000"/>
                <a:gd name="connsiteX161" fmla="*/ 4700 w 10000"/>
                <a:gd name="connsiteY161" fmla="*/ 9024 h 10000"/>
                <a:gd name="connsiteX162" fmla="*/ 4878 w 10000"/>
                <a:gd name="connsiteY162" fmla="*/ 9102 h 10000"/>
                <a:gd name="connsiteX163" fmla="*/ 5063 w 10000"/>
                <a:gd name="connsiteY163" fmla="*/ 9175 h 10000"/>
                <a:gd name="connsiteX164" fmla="*/ 5248 w 10000"/>
                <a:gd name="connsiteY164" fmla="*/ 9253 h 10000"/>
                <a:gd name="connsiteX165" fmla="*/ 5426 w 10000"/>
                <a:gd name="connsiteY165" fmla="*/ 9322 h 10000"/>
                <a:gd name="connsiteX166" fmla="*/ 5619 w 10000"/>
                <a:gd name="connsiteY166" fmla="*/ 9390 h 10000"/>
                <a:gd name="connsiteX167" fmla="*/ 5812 w 10000"/>
                <a:gd name="connsiteY167" fmla="*/ 9459 h 10000"/>
                <a:gd name="connsiteX168" fmla="*/ 6004 w 10000"/>
                <a:gd name="connsiteY168" fmla="*/ 9523 h 10000"/>
                <a:gd name="connsiteX169" fmla="*/ 6205 w 10000"/>
                <a:gd name="connsiteY169" fmla="*/ 9588 h 10000"/>
                <a:gd name="connsiteX170" fmla="*/ 6397 w 10000"/>
                <a:gd name="connsiteY170" fmla="*/ 9647 h 10000"/>
                <a:gd name="connsiteX171" fmla="*/ 6605 w 10000"/>
                <a:gd name="connsiteY171" fmla="*/ 9702 h 10000"/>
                <a:gd name="connsiteX172" fmla="*/ 6805 w 10000"/>
                <a:gd name="connsiteY172" fmla="*/ 9757 h 10000"/>
                <a:gd name="connsiteX173" fmla="*/ 7005 w 10000"/>
                <a:gd name="connsiteY173" fmla="*/ 9812 h 10000"/>
                <a:gd name="connsiteX174" fmla="*/ 7213 w 10000"/>
                <a:gd name="connsiteY174" fmla="*/ 9863 h 10000"/>
                <a:gd name="connsiteX175" fmla="*/ 7420 w 10000"/>
                <a:gd name="connsiteY175" fmla="*/ 9908 h 10000"/>
                <a:gd name="connsiteX176" fmla="*/ 7628 w 10000"/>
                <a:gd name="connsiteY176" fmla="*/ 9954 h 10000"/>
                <a:gd name="connsiteX177" fmla="*/ 7835 w 10000"/>
                <a:gd name="connsiteY177" fmla="*/ 10000 h 10000"/>
                <a:gd name="connsiteX178" fmla="*/ 7539 w 10000"/>
                <a:gd name="connsiteY178" fmla="*/ 7754 h 10000"/>
                <a:gd name="connsiteX179" fmla="*/ 10000 w 10000"/>
                <a:gd name="connsiteY179" fmla="*/ 6141 h 10000"/>
                <a:gd name="connsiteX0" fmla="*/ 10000 w 10000"/>
                <a:gd name="connsiteY0" fmla="*/ 6141 h 10000"/>
                <a:gd name="connsiteX1" fmla="*/ 10000 w 10000"/>
                <a:gd name="connsiteY1" fmla="*/ 6141 h 10000"/>
                <a:gd name="connsiteX2" fmla="*/ 9911 w 10000"/>
                <a:gd name="connsiteY2" fmla="*/ 6127 h 10000"/>
                <a:gd name="connsiteX3" fmla="*/ 9815 w 10000"/>
                <a:gd name="connsiteY3" fmla="*/ 6109 h 10000"/>
                <a:gd name="connsiteX4" fmla="*/ 9726 w 10000"/>
                <a:gd name="connsiteY4" fmla="*/ 6091 h 10000"/>
                <a:gd name="connsiteX5" fmla="*/ 9637 w 10000"/>
                <a:gd name="connsiteY5" fmla="*/ 6068 h 10000"/>
                <a:gd name="connsiteX6" fmla="*/ 9548 w 10000"/>
                <a:gd name="connsiteY6" fmla="*/ 6049 h 10000"/>
                <a:gd name="connsiteX7" fmla="*/ 9466 w 10000"/>
                <a:gd name="connsiteY7" fmla="*/ 6027 h 10000"/>
                <a:gd name="connsiteX8" fmla="*/ 9377 w 10000"/>
                <a:gd name="connsiteY8" fmla="*/ 6004 h 10000"/>
                <a:gd name="connsiteX9" fmla="*/ 9288 w 10000"/>
                <a:gd name="connsiteY9" fmla="*/ 5981 h 10000"/>
                <a:gd name="connsiteX10" fmla="*/ 9118 w 10000"/>
                <a:gd name="connsiteY10" fmla="*/ 5930 h 10000"/>
                <a:gd name="connsiteX11" fmla="*/ 8955 w 10000"/>
                <a:gd name="connsiteY11" fmla="*/ 5875 h 10000"/>
                <a:gd name="connsiteX12" fmla="*/ 8792 w 10000"/>
                <a:gd name="connsiteY12" fmla="*/ 5816 h 10000"/>
                <a:gd name="connsiteX13" fmla="*/ 8636 w 10000"/>
                <a:gd name="connsiteY13" fmla="*/ 5752 h 10000"/>
                <a:gd name="connsiteX14" fmla="*/ 8480 w 10000"/>
                <a:gd name="connsiteY14" fmla="*/ 5687 h 10000"/>
                <a:gd name="connsiteX15" fmla="*/ 8340 w 10000"/>
                <a:gd name="connsiteY15" fmla="*/ 5619 h 10000"/>
                <a:gd name="connsiteX16" fmla="*/ 8199 w 10000"/>
                <a:gd name="connsiteY16" fmla="*/ 5545 h 10000"/>
                <a:gd name="connsiteX17" fmla="*/ 8058 w 10000"/>
                <a:gd name="connsiteY17" fmla="*/ 5467 h 10000"/>
                <a:gd name="connsiteX18" fmla="*/ 7924 w 10000"/>
                <a:gd name="connsiteY18" fmla="*/ 5385 h 10000"/>
                <a:gd name="connsiteX19" fmla="*/ 7798 w 10000"/>
                <a:gd name="connsiteY19" fmla="*/ 5302 h 10000"/>
                <a:gd name="connsiteX20" fmla="*/ 7672 w 10000"/>
                <a:gd name="connsiteY20" fmla="*/ 5215 h 10000"/>
                <a:gd name="connsiteX21" fmla="*/ 7554 w 10000"/>
                <a:gd name="connsiteY21" fmla="*/ 5128 h 10000"/>
                <a:gd name="connsiteX22" fmla="*/ 7450 w 10000"/>
                <a:gd name="connsiteY22" fmla="*/ 5032 h 10000"/>
                <a:gd name="connsiteX23" fmla="*/ 7346 w 10000"/>
                <a:gd name="connsiteY23" fmla="*/ 4936 h 10000"/>
                <a:gd name="connsiteX24" fmla="*/ 7250 w 10000"/>
                <a:gd name="connsiteY24" fmla="*/ 4840 h 10000"/>
                <a:gd name="connsiteX25" fmla="*/ 7161 w 10000"/>
                <a:gd name="connsiteY25" fmla="*/ 4739 h 10000"/>
                <a:gd name="connsiteX26" fmla="*/ 7072 w 10000"/>
                <a:gd name="connsiteY26" fmla="*/ 4638 h 10000"/>
                <a:gd name="connsiteX27" fmla="*/ 6990 w 10000"/>
                <a:gd name="connsiteY27" fmla="*/ 4528 h 10000"/>
                <a:gd name="connsiteX28" fmla="*/ 6953 w 10000"/>
                <a:gd name="connsiteY28" fmla="*/ 4478 h 10000"/>
                <a:gd name="connsiteX29" fmla="*/ 6916 w 10000"/>
                <a:gd name="connsiteY29" fmla="*/ 4423 h 10000"/>
                <a:gd name="connsiteX30" fmla="*/ 6887 w 10000"/>
                <a:gd name="connsiteY30" fmla="*/ 4368 h 10000"/>
                <a:gd name="connsiteX31" fmla="*/ 6850 w 10000"/>
                <a:gd name="connsiteY31" fmla="*/ 4313 h 10000"/>
                <a:gd name="connsiteX32" fmla="*/ 6820 w 10000"/>
                <a:gd name="connsiteY32" fmla="*/ 4258 h 10000"/>
                <a:gd name="connsiteX33" fmla="*/ 6790 w 10000"/>
                <a:gd name="connsiteY33" fmla="*/ 4203 h 10000"/>
                <a:gd name="connsiteX34" fmla="*/ 6768 w 10000"/>
                <a:gd name="connsiteY34" fmla="*/ 4143 h 10000"/>
                <a:gd name="connsiteX35" fmla="*/ 6738 w 10000"/>
                <a:gd name="connsiteY35" fmla="*/ 4088 h 10000"/>
                <a:gd name="connsiteX36" fmla="*/ 6723 w 10000"/>
                <a:gd name="connsiteY36" fmla="*/ 4028 h 10000"/>
                <a:gd name="connsiteX37" fmla="*/ 6694 w 10000"/>
                <a:gd name="connsiteY37" fmla="*/ 3973 h 10000"/>
                <a:gd name="connsiteX38" fmla="*/ 6679 w 10000"/>
                <a:gd name="connsiteY38" fmla="*/ 3914 h 10000"/>
                <a:gd name="connsiteX39" fmla="*/ 6664 w 10000"/>
                <a:gd name="connsiteY39" fmla="*/ 3854 h 10000"/>
                <a:gd name="connsiteX40" fmla="*/ 6649 w 10000"/>
                <a:gd name="connsiteY40" fmla="*/ 3795 h 10000"/>
                <a:gd name="connsiteX41" fmla="*/ 6635 w 10000"/>
                <a:gd name="connsiteY41" fmla="*/ 3740 h 10000"/>
                <a:gd name="connsiteX42" fmla="*/ 6620 w 10000"/>
                <a:gd name="connsiteY42" fmla="*/ 3680 h 10000"/>
                <a:gd name="connsiteX43" fmla="*/ 6612 w 10000"/>
                <a:gd name="connsiteY43" fmla="*/ 3621 h 10000"/>
                <a:gd name="connsiteX44" fmla="*/ 6605 w 10000"/>
                <a:gd name="connsiteY44" fmla="*/ 3561 h 10000"/>
                <a:gd name="connsiteX45" fmla="*/ 6597 w 10000"/>
                <a:gd name="connsiteY45" fmla="*/ 3497 h 10000"/>
                <a:gd name="connsiteX46" fmla="*/ 6597 w 10000"/>
                <a:gd name="connsiteY46" fmla="*/ 3437 h 10000"/>
                <a:gd name="connsiteX47" fmla="*/ 6590 w 10000"/>
                <a:gd name="connsiteY47" fmla="*/ 3373 h 10000"/>
                <a:gd name="connsiteX48" fmla="*/ 6597 w 10000"/>
                <a:gd name="connsiteY48" fmla="*/ 3313 h 10000"/>
                <a:gd name="connsiteX49" fmla="*/ 6605 w 10000"/>
                <a:gd name="connsiteY49" fmla="*/ 3245 h 10000"/>
                <a:gd name="connsiteX50" fmla="*/ 6605 w 10000"/>
                <a:gd name="connsiteY50" fmla="*/ 3181 h 10000"/>
                <a:gd name="connsiteX51" fmla="*/ 6612 w 10000"/>
                <a:gd name="connsiteY51" fmla="*/ 3116 h 10000"/>
                <a:gd name="connsiteX52" fmla="*/ 6620 w 10000"/>
                <a:gd name="connsiteY52" fmla="*/ 3052 h 10000"/>
                <a:gd name="connsiteX53" fmla="*/ 6635 w 10000"/>
                <a:gd name="connsiteY53" fmla="*/ 2993 h 10000"/>
                <a:gd name="connsiteX54" fmla="*/ 6649 w 10000"/>
                <a:gd name="connsiteY54" fmla="*/ 2929 h 10000"/>
                <a:gd name="connsiteX55" fmla="*/ 6664 w 10000"/>
                <a:gd name="connsiteY55" fmla="*/ 2869 h 10000"/>
                <a:gd name="connsiteX56" fmla="*/ 6686 w 10000"/>
                <a:gd name="connsiteY56" fmla="*/ 2805 h 10000"/>
                <a:gd name="connsiteX57" fmla="*/ 6709 w 10000"/>
                <a:gd name="connsiteY57" fmla="*/ 2745 h 10000"/>
                <a:gd name="connsiteX58" fmla="*/ 6731 w 10000"/>
                <a:gd name="connsiteY58" fmla="*/ 2686 h 10000"/>
                <a:gd name="connsiteX59" fmla="*/ 6753 w 10000"/>
                <a:gd name="connsiteY59" fmla="*/ 2621 h 10000"/>
                <a:gd name="connsiteX60" fmla="*/ 6783 w 10000"/>
                <a:gd name="connsiteY60" fmla="*/ 2566 h 10000"/>
                <a:gd name="connsiteX61" fmla="*/ 6812 w 10000"/>
                <a:gd name="connsiteY61" fmla="*/ 2507 h 10000"/>
                <a:gd name="connsiteX62" fmla="*/ 6842 w 10000"/>
                <a:gd name="connsiteY62" fmla="*/ 2447 h 10000"/>
                <a:gd name="connsiteX63" fmla="*/ 6879 w 10000"/>
                <a:gd name="connsiteY63" fmla="*/ 2388 h 10000"/>
                <a:gd name="connsiteX64" fmla="*/ 6909 w 10000"/>
                <a:gd name="connsiteY64" fmla="*/ 2333 h 10000"/>
                <a:gd name="connsiteX65" fmla="*/ 6946 w 10000"/>
                <a:gd name="connsiteY65" fmla="*/ 2273 h 10000"/>
                <a:gd name="connsiteX66" fmla="*/ 6990 w 10000"/>
                <a:gd name="connsiteY66" fmla="*/ 2218 h 10000"/>
                <a:gd name="connsiteX67" fmla="*/ 7027 w 10000"/>
                <a:gd name="connsiteY67" fmla="*/ 2163 h 10000"/>
                <a:gd name="connsiteX68" fmla="*/ 7072 w 10000"/>
                <a:gd name="connsiteY68" fmla="*/ 2108 h 10000"/>
                <a:gd name="connsiteX69" fmla="*/ 7109 w 10000"/>
                <a:gd name="connsiteY69" fmla="*/ 2053 h 10000"/>
                <a:gd name="connsiteX70" fmla="*/ 7161 w 10000"/>
                <a:gd name="connsiteY70" fmla="*/ 2003 h 10000"/>
                <a:gd name="connsiteX71" fmla="*/ 7213 w 10000"/>
                <a:gd name="connsiteY71" fmla="*/ 1948 h 10000"/>
                <a:gd name="connsiteX72" fmla="*/ 7257 w 10000"/>
                <a:gd name="connsiteY72" fmla="*/ 1893 h 10000"/>
                <a:gd name="connsiteX73" fmla="*/ 7309 w 10000"/>
                <a:gd name="connsiteY73" fmla="*/ 1842 h 10000"/>
                <a:gd name="connsiteX74" fmla="*/ 7361 w 10000"/>
                <a:gd name="connsiteY74" fmla="*/ 1792 h 10000"/>
                <a:gd name="connsiteX75" fmla="*/ 7413 w 10000"/>
                <a:gd name="connsiteY75" fmla="*/ 1742 h 10000"/>
                <a:gd name="connsiteX76" fmla="*/ 7472 w 10000"/>
                <a:gd name="connsiteY76" fmla="*/ 1691 h 10000"/>
                <a:gd name="connsiteX77" fmla="*/ 7524 w 10000"/>
                <a:gd name="connsiteY77" fmla="*/ 1645 h 10000"/>
                <a:gd name="connsiteX78" fmla="*/ 7583 w 10000"/>
                <a:gd name="connsiteY78" fmla="*/ 1599 h 10000"/>
                <a:gd name="connsiteX79" fmla="*/ 7643 w 10000"/>
                <a:gd name="connsiteY79" fmla="*/ 1549 h 10000"/>
                <a:gd name="connsiteX80" fmla="*/ 5434 w 10000"/>
                <a:gd name="connsiteY80" fmla="*/ 0 h 10000"/>
                <a:gd name="connsiteX81" fmla="*/ 1401 w 10000"/>
                <a:gd name="connsiteY81" fmla="*/ 0 h 10000"/>
                <a:gd name="connsiteX82" fmla="*/ 1305 w 10000"/>
                <a:gd name="connsiteY82" fmla="*/ 128 h 10000"/>
                <a:gd name="connsiteX83" fmla="*/ 1223 w 10000"/>
                <a:gd name="connsiteY83" fmla="*/ 220 h 10000"/>
                <a:gd name="connsiteX84" fmla="*/ 1149 w 10000"/>
                <a:gd name="connsiteY84" fmla="*/ 316 h 10000"/>
                <a:gd name="connsiteX85" fmla="*/ 1067 w 10000"/>
                <a:gd name="connsiteY85" fmla="*/ 412 h 10000"/>
                <a:gd name="connsiteX86" fmla="*/ 1001 w 10000"/>
                <a:gd name="connsiteY86" fmla="*/ 509 h 10000"/>
                <a:gd name="connsiteX87" fmla="*/ 927 w 10000"/>
                <a:gd name="connsiteY87" fmla="*/ 605 h 10000"/>
                <a:gd name="connsiteX88" fmla="*/ 860 w 10000"/>
                <a:gd name="connsiteY88" fmla="*/ 706 h 10000"/>
                <a:gd name="connsiteX89" fmla="*/ 793 w 10000"/>
                <a:gd name="connsiteY89" fmla="*/ 807 h 10000"/>
                <a:gd name="connsiteX90" fmla="*/ 734 w 10000"/>
                <a:gd name="connsiteY90" fmla="*/ 903 h 10000"/>
                <a:gd name="connsiteX91" fmla="*/ 675 w 10000"/>
                <a:gd name="connsiteY91" fmla="*/ 1004 h 10000"/>
                <a:gd name="connsiteX92" fmla="*/ 615 w 10000"/>
                <a:gd name="connsiteY92" fmla="*/ 1104 h 10000"/>
                <a:gd name="connsiteX93" fmla="*/ 556 w 10000"/>
                <a:gd name="connsiteY93" fmla="*/ 1210 h 10000"/>
                <a:gd name="connsiteX94" fmla="*/ 504 w 10000"/>
                <a:gd name="connsiteY94" fmla="*/ 1306 h 10000"/>
                <a:gd name="connsiteX95" fmla="*/ 452 w 10000"/>
                <a:gd name="connsiteY95" fmla="*/ 1412 h 10000"/>
                <a:gd name="connsiteX96" fmla="*/ 408 w 10000"/>
                <a:gd name="connsiteY96" fmla="*/ 1512 h 10000"/>
                <a:gd name="connsiteX97" fmla="*/ 363 w 10000"/>
                <a:gd name="connsiteY97" fmla="*/ 1618 h 10000"/>
                <a:gd name="connsiteX98" fmla="*/ 319 w 10000"/>
                <a:gd name="connsiteY98" fmla="*/ 1723 h 10000"/>
                <a:gd name="connsiteX99" fmla="*/ 282 w 10000"/>
                <a:gd name="connsiteY99" fmla="*/ 1829 h 10000"/>
                <a:gd name="connsiteX100" fmla="*/ 237 w 10000"/>
                <a:gd name="connsiteY100" fmla="*/ 1939 h 10000"/>
                <a:gd name="connsiteX101" fmla="*/ 208 w 10000"/>
                <a:gd name="connsiteY101" fmla="*/ 2044 h 10000"/>
                <a:gd name="connsiteX102" fmla="*/ 170 w 10000"/>
                <a:gd name="connsiteY102" fmla="*/ 2154 h 10000"/>
                <a:gd name="connsiteX103" fmla="*/ 148 w 10000"/>
                <a:gd name="connsiteY103" fmla="*/ 2264 h 10000"/>
                <a:gd name="connsiteX104" fmla="*/ 119 w 10000"/>
                <a:gd name="connsiteY104" fmla="*/ 2369 h 10000"/>
                <a:gd name="connsiteX105" fmla="*/ 96 w 10000"/>
                <a:gd name="connsiteY105" fmla="*/ 2479 h 10000"/>
                <a:gd name="connsiteX106" fmla="*/ 74 w 10000"/>
                <a:gd name="connsiteY106" fmla="*/ 2589 h 10000"/>
                <a:gd name="connsiteX107" fmla="*/ 52 w 10000"/>
                <a:gd name="connsiteY107" fmla="*/ 2704 h 10000"/>
                <a:gd name="connsiteX108" fmla="*/ 37 w 10000"/>
                <a:gd name="connsiteY108" fmla="*/ 2814 h 10000"/>
                <a:gd name="connsiteX109" fmla="*/ 22 w 10000"/>
                <a:gd name="connsiteY109" fmla="*/ 2924 h 10000"/>
                <a:gd name="connsiteX110" fmla="*/ 15 w 10000"/>
                <a:gd name="connsiteY110" fmla="*/ 3034 h 10000"/>
                <a:gd name="connsiteX111" fmla="*/ 7 w 10000"/>
                <a:gd name="connsiteY111" fmla="*/ 3148 h 10000"/>
                <a:gd name="connsiteX112" fmla="*/ 0 w 10000"/>
                <a:gd name="connsiteY112" fmla="*/ 3258 h 10000"/>
                <a:gd name="connsiteX113" fmla="*/ 0 w 10000"/>
                <a:gd name="connsiteY113" fmla="*/ 3373 h 10000"/>
                <a:gd name="connsiteX114" fmla="*/ 7 w 10000"/>
                <a:gd name="connsiteY114" fmla="*/ 3520 h 10000"/>
                <a:gd name="connsiteX115" fmla="*/ 7 w 10000"/>
                <a:gd name="connsiteY115" fmla="*/ 3666 h 10000"/>
                <a:gd name="connsiteX116" fmla="*/ 22 w 10000"/>
                <a:gd name="connsiteY116" fmla="*/ 3804 h 10000"/>
                <a:gd name="connsiteX117" fmla="*/ 37 w 10000"/>
                <a:gd name="connsiteY117" fmla="*/ 3946 h 10000"/>
                <a:gd name="connsiteX118" fmla="*/ 59 w 10000"/>
                <a:gd name="connsiteY118" fmla="*/ 4088 h 10000"/>
                <a:gd name="connsiteX119" fmla="*/ 89 w 10000"/>
                <a:gd name="connsiteY119" fmla="*/ 4230 h 10000"/>
                <a:gd name="connsiteX120" fmla="*/ 119 w 10000"/>
                <a:gd name="connsiteY120" fmla="*/ 4372 h 10000"/>
                <a:gd name="connsiteX121" fmla="*/ 148 w 10000"/>
                <a:gd name="connsiteY121" fmla="*/ 4514 h 10000"/>
                <a:gd name="connsiteX122" fmla="*/ 193 w 10000"/>
                <a:gd name="connsiteY122" fmla="*/ 4652 h 10000"/>
                <a:gd name="connsiteX123" fmla="*/ 237 w 10000"/>
                <a:gd name="connsiteY123" fmla="*/ 4789 h 10000"/>
                <a:gd name="connsiteX124" fmla="*/ 282 w 10000"/>
                <a:gd name="connsiteY124" fmla="*/ 4927 h 10000"/>
                <a:gd name="connsiteX125" fmla="*/ 334 w 10000"/>
                <a:gd name="connsiteY125" fmla="*/ 5064 h 10000"/>
                <a:gd name="connsiteX126" fmla="*/ 393 w 10000"/>
                <a:gd name="connsiteY126" fmla="*/ 5197 h 10000"/>
                <a:gd name="connsiteX127" fmla="*/ 452 w 10000"/>
                <a:gd name="connsiteY127" fmla="*/ 5330 h 10000"/>
                <a:gd name="connsiteX128" fmla="*/ 519 w 10000"/>
                <a:gd name="connsiteY128" fmla="*/ 5463 h 10000"/>
                <a:gd name="connsiteX129" fmla="*/ 586 w 10000"/>
                <a:gd name="connsiteY129" fmla="*/ 5596 h 10000"/>
                <a:gd name="connsiteX130" fmla="*/ 660 w 10000"/>
                <a:gd name="connsiteY130" fmla="*/ 5724 h 10000"/>
                <a:gd name="connsiteX131" fmla="*/ 741 w 10000"/>
                <a:gd name="connsiteY131" fmla="*/ 5852 h 10000"/>
                <a:gd name="connsiteX132" fmla="*/ 823 w 10000"/>
                <a:gd name="connsiteY132" fmla="*/ 5985 h 10000"/>
                <a:gd name="connsiteX133" fmla="*/ 904 w 10000"/>
                <a:gd name="connsiteY133" fmla="*/ 6109 h 10000"/>
                <a:gd name="connsiteX134" fmla="*/ 993 w 10000"/>
                <a:gd name="connsiteY134" fmla="*/ 6233 h 10000"/>
                <a:gd name="connsiteX135" fmla="*/ 1090 w 10000"/>
                <a:gd name="connsiteY135" fmla="*/ 6352 h 10000"/>
                <a:gd name="connsiteX136" fmla="*/ 1186 w 10000"/>
                <a:gd name="connsiteY136" fmla="*/ 6476 h 10000"/>
                <a:gd name="connsiteX137" fmla="*/ 1290 w 10000"/>
                <a:gd name="connsiteY137" fmla="*/ 6599 h 10000"/>
                <a:gd name="connsiteX138" fmla="*/ 1386 w 10000"/>
                <a:gd name="connsiteY138" fmla="*/ 6719 h 10000"/>
                <a:gd name="connsiteX139" fmla="*/ 1497 w 10000"/>
                <a:gd name="connsiteY139" fmla="*/ 6838 h 10000"/>
                <a:gd name="connsiteX140" fmla="*/ 1609 w 10000"/>
                <a:gd name="connsiteY140" fmla="*/ 6952 h 10000"/>
                <a:gd name="connsiteX141" fmla="*/ 1727 w 10000"/>
                <a:gd name="connsiteY141" fmla="*/ 7071 h 10000"/>
                <a:gd name="connsiteX142" fmla="*/ 1846 w 10000"/>
                <a:gd name="connsiteY142" fmla="*/ 7186 h 10000"/>
                <a:gd name="connsiteX143" fmla="*/ 1964 w 10000"/>
                <a:gd name="connsiteY143" fmla="*/ 7296 h 10000"/>
                <a:gd name="connsiteX144" fmla="*/ 2090 w 10000"/>
                <a:gd name="connsiteY144" fmla="*/ 7406 h 10000"/>
                <a:gd name="connsiteX145" fmla="*/ 2224 w 10000"/>
                <a:gd name="connsiteY145" fmla="*/ 7516 h 10000"/>
                <a:gd name="connsiteX146" fmla="*/ 2350 w 10000"/>
                <a:gd name="connsiteY146" fmla="*/ 7626 h 10000"/>
                <a:gd name="connsiteX147" fmla="*/ 2491 w 10000"/>
                <a:gd name="connsiteY147" fmla="*/ 7731 h 10000"/>
                <a:gd name="connsiteX148" fmla="*/ 2617 w 10000"/>
                <a:gd name="connsiteY148" fmla="*/ 7837 h 10000"/>
                <a:gd name="connsiteX149" fmla="*/ 2765 w 10000"/>
                <a:gd name="connsiteY149" fmla="*/ 7938 h 10000"/>
                <a:gd name="connsiteX150" fmla="*/ 2906 w 10000"/>
                <a:gd name="connsiteY150" fmla="*/ 8038 h 10000"/>
                <a:gd name="connsiteX151" fmla="*/ 3054 w 10000"/>
                <a:gd name="connsiteY151" fmla="*/ 8139 h 10000"/>
                <a:gd name="connsiteX152" fmla="*/ 3210 w 10000"/>
                <a:gd name="connsiteY152" fmla="*/ 8236 h 10000"/>
                <a:gd name="connsiteX153" fmla="*/ 3358 w 10000"/>
                <a:gd name="connsiteY153" fmla="*/ 8332 h 10000"/>
                <a:gd name="connsiteX154" fmla="*/ 3514 w 10000"/>
                <a:gd name="connsiteY154" fmla="*/ 8428 h 10000"/>
                <a:gd name="connsiteX155" fmla="*/ 3677 w 10000"/>
                <a:gd name="connsiteY155" fmla="*/ 8520 h 10000"/>
                <a:gd name="connsiteX156" fmla="*/ 3840 w 10000"/>
                <a:gd name="connsiteY156" fmla="*/ 8607 h 10000"/>
                <a:gd name="connsiteX157" fmla="*/ 4010 w 10000"/>
                <a:gd name="connsiteY157" fmla="*/ 8698 h 10000"/>
                <a:gd name="connsiteX158" fmla="*/ 4181 w 10000"/>
                <a:gd name="connsiteY158" fmla="*/ 8776 h 10000"/>
                <a:gd name="connsiteX159" fmla="*/ 4351 w 10000"/>
                <a:gd name="connsiteY159" fmla="*/ 8863 h 10000"/>
                <a:gd name="connsiteX160" fmla="*/ 4522 w 10000"/>
                <a:gd name="connsiteY160" fmla="*/ 8941 h 10000"/>
                <a:gd name="connsiteX161" fmla="*/ 4700 w 10000"/>
                <a:gd name="connsiteY161" fmla="*/ 9024 h 10000"/>
                <a:gd name="connsiteX162" fmla="*/ 4878 w 10000"/>
                <a:gd name="connsiteY162" fmla="*/ 9102 h 10000"/>
                <a:gd name="connsiteX163" fmla="*/ 5063 w 10000"/>
                <a:gd name="connsiteY163" fmla="*/ 9175 h 10000"/>
                <a:gd name="connsiteX164" fmla="*/ 5248 w 10000"/>
                <a:gd name="connsiteY164" fmla="*/ 9253 h 10000"/>
                <a:gd name="connsiteX165" fmla="*/ 5426 w 10000"/>
                <a:gd name="connsiteY165" fmla="*/ 9322 h 10000"/>
                <a:gd name="connsiteX166" fmla="*/ 5619 w 10000"/>
                <a:gd name="connsiteY166" fmla="*/ 9390 h 10000"/>
                <a:gd name="connsiteX167" fmla="*/ 5812 w 10000"/>
                <a:gd name="connsiteY167" fmla="*/ 9459 h 10000"/>
                <a:gd name="connsiteX168" fmla="*/ 6004 w 10000"/>
                <a:gd name="connsiteY168" fmla="*/ 9523 h 10000"/>
                <a:gd name="connsiteX169" fmla="*/ 6205 w 10000"/>
                <a:gd name="connsiteY169" fmla="*/ 9588 h 10000"/>
                <a:gd name="connsiteX170" fmla="*/ 6397 w 10000"/>
                <a:gd name="connsiteY170" fmla="*/ 9647 h 10000"/>
                <a:gd name="connsiteX171" fmla="*/ 6605 w 10000"/>
                <a:gd name="connsiteY171" fmla="*/ 9702 h 10000"/>
                <a:gd name="connsiteX172" fmla="*/ 6805 w 10000"/>
                <a:gd name="connsiteY172" fmla="*/ 9757 h 10000"/>
                <a:gd name="connsiteX173" fmla="*/ 7005 w 10000"/>
                <a:gd name="connsiteY173" fmla="*/ 9812 h 10000"/>
                <a:gd name="connsiteX174" fmla="*/ 7213 w 10000"/>
                <a:gd name="connsiteY174" fmla="*/ 9863 h 10000"/>
                <a:gd name="connsiteX175" fmla="*/ 7420 w 10000"/>
                <a:gd name="connsiteY175" fmla="*/ 9908 h 10000"/>
                <a:gd name="connsiteX176" fmla="*/ 7628 w 10000"/>
                <a:gd name="connsiteY176" fmla="*/ 9954 h 10000"/>
                <a:gd name="connsiteX177" fmla="*/ 7835 w 10000"/>
                <a:gd name="connsiteY177" fmla="*/ 10000 h 10000"/>
                <a:gd name="connsiteX178" fmla="*/ 7539 w 10000"/>
                <a:gd name="connsiteY178" fmla="*/ 7754 h 10000"/>
                <a:gd name="connsiteX179" fmla="*/ 10000 w 10000"/>
                <a:gd name="connsiteY179" fmla="*/ 6141 h 10000"/>
                <a:gd name="connsiteX0" fmla="*/ 10000 w 10000"/>
                <a:gd name="connsiteY0" fmla="*/ 6162 h 10021"/>
                <a:gd name="connsiteX1" fmla="*/ 10000 w 10000"/>
                <a:gd name="connsiteY1" fmla="*/ 6162 h 10021"/>
                <a:gd name="connsiteX2" fmla="*/ 9911 w 10000"/>
                <a:gd name="connsiteY2" fmla="*/ 6148 h 10021"/>
                <a:gd name="connsiteX3" fmla="*/ 9815 w 10000"/>
                <a:gd name="connsiteY3" fmla="*/ 6130 h 10021"/>
                <a:gd name="connsiteX4" fmla="*/ 9726 w 10000"/>
                <a:gd name="connsiteY4" fmla="*/ 6112 h 10021"/>
                <a:gd name="connsiteX5" fmla="*/ 9637 w 10000"/>
                <a:gd name="connsiteY5" fmla="*/ 6089 h 10021"/>
                <a:gd name="connsiteX6" fmla="*/ 9548 w 10000"/>
                <a:gd name="connsiteY6" fmla="*/ 6070 h 10021"/>
                <a:gd name="connsiteX7" fmla="*/ 9466 w 10000"/>
                <a:gd name="connsiteY7" fmla="*/ 6048 h 10021"/>
                <a:gd name="connsiteX8" fmla="*/ 9377 w 10000"/>
                <a:gd name="connsiteY8" fmla="*/ 6025 h 10021"/>
                <a:gd name="connsiteX9" fmla="*/ 9288 w 10000"/>
                <a:gd name="connsiteY9" fmla="*/ 6002 h 10021"/>
                <a:gd name="connsiteX10" fmla="*/ 9118 w 10000"/>
                <a:gd name="connsiteY10" fmla="*/ 5951 h 10021"/>
                <a:gd name="connsiteX11" fmla="*/ 8955 w 10000"/>
                <a:gd name="connsiteY11" fmla="*/ 5896 h 10021"/>
                <a:gd name="connsiteX12" fmla="*/ 8792 w 10000"/>
                <a:gd name="connsiteY12" fmla="*/ 5837 h 10021"/>
                <a:gd name="connsiteX13" fmla="*/ 8636 w 10000"/>
                <a:gd name="connsiteY13" fmla="*/ 5773 h 10021"/>
                <a:gd name="connsiteX14" fmla="*/ 8480 w 10000"/>
                <a:gd name="connsiteY14" fmla="*/ 5708 h 10021"/>
                <a:gd name="connsiteX15" fmla="*/ 8340 w 10000"/>
                <a:gd name="connsiteY15" fmla="*/ 5640 h 10021"/>
                <a:gd name="connsiteX16" fmla="*/ 8199 w 10000"/>
                <a:gd name="connsiteY16" fmla="*/ 5566 h 10021"/>
                <a:gd name="connsiteX17" fmla="*/ 8058 w 10000"/>
                <a:gd name="connsiteY17" fmla="*/ 5488 h 10021"/>
                <a:gd name="connsiteX18" fmla="*/ 7924 w 10000"/>
                <a:gd name="connsiteY18" fmla="*/ 5406 h 10021"/>
                <a:gd name="connsiteX19" fmla="*/ 7798 w 10000"/>
                <a:gd name="connsiteY19" fmla="*/ 5323 h 10021"/>
                <a:gd name="connsiteX20" fmla="*/ 7672 w 10000"/>
                <a:gd name="connsiteY20" fmla="*/ 5236 h 10021"/>
                <a:gd name="connsiteX21" fmla="*/ 7554 w 10000"/>
                <a:gd name="connsiteY21" fmla="*/ 5149 h 10021"/>
                <a:gd name="connsiteX22" fmla="*/ 7450 w 10000"/>
                <a:gd name="connsiteY22" fmla="*/ 5053 h 10021"/>
                <a:gd name="connsiteX23" fmla="*/ 7346 w 10000"/>
                <a:gd name="connsiteY23" fmla="*/ 4957 h 10021"/>
                <a:gd name="connsiteX24" fmla="*/ 7250 w 10000"/>
                <a:gd name="connsiteY24" fmla="*/ 4861 h 10021"/>
                <a:gd name="connsiteX25" fmla="*/ 7161 w 10000"/>
                <a:gd name="connsiteY25" fmla="*/ 4760 h 10021"/>
                <a:gd name="connsiteX26" fmla="*/ 7072 w 10000"/>
                <a:gd name="connsiteY26" fmla="*/ 4659 h 10021"/>
                <a:gd name="connsiteX27" fmla="*/ 6990 w 10000"/>
                <a:gd name="connsiteY27" fmla="*/ 4549 h 10021"/>
                <a:gd name="connsiteX28" fmla="*/ 6953 w 10000"/>
                <a:gd name="connsiteY28" fmla="*/ 4499 h 10021"/>
                <a:gd name="connsiteX29" fmla="*/ 6916 w 10000"/>
                <a:gd name="connsiteY29" fmla="*/ 4444 h 10021"/>
                <a:gd name="connsiteX30" fmla="*/ 6887 w 10000"/>
                <a:gd name="connsiteY30" fmla="*/ 4389 h 10021"/>
                <a:gd name="connsiteX31" fmla="*/ 6850 w 10000"/>
                <a:gd name="connsiteY31" fmla="*/ 4334 h 10021"/>
                <a:gd name="connsiteX32" fmla="*/ 6820 w 10000"/>
                <a:gd name="connsiteY32" fmla="*/ 4279 h 10021"/>
                <a:gd name="connsiteX33" fmla="*/ 6790 w 10000"/>
                <a:gd name="connsiteY33" fmla="*/ 4224 h 10021"/>
                <a:gd name="connsiteX34" fmla="*/ 6768 w 10000"/>
                <a:gd name="connsiteY34" fmla="*/ 4164 h 10021"/>
                <a:gd name="connsiteX35" fmla="*/ 6738 w 10000"/>
                <a:gd name="connsiteY35" fmla="*/ 4109 h 10021"/>
                <a:gd name="connsiteX36" fmla="*/ 6723 w 10000"/>
                <a:gd name="connsiteY36" fmla="*/ 4049 h 10021"/>
                <a:gd name="connsiteX37" fmla="*/ 6694 w 10000"/>
                <a:gd name="connsiteY37" fmla="*/ 3994 h 10021"/>
                <a:gd name="connsiteX38" fmla="*/ 6679 w 10000"/>
                <a:gd name="connsiteY38" fmla="*/ 3935 h 10021"/>
                <a:gd name="connsiteX39" fmla="*/ 6664 w 10000"/>
                <a:gd name="connsiteY39" fmla="*/ 3875 h 10021"/>
                <a:gd name="connsiteX40" fmla="*/ 6649 w 10000"/>
                <a:gd name="connsiteY40" fmla="*/ 3816 h 10021"/>
                <a:gd name="connsiteX41" fmla="*/ 6635 w 10000"/>
                <a:gd name="connsiteY41" fmla="*/ 3761 h 10021"/>
                <a:gd name="connsiteX42" fmla="*/ 6620 w 10000"/>
                <a:gd name="connsiteY42" fmla="*/ 3701 h 10021"/>
                <a:gd name="connsiteX43" fmla="*/ 6612 w 10000"/>
                <a:gd name="connsiteY43" fmla="*/ 3642 h 10021"/>
                <a:gd name="connsiteX44" fmla="*/ 6605 w 10000"/>
                <a:gd name="connsiteY44" fmla="*/ 3582 h 10021"/>
                <a:gd name="connsiteX45" fmla="*/ 6597 w 10000"/>
                <a:gd name="connsiteY45" fmla="*/ 3518 h 10021"/>
                <a:gd name="connsiteX46" fmla="*/ 6597 w 10000"/>
                <a:gd name="connsiteY46" fmla="*/ 3458 h 10021"/>
                <a:gd name="connsiteX47" fmla="*/ 6590 w 10000"/>
                <a:gd name="connsiteY47" fmla="*/ 3394 h 10021"/>
                <a:gd name="connsiteX48" fmla="*/ 6597 w 10000"/>
                <a:gd name="connsiteY48" fmla="*/ 3334 h 10021"/>
                <a:gd name="connsiteX49" fmla="*/ 6605 w 10000"/>
                <a:gd name="connsiteY49" fmla="*/ 3266 h 10021"/>
                <a:gd name="connsiteX50" fmla="*/ 6605 w 10000"/>
                <a:gd name="connsiteY50" fmla="*/ 3202 h 10021"/>
                <a:gd name="connsiteX51" fmla="*/ 6612 w 10000"/>
                <a:gd name="connsiteY51" fmla="*/ 3137 h 10021"/>
                <a:gd name="connsiteX52" fmla="*/ 6620 w 10000"/>
                <a:gd name="connsiteY52" fmla="*/ 3073 h 10021"/>
                <a:gd name="connsiteX53" fmla="*/ 6635 w 10000"/>
                <a:gd name="connsiteY53" fmla="*/ 3014 h 10021"/>
                <a:gd name="connsiteX54" fmla="*/ 6649 w 10000"/>
                <a:gd name="connsiteY54" fmla="*/ 2950 h 10021"/>
                <a:gd name="connsiteX55" fmla="*/ 6664 w 10000"/>
                <a:gd name="connsiteY55" fmla="*/ 2890 h 10021"/>
                <a:gd name="connsiteX56" fmla="*/ 6686 w 10000"/>
                <a:gd name="connsiteY56" fmla="*/ 2826 h 10021"/>
                <a:gd name="connsiteX57" fmla="*/ 6709 w 10000"/>
                <a:gd name="connsiteY57" fmla="*/ 2766 h 10021"/>
                <a:gd name="connsiteX58" fmla="*/ 6731 w 10000"/>
                <a:gd name="connsiteY58" fmla="*/ 2707 h 10021"/>
                <a:gd name="connsiteX59" fmla="*/ 6753 w 10000"/>
                <a:gd name="connsiteY59" fmla="*/ 2642 h 10021"/>
                <a:gd name="connsiteX60" fmla="*/ 6783 w 10000"/>
                <a:gd name="connsiteY60" fmla="*/ 2587 h 10021"/>
                <a:gd name="connsiteX61" fmla="*/ 6812 w 10000"/>
                <a:gd name="connsiteY61" fmla="*/ 2528 h 10021"/>
                <a:gd name="connsiteX62" fmla="*/ 6842 w 10000"/>
                <a:gd name="connsiteY62" fmla="*/ 2468 h 10021"/>
                <a:gd name="connsiteX63" fmla="*/ 6879 w 10000"/>
                <a:gd name="connsiteY63" fmla="*/ 2409 h 10021"/>
                <a:gd name="connsiteX64" fmla="*/ 6909 w 10000"/>
                <a:gd name="connsiteY64" fmla="*/ 2354 h 10021"/>
                <a:gd name="connsiteX65" fmla="*/ 6946 w 10000"/>
                <a:gd name="connsiteY65" fmla="*/ 2294 h 10021"/>
                <a:gd name="connsiteX66" fmla="*/ 6990 w 10000"/>
                <a:gd name="connsiteY66" fmla="*/ 2239 h 10021"/>
                <a:gd name="connsiteX67" fmla="*/ 7027 w 10000"/>
                <a:gd name="connsiteY67" fmla="*/ 2184 h 10021"/>
                <a:gd name="connsiteX68" fmla="*/ 7072 w 10000"/>
                <a:gd name="connsiteY68" fmla="*/ 2129 h 10021"/>
                <a:gd name="connsiteX69" fmla="*/ 7109 w 10000"/>
                <a:gd name="connsiteY69" fmla="*/ 2074 h 10021"/>
                <a:gd name="connsiteX70" fmla="*/ 7161 w 10000"/>
                <a:gd name="connsiteY70" fmla="*/ 2024 h 10021"/>
                <a:gd name="connsiteX71" fmla="*/ 7213 w 10000"/>
                <a:gd name="connsiteY71" fmla="*/ 1969 h 10021"/>
                <a:gd name="connsiteX72" fmla="*/ 7257 w 10000"/>
                <a:gd name="connsiteY72" fmla="*/ 1914 h 10021"/>
                <a:gd name="connsiteX73" fmla="*/ 7309 w 10000"/>
                <a:gd name="connsiteY73" fmla="*/ 1863 h 10021"/>
                <a:gd name="connsiteX74" fmla="*/ 7361 w 10000"/>
                <a:gd name="connsiteY74" fmla="*/ 1813 h 10021"/>
                <a:gd name="connsiteX75" fmla="*/ 7413 w 10000"/>
                <a:gd name="connsiteY75" fmla="*/ 1763 h 10021"/>
                <a:gd name="connsiteX76" fmla="*/ 7472 w 10000"/>
                <a:gd name="connsiteY76" fmla="*/ 1712 h 10021"/>
                <a:gd name="connsiteX77" fmla="*/ 7524 w 10000"/>
                <a:gd name="connsiteY77" fmla="*/ 1666 h 10021"/>
                <a:gd name="connsiteX78" fmla="*/ 7583 w 10000"/>
                <a:gd name="connsiteY78" fmla="*/ 1620 h 10021"/>
                <a:gd name="connsiteX79" fmla="*/ 7643 w 10000"/>
                <a:gd name="connsiteY79" fmla="*/ 1570 h 10021"/>
                <a:gd name="connsiteX80" fmla="*/ 5434 w 10000"/>
                <a:gd name="connsiteY80" fmla="*/ 21 h 10021"/>
                <a:gd name="connsiteX81" fmla="*/ 1401 w 10000"/>
                <a:gd name="connsiteY81" fmla="*/ 0 h 10021"/>
                <a:gd name="connsiteX82" fmla="*/ 1305 w 10000"/>
                <a:gd name="connsiteY82" fmla="*/ 149 h 10021"/>
                <a:gd name="connsiteX83" fmla="*/ 1223 w 10000"/>
                <a:gd name="connsiteY83" fmla="*/ 241 h 10021"/>
                <a:gd name="connsiteX84" fmla="*/ 1149 w 10000"/>
                <a:gd name="connsiteY84" fmla="*/ 337 h 10021"/>
                <a:gd name="connsiteX85" fmla="*/ 1067 w 10000"/>
                <a:gd name="connsiteY85" fmla="*/ 433 h 10021"/>
                <a:gd name="connsiteX86" fmla="*/ 1001 w 10000"/>
                <a:gd name="connsiteY86" fmla="*/ 530 h 10021"/>
                <a:gd name="connsiteX87" fmla="*/ 927 w 10000"/>
                <a:gd name="connsiteY87" fmla="*/ 626 h 10021"/>
                <a:gd name="connsiteX88" fmla="*/ 860 w 10000"/>
                <a:gd name="connsiteY88" fmla="*/ 727 h 10021"/>
                <a:gd name="connsiteX89" fmla="*/ 793 w 10000"/>
                <a:gd name="connsiteY89" fmla="*/ 828 h 10021"/>
                <a:gd name="connsiteX90" fmla="*/ 734 w 10000"/>
                <a:gd name="connsiteY90" fmla="*/ 924 h 10021"/>
                <a:gd name="connsiteX91" fmla="*/ 675 w 10000"/>
                <a:gd name="connsiteY91" fmla="*/ 1025 h 10021"/>
                <a:gd name="connsiteX92" fmla="*/ 615 w 10000"/>
                <a:gd name="connsiteY92" fmla="*/ 1125 h 10021"/>
                <a:gd name="connsiteX93" fmla="*/ 556 w 10000"/>
                <a:gd name="connsiteY93" fmla="*/ 1231 h 10021"/>
                <a:gd name="connsiteX94" fmla="*/ 504 w 10000"/>
                <a:gd name="connsiteY94" fmla="*/ 1327 h 10021"/>
                <a:gd name="connsiteX95" fmla="*/ 452 w 10000"/>
                <a:gd name="connsiteY95" fmla="*/ 1433 h 10021"/>
                <a:gd name="connsiteX96" fmla="*/ 408 w 10000"/>
                <a:gd name="connsiteY96" fmla="*/ 1533 h 10021"/>
                <a:gd name="connsiteX97" fmla="*/ 363 w 10000"/>
                <a:gd name="connsiteY97" fmla="*/ 1639 h 10021"/>
                <a:gd name="connsiteX98" fmla="*/ 319 w 10000"/>
                <a:gd name="connsiteY98" fmla="*/ 1744 h 10021"/>
                <a:gd name="connsiteX99" fmla="*/ 282 w 10000"/>
                <a:gd name="connsiteY99" fmla="*/ 1850 h 10021"/>
                <a:gd name="connsiteX100" fmla="*/ 237 w 10000"/>
                <a:gd name="connsiteY100" fmla="*/ 1960 h 10021"/>
                <a:gd name="connsiteX101" fmla="*/ 208 w 10000"/>
                <a:gd name="connsiteY101" fmla="*/ 2065 h 10021"/>
                <a:gd name="connsiteX102" fmla="*/ 170 w 10000"/>
                <a:gd name="connsiteY102" fmla="*/ 2175 h 10021"/>
                <a:gd name="connsiteX103" fmla="*/ 148 w 10000"/>
                <a:gd name="connsiteY103" fmla="*/ 2285 h 10021"/>
                <a:gd name="connsiteX104" fmla="*/ 119 w 10000"/>
                <a:gd name="connsiteY104" fmla="*/ 2390 h 10021"/>
                <a:gd name="connsiteX105" fmla="*/ 96 w 10000"/>
                <a:gd name="connsiteY105" fmla="*/ 2500 h 10021"/>
                <a:gd name="connsiteX106" fmla="*/ 74 w 10000"/>
                <a:gd name="connsiteY106" fmla="*/ 2610 h 10021"/>
                <a:gd name="connsiteX107" fmla="*/ 52 w 10000"/>
                <a:gd name="connsiteY107" fmla="*/ 2725 h 10021"/>
                <a:gd name="connsiteX108" fmla="*/ 37 w 10000"/>
                <a:gd name="connsiteY108" fmla="*/ 2835 h 10021"/>
                <a:gd name="connsiteX109" fmla="*/ 22 w 10000"/>
                <a:gd name="connsiteY109" fmla="*/ 2945 h 10021"/>
                <a:gd name="connsiteX110" fmla="*/ 15 w 10000"/>
                <a:gd name="connsiteY110" fmla="*/ 3055 h 10021"/>
                <a:gd name="connsiteX111" fmla="*/ 7 w 10000"/>
                <a:gd name="connsiteY111" fmla="*/ 3169 h 10021"/>
                <a:gd name="connsiteX112" fmla="*/ 0 w 10000"/>
                <a:gd name="connsiteY112" fmla="*/ 3279 h 10021"/>
                <a:gd name="connsiteX113" fmla="*/ 0 w 10000"/>
                <a:gd name="connsiteY113" fmla="*/ 3394 h 10021"/>
                <a:gd name="connsiteX114" fmla="*/ 7 w 10000"/>
                <a:gd name="connsiteY114" fmla="*/ 3541 h 10021"/>
                <a:gd name="connsiteX115" fmla="*/ 7 w 10000"/>
                <a:gd name="connsiteY115" fmla="*/ 3687 h 10021"/>
                <a:gd name="connsiteX116" fmla="*/ 22 w 10000"/>
                <a:gd name="connsiteY116" fmla="*/ 3825 h 10021"/>
                <a:gd name="connsiteX117" fmla="*/ 37 w 10000"/>
                <a:gd name="connsiteY117" fmla="*/ 3967 h 10021"/>
                <a:gd name="connsiteX118" fmla="*/ 59 w 10000"/>
                <a:gd name="connsiteY118" fmla="*/ 4109 h 10021"/>
                <a:gd name="connsiteX119" fmla="*/ 89 w 10000"/>
                <a:gd name="connsiteY119" fmla="*/ 4251 h 10021"/>
                <a:gd name="connsiteX120" fmla="*/ 119 w 10000"/>
                <a:gd name="connsiteY120" fmla="*/ 4393 h 10021"/>
                <a:gd name="connsiteX121" fmla="*/ 148 w 10000"/>
                <a:gd name="connsiteY121" fmla="*/ 4535 h 10021"/>
                <a:gd name="connsiteX122" fmla="*/ 193 w 10000"/>
                <a:gd name="connsiteY122" fmla="*/ 4673 h 10021"/>
                <a:gd name="connsiteX123" fmla="*/ 237 w 10000"/>
                <a:gd name="connsiteY123" fmla="*/ 4810 h 10021"/>
                <a:gd name="connsiteX124" fmla="*/ 282 w 10000"/>
                <a:gd name="connsiteY124" fmla="*/ 4948 h 10021"/>
                <a:gd name="connsiteX125" fmla="*/ 334 w 10000"/>
                <a:gd name="connsiteY125" fmla="*/ 5085 h 10021"/>
                <a:gd name="connsiteX126" fmla="*/ 393 w 10000"/>
                <a:gd name="connsiteY126" fmla="*/ 5218 h 10021"/>
                <a:gd name="connsiteX127" fmla="*/ 452 w 10000"/>
                <a:gd name="connsiteY127" fmla="*/ 5351 h 10021"/>
                <a:gd name="connsiteX128" fmla="*/ 519 w 10000"/>
                <a:gd name="connsiteY128" fmla="*/ 5484 h 10021"/>
                <a:gd name="connsiteX129" fmla="*/ 586 w 10000"/>
                <a:gd name="connsiteY129" fmla="*/ 5617 h 10021"/>
                <a:gd name="connsiteX130" fmla="*/ 660 w 10000"/>
                <a:gd name="connsiteY130" fmla="*/ 5745 h 10021"/>
                <a:gd name="connsiteX131" fmla="*/ 741 w 10000"/>
                <a:gd name="connsiteY131" fmla="*/ 5873 h 10021"/>
                <a:gd name="connsiteX132" fmla="*/ 823 w 10000"/>
                <a:gd name="connsiteY132" fmla="*/ 6006 h 10021"/>
                <a:gd name="connsiteX133" fmla="*/ 904 w 10000"/>
                <a:gd name="connsiteY133" fmla="*/ 6130 h 10021"/>
                <a:gd name="connsiteX134" fmla="*/ 993 w 10000"/>
                <a:gd name="connsiteY134" fmla="*/ 6254 h 10021"/>
                <a:gd name="connsiteX135" fmla="*/ 1090 w 10000"/>
                <a:gd name="connsiteY135" fmla="*/ 6373 h 10021"/>
                <a:gd name="connsiteX136" fmla="*/ 1186 w 10000"/>
                <a:gd name="connsiteY136" fmla="*/ 6497 h 10021"/>
                <a:gd name="connsiteX137" fmla="*/ 1290 w 10000"/>
                <a:gd name="connsiteY137" fmla="*/ 6620 h 10021"/>
                <a:gd name="connsiteX138" fmla="*/ 1386 w 10000"/>
                <a:gd name="connsiteY138" fmla="*/ 6740 h 10021"/>
                <a:gd name="connsiteX139" fmla="*/ 1497 w 10000"/>
                <a:gd name="connsiteY139" fmla="*/ 6859 h 10021"/>
                <a:gd name="connsiteX140" fmla="*/ 1609 w 10000"/>
                <a:gd name="connsiteY140" fmla="*/ 6973 h 10021"/>
                <a:gd name="connsiteX141" fmla="*/ 1727 w 10000"/>
                <a:gd name="connsiteY141" fmla="*/ 7092 h 10021"/>
                <a:gd name="connsiteX142" fmla="*/ 1846 w 10000"/>
                <a:gd name="connsiteY142" fmla="*/ 7207 h 10021"/>
                <a:gd name="connsiteX143" fmla="*/ 1964 w 10000"/>
                <a:gd name="connsiteY143" fmla="*/ 7317 h 10021"/>
                <a:gd name="connsiteX144" fmla="*/ 2090 w 10000"/>
                <a:gd name="connsiteY144" fmla="*/ 7427 h 10021"/>
                <a:gd name="connsiteX145" fmla="*/ 2224 w 10000"/>
                <a:gd name="connsiteY145" fmla="*/ 7537 h 10021"/>
                <a:gd name="connsiteX146" fmla="*/ 2350 w 10000"/>
                <a:gd name="connsiteY146" fmla="*/ 7647 h 10021"/>
                <a:gd name="connsiteX147" fmla="*/ 2491 w 10000"/>
                <a:gd name="connsiteY147" fmla="*/ 7752 h 10021"/>
                <a:gd name="connsiteX148" fmla="*/ 2617 w 10000"/>
                <a:gd name="connsiteY148" fmla="*/ 7858 h 10021"/>
                <a:gd name="connsiteX149" fmla="*/ 2765 w 10000"/>
                <a:gd name="connsiteY149" fmla="*/ 7959 h 10021"/>
                <a:gd name="connsiteX150" fmla="*/ 2906 w 10000"/>
                <a:gd name="connsiteY150" fmla="*/ 8059 h 10021"/>
                <a:gd name="connsiteX151" fmla="*/ 3054 w 10000"/>
                <a:gd name="connsiteY151" fmla="*/ 8160 h 10021"/>
                <a:gd name="connsiteX152" fmla="*/ 3210 w 10000"/>
                <a:gd name="connsiteY152" fmla="*/ 8257 h 10021"/>
                <a:gd name="connsiteX153" fmla="*/ 3358 w 10000"/>
                <a:gd name="connsiteY153" fmla="*/ 8353 h 10021"/>
                <a:gd name="connsiteX154" fmla="*/ 3514 w 10000"/>
                <a:gd name="connsiteY154" fmla="*/ 8449 h 10021"/>
                <a:gd name="connsiteX155" fmla="*/ 3677 w 10000"/>
                <a:gd name="connsiteY155" fmla="*/ 8541 h 10021"/>
                <a:gd name="connsiteX156" fmla="*/ 3840 w 10000"/>
                <a:gd name="connsiteY156" fmla="*/ 8628 h 10021"/>
                <a:gd name="connsiteX157" fmla="*/ 4010 w 10000"/>
                <a:gd name="connsiteY157" fmla="*/ 8719 h 10021"/>
                <a:gd name="connsiteX158" fmla="*/ 4181 w 10000"/>
                <a:gd name="connsiteY158" fmla="*/ 8797 h 10021"/>
                <a:gd name="connsiteX159" fmla="*/ 4351 w 10000"/>
                <a:gd name="connsiteY159" fmla="*/ 8884 h 10021"/>
                <a:gd name="connsiteX160" fmla="*/ 4522 w 10000"/>
                <a:gd name="connsiteY160" fmla="*/ 8962 h 10021"/>
                <a:gd name="connsiteX161" fmla="*/ 4700 w 10000"/>
                <a:gd name="connsiteY161" fmla="*/ 9045 h 10021"/>
                <a:gd name="connsiteX162" fmla="*/ 4878 w 10000"/>
                <a:gd name="connsiteY162" fmla="*/ 9123 h 10021"/>
                <a:gd name="connsiteX163" fmla="*/ 5063 w 10000"/>
                <a:gd name="connsiteY163" fmla="*/ 9196 h 10021"/>
                <a:gd name="connsiteX164" fmla="*/ 5248 w 10000"/>
                <a:gd name="connsiteY164" fmla="*/ 9274 h 10021"/>
                <a:gd name="connsiteX165" fmla="*/ 5426 w 10000"/>
                <a:gd name="connsiteY165" fmla="*/ 9343 h 10021"/>
                <a:gd name="connsiteX166" fmla="*/ 5619 w 10000"/>
                <a:gd name="connsiteY166" fmla="*/ 9411 h 10021"/>
                <a:gd name="connsiteX167" fmla="*/ 5812 w 10000"/>
                <a:gd name="connsiteY167" fmla="*/ 9480 h 10021"/>
                <a:gd name="connsiteX168" fmla="*/ 6004 w 10000"/>
                <a:gd name="connsiteY168" fmla="*/ 9544 h 10021"/>
                <a:gd name="connsiteX169" fmla="*/ 6205 w 10000"/>
                <a:gd name="connsiteY169" fmla="*/ 9609 h 10021"/>
                <a:gd name="connsiteX170" fmla="*/ 6397 w 10000"/>
                <a:gd name="connsiteY170" fmla="*/ 9668 h 10021"/>
                <a:gd name="connsiteX171" fmla="*/ 6605 w 10000"/>
                <a:gd name="connsiteY171" fmla="*/ 9723 h 10021"/>
                <a:gd name="connsiteX172" fmla="*/ 6805 w 10000"/>
                <a:gd name="connsiteY172" fmla="*/ 9778 h 10021"/>
                <a:gd name="connsiteX173" fmla="*/ 7005 w 10000"/>
                <a:gd name="connsiteY173" fmla="*/ 9833 h 10021"/>
                <a:gd name="connsiteX174" fmla="*/ 7213 w 10000"/>
                <a:gd name="connsiteY174" fmla="*/ 9884 h 10021"/>
                <a:gd name="connsiteX175" fmla="*/ 7420 w 10000"/>
                <a:gd name="connsiteY175" fmla="*/ 9929 h 10021"/>
                <a:gd name="connsiteX176" fmla="*/ 7628 w 10000"/>
                <a:gd name="connsiteY176" fmla="*/ 9975 h 10021"/>
                <a:gd name="connsiteX177" fmla="*/ 7835 w 10000"/>
                <a:gd name="connsiteY177" fmla="*/ 10021 h 10021"/>
                <a:gd name="connsiteX178" fmla="*/ 7539 w 10000"/>
                <a:gd name="connsiteY178" fmla="*/ 7775 h 10021"/>
                <a:gd name="connsiteX179" fmla="*/ 10000 w 10000"/>
                <a:gd name="connsiteY179" fmla="*/ 6162 h 10021"/>
                <a:gd name="connsiteX0" fmla="*/ 10000 w 10000"/>
                <a:gd name="connsiteY0" fmla="*/ 6162 h 10021"/>
                <a:gd name="connsiteX1" fmla="*/ 10000 w 10000"/>
                <a:gd name="connsiteY1" fmla="*/ 6162 h 10021"/>
                <a:gd name="connsiteX2" fmla="*/ 9911 w 10000"/>
                <a:gd name="connsiteY2" fmla="*/ 6148 h 10021"/>
                <a:gd name="connsiteX3" fmla="*/ 9815 w 10000"/>
                <a:gd name="connsiteY3" fmla="*/ 6130 h 10021"/>
                <a:gd name="connsiteX4" fmla="*/ 9726 w 10000"/>
                <a:gd name="connsiteY4" fmla="*/ 6112 h 10021"/>
                <a:gd name="connsiteX5" fmla="*/ 9637 w 10000"/>
                <a:gd name="connsiteY5" fmla="*/ 6089 h 10021"/>
                <a:gd name="connsiteX6" fmla="*/ 9548 w 10000"/>
                <a:gd name="connsiteY6" fmla="*/ 6070 h 10021"/>
                <a:gd name="connsiteX7" fmla="*/ 9466 w 10000"/>
                <a:gd name="connsiteY7" fmla="*/ 6048 h 10021"/>
                <a:gd name="connsiteX8" fmla="*/ 9377 w 10000"/>
                <a:gd name="connsiteY8" fmla="*/ 6025 h 10021"/>
                <a:gd name="connsiteX9" fmla="*/ 9288 w 10000"/>
                <a:gd name="connsiteY9" fmla="*/ 6002 h 10021"/>
                <a:gd name="connsiteX10" fmla="*/ 9118 w 10000"/>
                <a:gd name="connsiteY10" fmla="*/ 5951 h 10021"/>
                <a:gd name="connsiteX11" fmla="*/ 8955 w 10000"/>
                <a:gd name="connsiteY11" fmla="*/ 5896 h 10021"/>
                <a:gd name="connsiteX12" fmla="*/ 8792 w 10000"/>
                <a:gd name="connsiteY12" fmla="*/ 5837 h 10021"/>
                <a:gd name="connsiteX13" fmla="*/ 8636 w 10000"/>
                <a:gd name="connsiteY13" fmla="*/ 5773 h 10021"/>
                <a:gd name="connsiteX14" fmla="*/ 8480 w 10000"/>
                <a:gd name="connsiteY14" fmla="*/ 5708 h 10021"/>
                <a:gd name="connsiteX15" fmla="*/ 8340 w 10000"/>
                <a:gd name="connsiteY15" fmla="*/ 5640 h 10021"/>
                <a:gd name="connsiteX16" fmla="*/ 8199 w 10000"/>
                <a:gd name="connsiteY16" fmla="*/ 5566 h 10021"/>
                <a:gd name="connsiteX17" fmla="*/ 8058 w 10000"/>
                <a:gd name="connsiteY17" fmla="*/ 5488 h 10021"/>
                <a:gd name="connsiteX18" fmla="*/ 7924 w 10000"/>
                <a:gd name="connsiteY18" fmla="*/ 5406 h 10021"/>
                <a:gd name="connsiteX19" fmla="*/ 7798 w 10000"/>
                <a:gd name="connsiteY19" fmla="*/ 5323 h 10021"/>
                <a:gd name="connsiteX20" fmla="*/ 7672 w 10000"/>
                <a:gd name="connsiteY20" fmla="*/ 5236 h 10021"/>
                <a:gd name="connsiteX21" fmla="*/ 7554 w 10000"/>
                <a:gd name="connsiteY21" fmla="*/ 5149 h 10021"/>
                <a:gd name="connsiteX22" fmla="*/ 7450 w 10000"/>
                <a:gd name="connsiteY22" fmla="*/ 5053 h 10021"/>
                <a:gd name="connsiteX23" fmla="*/ 7346 w 10000"/>
                <a:gd name="connsiteY23" fmla="*/ 4957 h 10021"/>
                <a:gd name="connsiteX24" fmla="*/ 7250 w 10000"/>
                <a:gd name="connsiteY24" fmla="*/ 4861 h 10021"/>
                <a:gd name="connsiteX25" fmla="*/ 7161 w 10000"/>
                <a:gd name="connsiteY25" fmla="*/ 4760 h 10021"/>
                <a:gd name="connsiteX26" fmla="*/ 7072 w 10000"/>
                <a:gd name="connsiteY26" fmla="*/ 4659 h 10021"/>
                <a:gd name="connsiteX27" fmla="*/ 6990 w 10000"/>
                <a:gd name="connsiteY27" fmla="*/ 4549 h 10021"/>
                <a:gd name="connsiteX28" fmla="*/ 6953 w 10000"/>
                <a:gd name="connsiteY28" fmla="*/ 4499 h 10021"/>
                <a:gd name="connsiteX29" fmla="*/ 6916 w 10000"/>
                <a:gd name="connsiteY29" fmla="*/ 4444 h 10021"/>
                <a:gd name="connsiteX30" fmla="*/ 6887 w 10000"/>
                <a:gd name="connsiteY30" fmla="*/ 4389 h 10021"/>
                <a:gd name="connsiteX31" fmla="*/ 6850 w 10000"/>
                <a:gd name="connsiteY31" fmla="*/ 4334 h 10021"/>
                <a:gd name="connsiteX32" fmla="*/ 6820 w 10000"/>
                <a:gd name="connsiteY32" fmla="*/ 4279 h 10021"/>
                <a:gd name="connsiteX33" fmla="*/ 6790 w 10000"/>
                <a:gd name="connsiteY33" fmla="*/ 4224 h 10021"/>
                <a:gd name="connsiteX34" fmla="*/ 6768 w 10000"/>
                <a:gd name="connsiteY34" fmla="*/ 4164 h 10021"/>
                <a:gd name="connsiteX35" fmla="*/ 6738 w 10000"/>
                <a:gd name="connsiteY35" fmla="*/ 4109 h 10021"/>
                <a:gd name="connsiteX36" fmla="*/ 6723 w 10000"/>
                <a:gd name="connsiteY36" fmla="*/ 4049 h 10021"/>
                <a:gd name="connsiteX37" fmla="*/ 6694 w 10000"/>
                <a:gd name="connsiteY37" fmla="*/ 3994 h 10021"/>
                <a:gd name="connsiteX38" fmla="*/ 6679 w 10000"/>
                <a:gd name="connsiteY38" fmla="*/ 3935 h 10021"/>
                <a:gd name="connsiteX39" fmla="*/ 6664 w 10000"/>
                <a:gd name="connsiteY39" fmla="*/ 3875 h 10021"/>
                <a:gd name="connsiteX40" fmla="*/ 6649 w 10000"/>
                <a:gd name="connsiteY40" fmla="*/ 3816 h 10021"/>
                <a:gd name="connsiteX41" fmla="*/ 6635 w 10000"/>
                <a:gd name="connsiteY41" fmla="*/ 3761 h 10021"/>
                <a:gd name="connsiteX42" fmla="*/ 6620 w 10000"/>
                <a:gd name="connsiteY42" fmla="*/ 3701 h 10021"/>
                <a:gd name="connsiteX43" fmla="*/ 6612 w 10000"/>
                <a:gd name="connsiteY43" fmla="*/ 3642 h 10021"/>
                <a:gd name="connsiteX44" fmla="*/ 6605 w 10000"/>
                <a:gd name="connsiteY44" fmla="*/ 3582 h 10021"/>
                <a:gd name="connsiteX45" fmla="*/ 6597 w 10000"/>
                <a:gd name="connsiteY45" fmla="*/ 3518 h 10021"/>
                <a:gd name="connsiteX46" fmla="*/ 6597 w 10000"/>
                <a:gd name="connsiteY46" fmla="*/ 3458 h 10021"/>
                <a:gd name="connsiteX47" fmla="*/ 6590 w 10000"/>
                <a:gd name="connsiteY47" fmla="*/ 3394 h 10021"/>
                <a:gd name="connsiteX48" fmla="*/ 6597 w 10000"/>
                <a:gd name="connsiteY48" fmla="*/ 3334 h 10021"/>
                <a:gd name="connsiteX49" fmla="*/ 6605 w 10000"/>
                <a:gd name="connsiteY49" fmla="*/ 3266 h 10021"/>
                <a:gd name="connsiteX50" fmla="*/ 6605 w 10000"/>
                <a:gd name="connsiteY50" fmla="*/ 3202 h 10021"/>
                <a:gd name="connsiteX51" fmla="*/ 6612 w 10000"/>
                <a:gd name="connsiteY51" fmla="*/ 3137 h 10021"/>
                <a:gd name="connsiteX52" fmla="*/ 6620 w 10000"/>
                <a:gd name="connsiteY52" fmla="*/ 3073 h 10021"/>
                <a:gd name="connsiteX53" fmla="*/ 6635 w 10000"/>
                <a:gd name="connsiteY53" fmla="*/ 3014 h 10021"/>
                <a:gd name="connsiteX54" fmla="*/ 6649 w 10000"/>
                <a:gd name="connsiteY54" fmla="*/ 2950 h 10021"/>
                <a:gd name="connsiteX55" fmla="*/ 6664 w 10000"/>
                <a:gd name="connsiteY55" fmla="*/ 2890 h 10021"/>
                <a:gd name="connsiteX56" fmla="*/ 6686 w 10000"/>
                <a:gd name="connsiteY56" fmla="*/ 2826 h 10021"/>
                <a:gd name="connsiteX57" fmla="*/ 6709 w 10000"/>
                <a:gd name="connsiteY57" fmla="*/ 2766 h 10021"/>
                <a:gd name="connsiteX58" fmla="*/ 6731 w 10000"/>
                <a:gd name="connsiteY58" fmla="*/ 2707 h 10021"/>
                <a:gd name="connsiteX59" fmla="*/ 6753 w 10000"/>
                <a:gd name="connsiteY59" fmla="*/ 2642 h 10021"/>
                <a:gd name="connsiteX60" fmla="*/ 6783 w 10000"/>
                <a:gd name="connsiteY60" fmla="*/ 2587 h 10021"/>
                <a:gd name="connsiteX61" fmla="*/ 6812 w 10000"/>
                <a:gd name="connsiteY61" fmla="*/ 2528 h 10021"/>
                <a:gd name="connsiteX62" fmla="*/ 6842 w 10000"/>
                <a:gd name="connsiteY62" fmla="*/ 2468 h 10021"/>
                <a:gd name="connsiteX63" fmla="*/ 6879 w 10000"/>
                <a:gd name="connsiteY63" fmla="*/ 2409 h 10021"/>
                <a:gd name="connsiteX64" fmla="*/ 6909 w 10000"/>
                <a:gd name="connsiteY64" fmla="*/ 2354 h 10021"/>
                <a:gd name="connsiteX65" fmla="*/ 6946 w 10000"/>
                <a:gd name="connsiteY65" fmla="*/ 2294 h 10021"/>
                <a:gd name="connsiteX66" fmla="*/ 6990 w 10000"/>
                <a:gd name="connsiteY66" fmla="*/ 2239 h 10021"/>
                <a:gd name="connsiteX67" fmla="*/ 7027 w 10000"/>
                <a:gd name="connsiteY67" fmla="*/ 2184 h 10021"/>
                <a:gd name="connsiteX68" fmla="*/ 7072 w 10000"/>
                <a:gd name="connsiteY68" fmla="*/ 2129 h 10021"/>
                <a:gd name="connsiteX69" fmla="*/ 7109 w 10000"/>
                <a:gd name="connsiteY69" fmla="*/ 2074 h 10021"/>
                <a:gd name="connsiteX70" fmla="*/ 7161 w 10000"/>
                <a:gd name="connsiteY70" fmla="*/ 2024 h 10021"/>
                <a:gd name="connsiteX71" fmla="*/ 7213 w 10000"/>
                <a:gd name="connsiteY71" fmla="*/ 1969 h 10021"/>
                <a:gd name="connsiteX72" fmla="*/ 7257 w 10000"/>
                <a:gd name="connsiteY72" fmla="*/ 1914 h 10021"/>
                <a:gd name="connsiteX73" fmla="*/ 7309 w 10000"/>
                <a:gd name="connsiteY73" fmla="*/ 1863 h 10021"/>
                <a:gd name="connsiteX74" fmla="*/ 7361 w 10000"/>
                <a:gd name="connsiteY74" fmla="*/ 1813 h 10021"/>
                <a:gd name="connsiteX75" fmla="*/ 7413 w 10000"/>
                <a:gd name="connsiteY75" fmla="*/ 1763 h 10021"/>
                <a:gd name="connsiteX76" fmla="*/ 7472 w 10000"/>
                <a:gd name="connsiteY76" fmla="*/ 1712 h 10021"/>
                <a:gd name="connsiteX77" fmla="*/ 7524 w 10000"/>
                <a:gd name="connsiteY77" fmla="*/ 1666 h 10021"/>
                <a:gd name="connsiteX78" fmla="*/ 7583 w 10000"/>
                <a:gd name="connsiteY78" fmla="*/ 1620 h 10021"/>
                <a:gd name="connsiteX79" fmla="*/ 7643 w 10000"/>
                <a:gd name="connsiteY79" fmla="*/ 1570 h 10021"/>
                <a:gd name="connsiteX80" fmla="*/ 5423 w 10000"/>
                <a:gd name="connsiteY80" fmla="*/ 28 h 10021"/>
                <a:gd name="connsiteX81" fmla="*/ 1401 w 10000"/>
                <a:gd name="connsiteY81" fmla="*/ 0 h 10021"/>
                <a:gd name="connsiteX82" fmla="*/ 1305 w 10000"/>
                <a:gd name="connsiteY82" fmla="*/ 149 h 10021"/>
                <a:gd name="connsiteX83" fmla="*/ 1223 w 10000"/>
                <a:gd name="connsiteY83" fmla="*/ 241 h 10021"/>
                <a:gd name="connsiteX84" fmla="*/ 1149 w 10000"/>
                <a:gd name="connsiteY84" fmla="*/ 337 h 10021"/>
                <a:gd name="connsiteX85" fmla="*/ 1067 w 10000"/>
                <a:gd name="connsiteY85" fmla="*/ 433 h 10021"/>
                <a:gd name="connsiteX86" fmla="*/ 1001 w 10000"/>
                <a:gd name="connsiteY86" fmla="*/ 530 h 10021"/>
                <a:gd name="connsiteX87" fmla="*/ 927 w 10000"/>
                <a:gd name="connsiteY87" fmla="*/ 626 h 10021"/>
                <a:gd name="connsiteX88" fmla="*/ 860 w 10000"/>
                <a:gd name="connsiteY88" fmla="*/ 727 h 10021"/>
                <a:gd name="connsiteX89" fmla="*/ 793 w 10000"/>
                <a:gd name="connsiteY89" fmla="*/ 828 h 10021"/>
                <a:gd name="connsiteX90" fmla="*/ 734 w 10000"/>
                <a:gd name="connsiteY90" fmla="*/ 924 h 10021"/>
                <a:gd name="connsiteX91" fmla="*/ 675 w 10000"/>
                <a:gd name="connsiteY91" fmla="*/ 1025 h 10021"/>
                <a:gd name="connsiteX92" fmla="*/ 615 w 10000"/>
                <a:gd name="connsiteY92" fmla="*/ 1125 h 10021"/>
                <a:gd name="connsiteX93" fmla="*/ 556 w 10000"/>
                <a:gd name="connsiteY93" fmla="*/ 1231 h 10021"/>
                <a:gd name="connsiteX94" fmla="*/ 504 w 10000"/>
                <a:gd name="connsiteY94" fmla="*/ 1327 h 10021"/>
                <a:gd name="connsiteX95" fmla="*/ 452 w 10000"/>
                <a:gd name="connsiteY95" fmla="*/ 1433 h 10021"/>
                <a:gd name="connsiteX96" fmla="*/ 408 w 10000"/>
                <a:gd name="connsiteY96" fmla="*/ 1533 h 10021"/>
                <a:gd name="connsiteX97" fmla="*/ 363 w 10000"/>
                <a:gd name="connsiteY97" fmla="*/ 1639 h 10021"/>
                <a:gd name="connsiteX98" fmla="*/ 319 w 10000"/>
                <a:gd name="connsiteY98" fmla="*/ 1744 h 10021"/>
                <a:gd name="connsiteX99" fmla="*/ 282 w 10000"/>
                <a:gd name="connsiteY99" fmla="*/ 1850 h 10021"/>
                <a:gd name="connsiteX100" fmla="*/ 237 w 10000"/>
                <a:gd name="connsiteY100" fmla="*/ 1960 h 10021"/>
                <a:gd name="connsiteX101" fmla="*/ 208 w 10000"/>
                <a:gd name="connsiteY101" fmla="*/ 2065 h 10021"/>
                <a:gd name="connsiteX102" fmla="*/ 170 w 10000"/>
                <a:gd name="connsiteY102" fmla="*/ 2175 h 10021"/>
                <a:gd name="connsiteX103" fmla="*/ 148 w 10000"/>
                <a:gd name="connsiteY103" fmla="*/ 2285 h 10021"/>
                <a:gd name="connsiteX104" fmla="*/ 119 w 10000"/>
                <a:gd name="connsiteY104" fmla="*/ 2390 h 10021"/>
                <a:gd name="connsiteX105" fmla="*/ 96 w 10000"/>
                <a:gd name="connsiteY105" fmla="*/ 2500 h 10021"/>
                <a:gd name="connsiteX106" fmla="*/ 74 w 10000"/>
                <a:gd name="connsiteY106" fmla="*/ 2610 h 10021"/>
                <a:gd name="connsiteX107" fmla="*/ 52 w 10000"/>
                <a:gd name="connsiteY107" fmla="*/ 2725 h 10021"/>
                <a:gd name="connsiteX108" fmla="*/ 37 w 10000"/>
                <a:gd name="connsiteY108" fmla="*/ 2835 h 10021"/>
                <a:gd name="connsiteX109" fmla="*/ 22 w 10000"/>
                <a:gd name="connsiteY109" fmla="*/ 2945 h 10021"/>
                <a:gd name="connsiteX110" fmla="*/ 15 w 10000"/>
                <a:gd name="connsiteY110" fmla="*/ 3055 h 10021"/>
                <a:gd name="connsiteX111" fmla="*/ 7 w 10000"/>
                <a:gd name="connsiteY111" fmla="*/ 3169 h 10021"/>
                <a:gd name="connsiteX112" fmla="*/ 0 w 10000"/>
                <a:gd name="connsiteY112" fmla="*/ 3279 h 10021"/>
                <a:gd name="connsiteX113" fmla="*/ 0 w 10000"/>
                <a:gd name="connsiteY113" fmla="*/ 3394 h 10021"/>
                <a:gd name="connsiteX114" fmla="*/ 7 w 10000"/>
                <a:gd name="connsiteY114" fmla="*/ 3541 h 10021"/>
                <a:gd name="connsiteX115" fmla="*/ 7 w 10000"/>
                <a:gd name="connsiteY115" fmla="*/ 3687 h 10021"/>
                <a:gd name="connsiteX116" fmla="*/ 22 w 10000"/>
                <a:gd name="connsiteY116" fmla="*/ 3825 h 10021"/>
                <a:gd name="connsiteX117" fmla="*/ 37 w 10000"/>
                <a:gd name="connsiteY117" fmla="*/ 3967 h 10021"/>
                <a:gd name="connsiteX118" fmla="*/ 59 w 10000"/>
                <a:gd name="connsiteY118" fmla="*/ 4109 h 10021"/>
                <a:gd name="connsiteX119" fmla="*/ 89 w 10000"/>
                <a:gd name="connsiteY119" fmla="*/ 4251 h 10021"/>
                <a:gd name="connsiteX120" fmla="*/ 119 w 10000"/>
                <a:gd name="connsiteY120" fmla="*/ 4393 h 10021"/>
                <a:gd name="connsiteX121" fmla="*/ 148 w 10000"/>
                <a:gd name="connsiteY121" fmla="*/ 4535 h 10021"/>
                <a:gd name="connsiteX122" fmla="*/ 193 w 10000"/>
                <a:gd name="connsiteY122" fmla="*/ 4673 h 10021"/>
                <a:gd name="connsiteX123" fmla="*/ 237 w 10000"/>
                <a:gd name="connsiteY123" fmla="*/ 4810 h 10021"/>
                <a:gd name="connsiteX124" fmla="*/ 282 w 10000"/>
                <a:gd name="connsiteY124" fmla="*/ 4948 h 10021"/>
                <a:gd name="connsiteX125" fmla="*/ 334 w 10000"/>
                <a:gd name="connsiteY125" fmla="*/ 5085 h 10021"/>
                <a:gd name="connsiteX126" fmla="*/ 393 w 10000"/>
                <a:gd name="connsiteY126" fmla="*/ 5218 h 10021"/>
                <a:gd name="connsiteX127" fmla="*/ 452 w 10000"/>
                <a:gd name="connsiteY127" fmla="*/ 5351 h 10021"/>
                <a:gd name="connsiteX128" fmla="*/ 519 w 10000"/>
                <a:gd name="connsiteY128" fmla="*/ 5484 h 10021"/>
                <a:gd name="connsiteX129" fmla="*/ 586 w 10000"/>
                <a:gd name="connsiteY129" fmla="*/ 5617 h 10021"/>
                <a:gd name="connsiteX130" fmla="*/ 660 w 10000"/>
                <a:gd name="connsiteY130" fmla="*/ 5745 h 10021"/>
                <a:gd name="connsiteX131" fmla="*/ 741 w 10000"/>
                <a:gd name="connsiteY131" fmla="*/ 5873 h 10021"/>
                <a:gd name="connsiteX132" fmla="*/ 823 w 10000"/>
                <a:gd name="connsiteY132" fmla="*/ 6006 h 10021"/>
                <a:gd name="connsiteX133" fmla="*/ 904 w 10000"/>
                <a:gd name="connsiteY133" fmla="*/ 6130 h 10021"/>
                <a:gd name="connsiteX134" fmla="*/ 993 w 10000"/>
                <a:gd name="connsiteY134" fmla="*/ 6254 h 10021"/>
                <a:gd name="connsiteX135" fmla="*/ 1090 w 10000"/>
                <a:gd name="connsiteY135" fmla="*/ 6373 h 10021"/>
                <a:gd name="connsiteX136" fmla="*/ 1186 w 10000"/>
                <a:gd name="connsiteY136" fmla="*/ 6497 h 10021"/>
                <a:gd name="connsiteX137" fmla="*/ 1290 w 10000"/>
                <a:gd name="connsiteY137" fmla="*/ 6620 h 10021"/>
                <a:gd name="connsiteX138" fmla="*/ 1386 w 10000"/>
                <a:gd name="connsiteY138" fmla="*/ 6740 h 10021"/>
                <a:gd name="connsiteX139" fmla="*/ 1497 w 10000"/>
                <a:gd name="connsiteY139" fmla="*/ 6859 h 10021"/>
                <a:gd name="connsiteX140" fmla="*/ 1609 w 10000"/>
                <a:gd name="connsiteY140" fmla="*/ 6973 h 10021"/>
                <a:gd name="connsiteX141" fmla="*/ 1727 w 10000"/>
                <a:gd name="connsiteY141" fmla="*/ 7092 h 10021"/>
                <a:gd name="connsiteX142" fmla="*/ 1846 w 10000"/>
                <a:gd name="connsiteY142" fmla="*/ 7207 h 10021"/>
                <a:gd name="connsiteX143" fmla="*/ 1964 w 10000"/>
                <a:gd name="connsiteY143" fmla="*/ 7317 h 10021"/>
                <a:gd name="connsiteX144" fmla="*/ 2090 w 10000"/>
                <a:gd name="connsiteY144" fmla="*/ 7427 h 10021"/>
                <a:gd name="connsiteX145" fmla="*/ 2224 w 10000"/>
                <a:gd name="connsiteY145" fmla="*/ 7537 h 10021"/>
                <a:gd name="connsiteX146" fmla="*/ 2350 w 10000"/>
                <a:gd name="connsiteY146" fmla="*/ 7647 h 10021"/>
                <a:gd name="connsiteX147" fmla="*/ 2491 w 10000"/>
                <a:gd name="connsiteY147" fmla="*/ 7752 h 10021"/>
                <a:gd name="connsiteX148" fmla="*/ 2617 w 10000"/>
                <a:gd name="connsiteY148" fmla="*/ 7858 h 10021"/>
                <a:gd name="connsiteX149" fmla="*/ 2765 w 10000"/>
                <a:gd name="connsiteY149" fmla="*/ 7959 h 10021"/>
                <a:gd name="connsiteX150" fmla="*/ 2906 w 10000"/>
                <a:gd name="connsiteY150" fmla="*/ 8059 h 10021"/>
                <a:gd name="connsiteX151" fmla="*/ 3054 w 10000"/>
                <a:gd name="connsiteY151" fmla="*/ 8160 h 10021"/>
                <a:gd name="connsiteX152" fmla="*/ 3210 w 10000"/>
                <a:gd name="connsiteY152" fmla="*/ 8257 h 10021"/>
                <a:gd name="connsiteX153" fmla="*/ 3358 w 10000"/>
                <a:gd name="connsiteY153" fmla="*/ 8353 h 10021"/>
                <a:gd name="connsiteX154" fmla="*/ 3514 w 10000"/>
                <a:gd name="connsiteY154" fmla="*/ 8449 h 10021"/>
                <a:gd name="connsiteX155" fmla="*/ 3677 w 10000"/>
                <a:gd name="connsiteY155" fmla="*/ 8541 h 10021"/>
                <a:gd name="connsiteX156" fmla="*/ 3840 w 10000"/>
                <a:gd name="connsiteY156" fmla="*/ 8628 h 10021"/>
                <a:gd name="connsiteX157" fmla="*/ 4010 w 10000"/>
                <a:gd name="connsiteY157" fmla="*/ 8719 h 10021"/>
                <a:gd name="connsiteX158" fmla="*/ 4181 w 10000"/>
                <a:gd name="connsiteY158" fmla="*/ 8797 h 10021"/>
                <a:gd name="connsiteX159" fmla="*/ 4351 w 10000"/>
                <a:gd name="connsiteY159" fmla="*/ 8884 h 10021"/>
                <a:gd name="connsiteX160" fmla="*/ 4522 w 10000"/>
                <a:gd name="connsiteY160" fmla="*/ 8962 h 10021"/>
                <a:gd name="connsiteX161" fmla="*/ 4700 w 10000"/>
                <a:gd name="connsiteY161" fmla="*/ 9045 h 10021"/>
                <a:gd name="connsiteX162" fmla="*/ 4878 w 10000"/>
                <a:gd name="connsiteY162" fmla="*/ 9123 h 10021"/>
                <a:gd name="connsiteX163" fmla="*/ 5063 w 10000"/>
                <a:gd name="connsiteY163" fmla="*/ 9196 h 10021"/>
                <a:gd name="connsiteX164" fmla="*/ 5248 w 10000"/>
                <a:gd name="connsiteY164" fmla="*/ 9274 h 10021"/>
                <a:gd name="connsiteX165" fmla="*/ 5426 w 10000"/>
                <a:gd name="connsiteY165" fmla="*/ 9343 h 10021"/>
                <a:gd name="connsiteX166" fmla="*/ 5619 w 10000"/>
                <a:gd name="connsiteY166" fmla="*/ 9411 h 10021"/>
                <a:gd name="connsiteX167" fmla="*/ 5812 w 10000"/>
                <a:gd name="connsiteY167" fmla="*/ 9480 h 10021"/>
                <a:gd name="connsiteX168" fmla="*/ 6004 w 10000"/>
                <a:gd name="connsiteY168" fmla="*/ 9544 h 10021"/>
                <a:gd name="connsiteX169" fmla="*/ 6205 w 10000"/>
                <a:gd name="connsiteY169" fmla="*/ 9609 h 10021"/>
                <a:gd name="connsiteX170" fmla="*/ 6397 w 10000"/>
                <a:gd name="connsiteY170" fmla="*/ 9668 h 10021"/>
                <a:gd name="connsiteX171" fmla="*/ 6605 w 10000"/>
                <a:gd name="connsiteY171" fmla="*/ 9723 h 10021"/>
                <a:gd name="connsiteX172" fmla="*/ 6805 w 10000"/>
                <a:gd name="connsiteY172" fmla="*/ 9778 h 10021"/>
                <a:gd name="connsiteX173" fmla="*/ 7005 w 10000"/>
                <a:gd name="connsiteY173" fmla="*/ 9833 h 10021"/>
                <a:gd name="connsiteX174" fmla="*/ 7213 w 10000"/>
                <a:gd name="connsiteY174" fmla="*/ 9884 h 10021"/>
                <a:gd name="connsiteX175" fmla="*/ 7420 w 10000"/>
                <a:gd name="connsiteY175" fmla="*/ 9929 h 10021"/>
                <a:gd name="connsiteX176" fmla="*/ 7628 w 10000"/>
                <a:gd name="connsiteY176" fmla="*/ 9975 h 10021"/>
                <a:gd name="connsiteX177" fmla="*/ 7835 w 10000"/>
                <a:gd name="connsiteY177" fmla="*/ 10021 h 10021"/>
                <a:gd name="connsiteX178" fmla="*/ 7539 w 10000"/>
                <a:gd name="connsiteY178" fmla="*/ 7775 h 10021"/>
                <a:gd name="connsiteX179" fmla="*/ 10000 w 10000"/>
                <a:gd name="connsiteY179" fmla="*/ 6162 h 10021"/>
                <a:gd name="connsiteX0" fmla="*/ 10000 w 10000"/>
                <a:gd name="connsiteY0" fmla="*/ 6162 h 10021"/>
                <a:gd name="connsiteX1" fmla="*/ 10000 w 10000"/>
                <a:gd name="connsiteY1" fmla="*/ 6162 h 10021"/>
                <a:gd name="connsiteX2" fmla="*/ 9911 w 10000"/>
                <a:gd name="connsiteY2" fmla="*/ 6148 h 10021"/>
                <a:gd name="connsiteX3" fmla="*/ 9815 w 10000"/>
                <a:gd name="connsiteY3" fmla="*/ 6130 h 10021"/>
                <a:gd name="connsiteX4" fmla="*/ 9726 w 10000"/>
                <a:gd name="connsiteY4" fmla="*/ 6112 h 10021"/>
                <a:gd name="connsiteX5" fmla="*/ 9637 w 10000"/>
                <a:gd name="connsiteY5" fmla="*/ 6089 h 10021"/>
                <a:gd name="connsiteX6" fmla="*/ 9548 w 10000"/>
                <a:gd name="connsiteY6" fmla="*/ 6070 h 10021"/>
                <a:gd name="connsiteX7" fmla="*/ 9466 w 10000"/>
                <a:gd name="connsiteY7" fmla="*/ 6048 h 10021"/>
                <a:gd name="connsiteX8" fmla="*/ 9377 w 10000"/>
                <a:gd name="connsiteY8" fmla="*/ 6025 h 10021"/>
                <a:gd name="connsiteX9" fmla="*/ 9288 w 10000"/>
                <a:gd name="connsiteY9" fmla="*/ 6002 h 10021"/>
                <a:gd name="connsiteX10" fmla="*/ 9118 w 10000"/>
                <a:gd name="connsiteY10" fmla="*/ 5951 h 10021"/>
                <a:gd name="connsiteX11" fmla="*/ 8955 w 10000"/>
                <a:gd name="connsiteY11" fmla="*/ 5896 h 10021"/>
                <a:gd name="connsiteX12" fmla="*/ 8792 w 10000"/>
                <a:gd name="connsiteY12" fmla="*/ 5837 h 10021"/>
                <a:gd name="connsiteX13" fmla="*/ 8636 w 10000"/>
                <a:gd name="connsiteY13" fmla="*/ 5773 h 10021"/>
                <a:gd name="connsiteX14" fmla="*/ 8480 w 10000"/>
                <a:gd name="connsiteY14" fmla="*/ 5708 h 10021"/>
                <a:gd name="connsiteX15" fmla="*/ 8340 w 10000"/>
                <a:gd name="connsiteY15" fmla="*/ 5640 h 10021"/>
                <a:gd name="connsiteX16" fmla="*/ 8199 w 10000"/>
                <a:gd name="connsiteY16" fmla="*/ 5566 h 10021"/>
                <a:gd name="connsiteX17" fmla="*/ 8058 w 10000"/>
                <a:gd name="connsiteY17" fmla="*/ 5488 h 10021"/>
                <a:gd name="connsiteX18" fmla="*/ 7924 w 10000"/>
                <a:gd name="connsiteY18" fmla="*/ 5406 h 10021"/>
                <a:gd name="connsiteX19" fmla="*/ 7798 w 10000"/>
                <a:gd name="connsiteY19" fmla="*/ 5323 h 10021"/>
                <a:gd name="connsiteX20" fmla="*/ 7672 w 10000"/>
                <a:gd name="connsiteY20" fmla="*/ 5236 h 10021"/>
                <a:gd name="connsiteX21" fmla="*/ 7554 w 10000"/>
                <a:gd name="connsiteY21" fmla="*/ 5149 h 10021"/>
                <a:gd name="connsiteX22" fmla="*/ 7450 w 10000"/>
                <a:gd name="connsiteY22" fmla="*/ 5053 h 10021"/>
                <a:gd name="connsiteX23" fmla="*/ 7346 w 10000"/>
                <a:gd name="connsiteY23" fmla="*/ 4957 h 10021"/>
                <a:gd name="connsiteX24" fmla="*/ 7250 w 10000"/>
                <a:gd name="connsiteY24" fmla="*/ 4861 h 10021"/>
                <a:gd name="connsiteX25" fmla="*/ 7161 w 10000"/>
                <a:gd name="connsiteY25" fmla="*/ 4760 h 10021"/>
                <a:gd name="connsiteX26" fmla="*/ 7072 w 10000"/>
                <a:gd name="connsiteY26" fmla="*/ 4659 h 10021"/>
                <a:gd name="connsiteX27" fmla="*/ 6990 w 10000"/>
                <a:gd name="connsiteY27" fmla="*/ 4549 h 10021"/>
                <a:gd name="connsiteX28" fmla="*/ 6953 w 10000"/>
                <a:gd name="connsiteY28" fmla="*/ 4499 h 10021"/>
                <a:gd name="connsiteX29" fmla="*/ 6916 w 10000"/>
                <a:gd name="connsiteY29" fmla="*/ 4444 h 10021"/>
                <a:gd name="connsiteX30" fmla="*/ 6887 w 10000"/>
                <a:gd name="connsiteY30" fmla="*/ 4389 h 10021"/>
                <a:gd name="connsiteX31" fmla="*/ 6850 w 10000"/>
                <a:gd name="connsiteY31" fmla="*/ 4334 h 10021"/>
                <a:gd name="connsiteX32" fmla="*/ 6820 w 10000"/>
                <a:gd name="connsiteY32" fmla="*/ 4279 h 10021"/>
                <a:gd name="connsiteX33" fmla="*/ 6790 w 10000"/>
                <a:gd name="connsiteY33" fmla="*/ 4224 h 10021"/>
                <a:gd name="connsiteX34" fmla="*/ 6768 w 10000"/>
                <a:gd name="connsiteY34" fmla="*/ 4164 h 10021"/>
                <a:gd name="connsiteX35" fmla="*/ 6738 w 10000"/>
                <a:gd name="connsiteY35" fmla="*/ 4109 h 10021"/>
                <a:gd name="connsiteX36" fmla="*/ 6723 w 10000"/>
                <a:gd name="connsiteY36" fmla="*/ 4049 h 10021"/>
                <a:gd name="connsiteX37" fmla="*/ 6694 w 10000"/>
                <a:gd name="connsiteY37" fmla="*/ 3994 h 10021"/>
                <a:gd name="connsiteX38" fmla="*/ 6679 w 10000"/>
                <a:gd name="connsiteY38" fmla="*/ 3935 h 10021"/>
                <a:gd name="connsiteX39" fmla="*/ 6664 w 10000"/>
                <a:gd name="connsiteY39" fmla="*/ 3875 h 10021"/>
                <a:gd name="connsiteX40" fmla="*/ 6649 w 10000"/>
                <a:gd name="connsiteY40" fmla="*/ 3816 h 10021"/>
                <a:gd name="connsiteX41" fmla="*/ 6635 w 10000"/>
                <a:gd name="connsiteY41" fmla="*/ 3761 h 10021"/>
                <a:gd name="connsiteX42" fmla="*/ 6620 w 10000"/>
                <a:gd name="connsiteY42" fmla="*/ 3701 h 10021"/>
                <a:gd name="connsiteX43" fmla="*/ 6612 w 10000"/>
                <a:gd name="connsiteY43" fmla="*/ 3642 h 10021"/>
                <a:gd name="connsiteX44" fmla="*/ 6605 w 10000"/>
                <a:gd name="connsiteY44" fmla="*/ 3582 h 10021"/>
                <a:gd name="connsiteX45" fmla="*/ 6597 w 10000"/>
                <a:gd name="connsiteY45" fmla="*/ 3518 h 10021"/>
                <a:gd name="connsiteX46" fmla="*/ 6597 w 10000"/>
                <a:gd name="connsiteY46" fmla="*/ 3458 h 10021"/>
                <a:gd name="connsiteX47" fmla="*/ 6590 w 10000"/>
                <a:gd name="connsiteY47" fmla="*/ 3394 h 10021"/>
                <a:gd name="connsiteX48" fmla="*/ 6597 w 10000"/>
                <a:gd name="connsiteY48" fmla="*/ 3334 h 10021"/>
                <a:gd name="connsiteX49" fmla="*/ 6605 w 10000"/>
                <a:gd name="connsiteY49" fmla="*/ 3266 h 10021"/>
                <a:gd name="connsiteX50" fmla="*/ 6605 w 10000"/>
                <a:gd name="connsiteY50" fmla="*/ 3202 h 10021"/>
                <a:gd name="connsiteX51" fmla="*/ 6612 w 10000"/>
                <a:gd name="connsiteY51" fmla="*/ 3137 h 10021"/>
                <a:gd name="connsiteX52" fmla="*/ 6620 w 10000"/>
                <a:gd name="connsiteY52" fmla="*/ 3073 h 10021"/>
                <a:gd name="connsiteX53" fmla="*/ 6635 w 10000"/>
                <a:gd name="connsiteY53" fmla="*/ 3014 h 10021"/>
                <a:gd name="connsiteX54" fmla="*/ 6649 w 10000"/>
                <a:gd name="connsiteY54" fmla="*/ 2950 h 10021"/>
                <a:gd name="connsiteX55" fmla="*/ 6664 w 10000"/>
                <a:gd name="connsiteY55" fmla="*/ 2890 h 10021"/>
                <a:gd name="connsiteX56" fmla="*/ 6686 w 10000"/>
                <a:gd name="connsiteY56" fmla="*/ 2826 h 10021"/>
                <a:gd name="connsiteX57" fmla="*/ 6709 w 10000"/>
                <a:gd name="connsiteY57" fmla="*/ 2766 h 10021"/>
                <a:gd name="connsiteX58" fmla="*/ 6731 w 10000"/>
                <a:gd name="connsiteY58" fmla="*/ 2707 h 10021"/>
                <a:gd name="connsiteX59" fmla="*/ 6753 w 10000"/>
                <a:gd name="connsiteY59" fmla="*/ 2642 h 10021"/>
                <a:gd name="connsiteX60" fmla="*/ 6783 w 10000"/>
                <a:gd name="connsiteY60" fmla="*/ 2587 h 10021"/>
                <a:gd name="connsiteX61" fmla="*/ 6812 w 10000"/>
                <a:gd name="connsiteY61" fmla="*/ 2528 h 10021"/>
                <a:gd name="connsiteX62" fmla="*/ 6842 w 10000"/>
                <a:gd name="connsiteY62" fmla="*/ 2468 h 10021"/>
                <a:gd name="connsiteX63" fmla="*/ 6879 w 10000"/>
                <a:gd name="connsiteY63" fmla="*/ 2409 h 10021"/>
                <a:gd name="connsiteX64" fmla="*/ 6909 w 10000"/>
                <a:gd name="connsiteY64" fmla="*/ 2354 h 10021"/>
                <a:gd name="connsiteX65" fmla="*/ 6946 w 10000"/>
                <a:gd name="connsiteY65" fmla="*/ 2294 h 10021"/>
                <a:gd name="connsiteX66" fmla="*/ 6990 w 10000"/>
                <a:gd name="connsiteY66" fmla="*/ 2239 h 10021"/>
                <a:gd name="connsiteX67" fmla="*/ 7027 w 10000"/>
                <a:gd name="connsiteY67" fmla="*/ 2184 h 10021"/>
                <a:gd name="connsiteX68" fmla="*/ 7072 w 10000"/>
                <a:gd name="connsiteY68" fmla="*/ 2129 h 10021"/>
                <a:gd name="connsiteX69" fmla="*/ 7109 w 10000"/>
                <a:gd name="connsiteY69" fmla="*/ 2074 h 10021"/>
                <a:gd name="connsiteX70" fmla="*/ 7161 w 10000"/>
                <a:gd name="connsiteY70" fmla="*/ 2024 h 10021"/>
                <a:gd name="connsiteX71" fmla="*/ 7213 w 10000"/>
                <a:gd name="connsiteY71" fmla="*/ 1969 h 10021"/>
                <a:gd name="connsiteX72" fmla="*/ 7257 w 10000"/>
                <a:gd name="connsiteY72" fmla="*/ 1914 h 10021"/>
                <a:gd name="connsiteX73" fmla="*/ 7309 w 10000"/>
                <a:gd name="connsiteY73" fmla="*/ 1863 h 10021"/>
                <a:gd name="connsiteX74" fmla="*/ 7361 w 10000"/>
                <a:gd name="connsiteY74" fmla="*/ 1813 h 10021"/>
                <a:gd name="connsiteX75" fmla="*/ 7413 w 10000"/>
                <a:gd name="connsiteY75" fmla="*/ 1763 h 10021"/>
                <a:gd name="connsiteX76" fmla="*/ 7472 w 10000"/>
                <a:gd name="connsiteY76" fmla="*/ 1712 h 10021"/>
                <a:gd name="connsiteX77" fmla="*/ 7524 w 10000"/>
                <a:gd name="connsiteY77" fmla="*/ 1666 h 10021"/>
                <a:gd name="connsiteX78" fmla="*/ 7583 w 10000"/>
                <a:gd name="connsiteY78" fmla="*/ 1620 h 10021"/>
                <a:gd name="connsiteX79" fmla="*/ 7643 w 10000"/>
                <a:gd name="connsiteY79" fmla="*/ 1570 h 10021"/>
                <a:gd name="connsiteX80" fmla="*/ 5390 w 10000"/>
                <a:gd name="connsiteY80" fmla="*/ 14 h 10021"/>
                <a:gd name="connsiteX81" fmla="*/ 1401 w 10000"/>
                <a:gd name="connsiteY81" fmla="*/ 0 h 10021"/>
                <a:gd name="connsiteX82" fmla="*/ 1305 w 10000"/>
                <a:gd name="connsiteY82" fmla="*/ 149 h 10021"/>
                <a:gd name="connsiteX83" fmla="*/ 1223 w 10000"/>
                <a:gd name="connsiteY83" fmla="*/ 241 h 10021"/>
                <a:gd name="connsiteX84" fmla="*/ 1149 w 10000"/>
                <a:gd name="connsiteY84" fmla="*/ 337 h 10021"/>
                <a:gd name="connsiteX85" fmla="*/ 1067 w 10000"/>
                <a:gd name="connsiteY85" fmla="*/ 433 h 10021"/>
                <a:gd name="connsiteX86" fmla="*/ 1001 w 10000"/>
                <a:gd name="connsiteY86" fmla="*/ 530 h 10021"/>
                <a:gd name="connsiteX87" fmla="*/ 927 w 10000"/>
                <a:gd name="connsiteY87" fmla="*/ 626 h 10021"/>
                <a:gd name="connsiteX88" fmla="*/ 860 w 10000"/>
                <a:gd name="connsiteY88" fmla="*/ 727 h 10021"/>
                <a:gd name="connsiteX89" fmla="*/ 793 w 10000"/>
                <a:gd name="connsiteY89" fmla="*/ 828 h 10021"/>
                <a:gd name="connsiteX90" fmla="*/ 734 w 10000"/>
                <a:gd name="connsiteY90" fmla="*/ 924 h 10021"/>
                <a:gd name="connsiteX91" fmla="*/ 675 w 10000"/>
                <a:gd name="connsiteY91" fmla="*/ 1025 h 10021"/>
                <a:gd name="connsiteX92" fmla="*/ 615 w 10000"/>
                <a:gd name="connsiteY92" fmla="*/ 1125 h 10021"/>
                <a:gd name="connsiteX93" fmla="*/ 556 w 10000"/>
                <a:gd name="connsiteY93" fmla="*/ 1231 h 10021"/>
                <a:gd name="connsiteX94" fmla="*/ 504 w 10000"/>
                <a:gd name="connsiteY94" fmla="*/ 1327 h 10021"/>
                <a:gd name="connsiteX95" fmla="*/ 452 w 10000"/>
                <a:gd name="connsiteY95" fmla="*/ 1433 h 10021"/>
                <a:gd name="connsiteX96" fmla="*/ 408 w 10000"/>
                <a:gd name="connsiteY96" fmla="*/ 1533 h 10021"/>
                <a:gd name="connsiteX97" fmla="*/ 363 w 10000"/>
                <a:gd name="connsiteY97" fmla="*/ 1639 h 10021"/>
                <a:gd name="connsiteX98" fmla="*/ 319 w 10000"/>
                <a:gd name="connsiteY98" fmla="*/ 1744 h 10021"/>
                <a:gd name="connsiteX99" fmla="*/ 282 w 10000"/>
                <a:gd name="connsiteY99" fmla="*/ 1850 h 10021"/>
                <a:gd name="connsiteX100" fmla="*/ 237 w 10000"/>
                <a:gd name="connsiteY100" fmla="*/ 1960 h 10021"/>
                <a:gd name="connsiteX101" fmla="*/ 208 w 10000"/>
                <a:gd name="connsiteY101" fmla="*/ 2065 h 10021"/>
                <a:gd name="connsiteX102" fmla="*/ 170 w 10000"/>
                <a:gd name="connsiteY102" fmla="*/ 2175 h 10021"/>
                <a:gd name="connsiteX103" fmla="*/ 148 w 10000"/>
                <a:gd name="connsiteY103" fmla="*/ 2285 h 10021"/>
                <a:gd name="connsiteX104" fmla="*/ 119 w 10000"/>
                <a:gd name="connsiteY104" fmla="*/ 2390 h 10021"/>
                <a:gd name="connsiteX105" fmla="*/ 96 w 10000"/>
                <a:gd name="connsiteY105" fmla="*/ 2500 h 10021"/>
                <a:gd name="connsiteX106" fmla="*/ 74 w 10000"/>
                <a:gd name="connsiteY106" fmla="*/ 2610 h 10021"/>
                <a:gd name="connsiteX107" fmla="*/ 52 w 10000"/>
                <a:gd name="connsiteY107" fmla="*/ 2725 h 10021"/>
                <a:gd name="connsiteX108" fmla="*/ 37 w 10000"/>
                <a:gd name="connsiteY108" fmla="*/ 2835 h 10021"/>
                <a:gd name="connsiteX109" fmla="*/ 22 w 10000"/>
                <a:gd name="connsiteY109" fmla="*/ 2945 h 10021"/>
                <a:gd name="connsiteX110" fmla="*/ 15 w 10000"/>
                <a:gd name="connsiteY110" fmla="*/ 3055 h 10021"/>
                <a:gd name="connsiteX111" fmla="*/ 7 w 10000"/>
                <a:gd name="connsiteY111" fmla="*/ 3169 h 10021"/>
                <a:gd name="connsiteX112" fmla="*/ 0 w 10000"/>
                <a:gd name="connsiteY112" fmla="*/ 3279 h 10021"/>
                <a:gd name="connsiteX113" fmla="*/ 0 w 10000"/>
                <a:gd name="connsiteY113" fmla="*/ 3394 h 10021"/>
                <a:gd name="connsiteX114" fmla="*/ 7 w 10000"/>
                <a:gd name="connsiteY114" fmla="*/ 3541 h 10021"/>
                <a:gd name="connsiteX115" fmla="*/ 7 w 10000"/>
                <a:gd name="connsiteY115" fmla="*/ 3687 h 10021"/>
                <a:gd name="connsiteX116" fmla="*/ 22 w 10000"/>
                <a:gd name="connsiteY116" fmla="*/ 3825 h 10021"/>
                <a:gd name="connsiteX117" fmla="*/ 37 w 10000"/>
                <a:gd name="connsiteY117" fmla="*/ 3967 h 10021"/>
                <a:gd name="connsiteX118" fmla="*/ 59 w 10000"/>
                <a:gd name="connsiteY118" fmla="*/ 4109 h 10021"/>
                <a:gd name="connsiteX119" fmla="*/ 89 w 10000"/>
                <a:gd name="connsiteY119" fmla="*/ 4251 h 10021"/>
                <a:gd name="connsiteX120" fmla="*/ 119 w 10000"/>
                <a:gd name="connsiteY120" fmla="*/ 4393 h 10021"/>
                <a:gd name="connsiteX121" fmla="*/ 148 w 10000"/>
                <a:gd name="connsiteY121" fmla="*/ 4535 h 10021"/>
                <a:gd name="connsiteX122" fmla="*/ 193 w 10000"/>
                <a:gd name="connsiteY122" fmla="*/ 4673 h 10021"/>
                <a:gd name="connsiteX123" fmla="*/ 237 w 10000"/>
                <a:gd name="connsiteY123" fmla="*/ 4810 h 10021"/>
                <a:gd name="connsiteX124" fmla="*/ 282 w 10000"/>
                <a:gd name="connsiteY124" fmla="*/ 4948 h 10021"/>
                <a:gd name="connsiteX125" fmla="*/ 334 w 10000"/>
                <a:gd name="connsiteY125" fmla="*/ 5085 h 10021"/>
                <a:gd name="connsiteX126" fmla="*/ 393 w 10000"/>
                <a:gd name="connsiteY126" fmla="*/ 5218 h 10021"/>
                <a:gd name="connsiteX127" fmla="*/ 452 w 10000"/>
                <a:gd name="connsiteY127" fmla="*/ 5351 h 10021"/>
                <a:gd name="connsiteX128" fmla="*/ 519 w 10000"/>
                <a:gd name="connsiteY128" fmla="*/ 5484 h 10021"/>
                <a:gd name="connsiteX129" fmla="*/ 586 w 10000"/>
                <a:gd name="connsiteY129" fmla="*/ 5617 h 10021"/>
                <a:gd name="connsiteX130" fmla="*/ 660 w 10000"/>
                <a:gd name="connsiteY130" fmla="*/ 5745 h 10021"/>
                <a:gd name="connsiteX131" fmla="*/ 741 w 10000"/>
                <a:gd name="connsiteY131" fmla="*/ 5873 h 10021"/>
                <a:gd name="connsiteX132" fmla="*/ 823 w 10000"/>
                <a:gd name="connsiteY132" fmla="*/ 6006 h 10021"/>
                <a:gd name="connsiteX133" fmla="*/ 904 w 10000"/>
                <a:gd name="connsiteY133" fmla="*/ 6130 h 10021"/>
                <a:gd name="connsiteX134" fmla="*/ 993 w 10000"/>
                <a:gd name="connsiteY134" fmla="*/ 6254 h 10021"/>
                <a:gd name="connsiteX135" fmla="*/ 1090 w 10000"/>
                <a:gd name="connsiteY135" fmla="*/ 6373 h 10021"/>
                <a:gd name="connsiteX136" fmla="*/ 1186 w 10000"/>
                <a:gd name="connsiteY136" fmla="*/ 6497 h 10021"/>
                <a:gd name="connsiteX137" fmla="*/ 1290 w 10000"/>
                <a:gd name="connsiteY137" fmla="*/ 6620 h 10021"/>
                <a:gd name="connsiteX138" fmla="*/ 1386 w 10000"/>
                <a:gd name="connsiteY138" fmla="*/ 6740 h 10021"/>
                <a:gd name="connsiteX139" fmla="*/ 1497 w 10000"/>
                <a:gd name="connsiteY139" fmla="*/ 6859 h 10021"/>
                <a:gd name="connsiteX140" fmla="*/ 1609 w 10000"/>
                <a:gd name="connsiteY140" fmla="*/ 6973 h 10021"/>
                <a:gd name="connsiteX141" fmla="*/ 1727 w 10000"/>
                <a:gd name="connsiteY141" fmla="*/ 7092 h 10021"/>
                <a:gd name="connsiteX142" fmla="*/ 1846 w 10000"/>
                <a:gd name="connsiteY142" fmla="*/ 7207 h 10021"/>
                <a:gd name="connsiteX143" fmla="*/ 1964 w 10000"/>
                <a:gd name="connsiteY143" fmla="*/ 7317 h 10021"/>
                <a:gd name="connsiteX144" fmla="*/ 2090 w 10000"/>
                <a:gd name="connsiteY144" fmla="*/ 7427 h 10021"/>
                <a:gd name="connsiteX145" fmla="*/ 2224 w 10000"/>
                <a:gd name="connsiteY145" fmla="*/ 7537 h 10021"/>
                <a:gd name="connsiteX146" fmla="*/ 2350 w 10000"/>
                <a:gd name="connsiteY146" fmla="*/ 7647 h 10021"/>
                <a:gd name="connsiteX147" fmla="*/ 2491 w 10000"/>
                <a:gd name="connsiteY147" fmla="*/ 7752 h 10021"/>
                <a:gd name="connsiteX148" fmla="*/ 2617 w 10000"/>
                <a:gd name="connsiteY148" fmla="*/ 7858 h 10021"/>
                <a:gd name="connsiteX149" fmla="*/ 2765 w 10000"/>
                <a:gd name="connsiteY149" fmla="*/ 7959 h 10021"/>
                <a:gd name="connsiteX150" fmla="*/ 2906 w 10000"/>
                <a:gd name="connsiteY150" fmla="*/ 8059 h 10021"/>
                <a:gd name="connsiteX151" fmla="*/ 3054 w 10000"/>
                <a:gd name="connsiteY151" fmla="*/ 8160 h 10021"/>
                <a:gd name="connsiteX152" fmla="*/ 3210 w 10000"/>
                <a:gd name="connsiteY152" fmla="*/ 8257 h 10021"/>
                <a:gd name="connsiteX153" fmla="*/ 3358 w 10000"/>
                <a:gd name="connsiteY153" fmla="*/ 8353 h 10021"/>
                <a:gd name="connsiteX154" fmla="*/ 3514 w 10000"/>
                <a:gd name="connsiteY154" fmla="*/ 8449 h 10021"/>
                <a:gd name="connsiteX155" fmla="*/ 3677 w 10000"/>
                <a:gd name="connsiteY155" fmla="*/ 8541 h 10021"/>
                <a:gd name="connsiteX156" fmla="*/ 3840 w 10000"/>
                <a:gd name="connsiteY156" fmla="*/ 8628 h 10021"/>
                <a:gd name="connsiteX157" fmla="*/ 4010 w 10000"/>
                <a:gd name="connsiteY157" fmla="*/ 8719 h 10021"/>
                <a:gd name="connsiteX158" fmla="*/ 4181 w 10000"/>
                <a:gd name="connsiteY158" fmla="*/ 8797 h 10021"/>
                <a:gd name="connsiteX159" fmla="*/ 4351 w 10000"/>
                <a:gd name="connsiteY159" fmla="*/ 8884 h 10021"/>
                <a:gd name="connsiteX160" fmla="*/ 4522 w 10000"/>
                <a:gd name="connsiteY160" fmla="*/ 8962 h 10021"/>
                <a:gd name="connsiteX161" fmla="*/ 4700 w 10000"/>
                <a:gd name="connsiteY161" fmla="*/ 9045 h 10021"/>
                <a:gd name="connsiteX162" fmla="*/ 4878 w 10000"/>
                <a:gd name="connsiteY162" fmla="*/ 9123 h 10021"/>
                <a:gd name="connsiteX163" fmla="*/ 5063 w 10000"/>
                <a:gd name="connsiteY163" fmla="*/ 9196 h 10021"/>
                <a:gd name="connsiteX164" fmla="*/ 5248 w 10000"/>
                <a:gd name="connsiteY164" fmla="*/ 9274 h 10021"/>
                <a:gd name="connsiteX165" fmla="*/ 5426 w 10000"/>
                <a:gd name="connsiteY165" fmla="*/ 9343 h 10021"/>
                <a:gd name="connsiteX166" fmla="*/ 5619 w 10000"/>
                <a:gd name="connsiteY166" fmla="*/ 9411 h 10021"/>
                <a:gd name="connsiteX167" fmla="*/ 5812 w 10000"/>
                <a:gd name="connsiteY167" fmla="*/ 9480 h 10021"/>
                <a:gd name="connsiteX168" fmla="*/ 6004 w 10000"/>
                <a:gd name="connsiteY168" fmla="*/ 9544 h 10021"/>
                <a:gd name="connsiteX169" fmla="*/ 6205 w 10000"/>
                <a:gd name="connsiteY169" fmla="*/ 9609 h 10021"/>
                <a:gd name="connsiteX170" fmla="*/ 6397 w 10000"/>
                <a:gd name="connsiteY170" fmla="*/ 9668 h 10021"/>
                <a:gd name="connsiteX171" fmla="*/ 6605 w 10000"/>
                <a:gd name="connsiteY171" fmla="*/ 9723 h 10021"/>
                <a:gd name="connsiteX172" fmla="*/ 6805 w 10000"/>
                <a:gd name="connsiteY172" fmla="*/ 9778 h 10021"/>
                <a:gd name="connsiteX173" fmla="*/ 7005 w 10000"/>
                <a:gd name="connsiteY173" fmla="*/ 9833 h 10021"/>
                <a:gd name="connsiteX174" fmla="*/ 7213 w 10000"/>
                <a:gd name="connsiteY174" fmla="*/ 9884 h 10021"/>
                <a:gd name="connsiteX175" fmla="*/ 7420 w 10000"/>
                <a:gd name="connsiteY175" fmla="*/ 9929 h 10021"/>
                <a:gd name="connsiteX176" fmla="*/ 7628 w 10000"/>
                <a:gd name="connsiteY176" fmla="*/ 9975 h 10021"/>
                <a:gd name="connsiteX177" fmla="*/ 7835 w 10000"/>
                <a:gd name="connsiteY177" fmla="*/ 10021 h 10021"/>
                <a:gd name="connsiteX178" fmla="*/ 7539 w 10000"/>
                <a:gd name="connsiteY178" fmla="*/ 7775 h 10021"/>
                <a:gd name="connsiteX179" fmla="*/ 10000 w 10000"/>
                <a:gd name="connsiteY179" fmla="*/ 6162 h 10021"/>
                <a:gd name="connsiteX0" fmla="*/ 10000 w 10000"/>
                <a:gd name="connsiteY0" fmla="*/ 6148 h 10007"/>
                <a:gd name="connsiteX1" fmla="*/ 10000 w 10000"/>
                <a:gd name="connsiteY1" fmla="*/ 6148 h 10007"/>
                <a:gd name="connsiteX2" fmla="*/ 9911 w 10000"/>
                <a:gd name="connsiteY2" fmla="*/ 6134 h 10007"/>
                <a:gd name="connsiteX3" fmla="*/ 9815 w 10000"/>
                <a:gd name="connsiteY3" fmla="*/ 6116 h 10007"/>
                <a:gd name="connsiteX4" fmla="*/ 9726 w 10000"/>
                <a:gd name="connsiteY4" fmla="*/ 6098 h 10007"/>
                <a:gd name="connsiteX5" fmla="*/ 9637 w 10000"/>
                <a:gd name="connsiteY5" fmla="*/ 6075 h 10007"/>
                <a:gd name="connsiteX6" fmla="*/ 9548 w 10000"/>
                <a:gd name="connsiteY6" fmla="*/ 6056 h 10007"/>
                <a:gd name="connsiteX7" fmla="*/ 9466 w 10000"/>
                <a:gd name="connsiteY7" fmla="*/ 6034 h 10007"/>
                <a:gd name="connsiteX8" fmla="*/ 9377 w 10000"/>
                <a:gd name="connsiteY8" fmla="*/ 6011 h 10007"/>
                <a:gd name="connsiteX9" fmla="*/ 9288 w 10000"/>
                <a:gd name="connsiteY9" fmla="*/ 5988 h 10007"/>
                <a:gd name="connsiteX10" fmla="*/ 9118 w 10000"/>
                <a:gd name="connsiteY10" fmla="*/ 5937 h 10007"/>
                <a:gd name="connsiteX11" fmla="*/ 8955 w 10000"/>
                <a:gd name="connsiteY11" fmla="*/ 5882 h 10007"/>
                <a:gd name="connsiteX12" fmla="*/ 8792 w 10000"/>
                <a:gd name="connsiteY12" fmla="*/ 5823 h 10007"/>
                <a:gd name="connsiteX13" fmla="*/ 8636 w 10000"/>
                <a:gd name="connsiteY13" fmla="*/ 5759 h 10007"/>
                <a:gd name="connsiteX14" fmla="*/ 8480 w 10000"/>
                <a:gd name="connsiteY14" fmla="*/ 5694 h 10007"/>
                <a:gd name="connsiteX15" fmla="*/ 8340 w 10000"/>
                <a:gd name="connsiteY15" fmla="*/ 5626 h 10007"/>
                <a:gd name="connsiteX16" fmla="*/ 8199 w 10000"/>
                <a:gd name="connsiteY16" fmla="*/ 5552 h 10007"/>
                <a:gd name="connsiteX17" fmla="*/ 8058 w 10000"/>
                <a:gd name="connsiteY17" fmla="*/ 5474 h 10007"/>
                <a:gd name="connsiteX18" fmla="*/ 7924 w 10000"/>
                <a:gd name="connsiteY18" fmla="*/ 5392 h 10007"/>
                <a:gd name="connsiteX19" fmla="*/ 7798 w 10000"/>
                <a:gd name="connsiteY19" fmla="*/ 5309 h 10007"/>
                <a:gd name="connsiteX20" fmla="*/ 7672 w 10000"/>
                <a:gd name="connsiteY20" fmla="*/ 5222 h 10007"/>
                <a:gd name="connsiteX21" fmla="*/ 7554 w 10000"/>
                <a:gd name="connsiteY21" fmla="*/ 5135 h 10007"/>
                <a:gd name="connsiteX22" fmla="*/ 7450 w 10000"/>
                <a:gd name="connsiteY22" fmla="*/ 5039 h 10007"/>
                <a:gd name="connsiteX23" fmla="*/ 7346 w 10000"/>
                <a:gd name="connsiteY23" fmla="*/ 4943 h 10007"/>
                <a:gd name="connsiteX24" fmla="*/ 7250 w 10000"/>
                <a:gd name="connsiteY24" fmla="*/ 4847 h 10007"/>
                <a:gd name="connsiteX25" fmla="*/ 7161 w 10000"/>
                <a:gd name="connsiteY25" fmla="*/ 4746 h 10007"/>
                <a:gd name="connsiteX26" fmla="*/ 7072 w 10000"/>
                <a:gd name="connsiteY26" fmla="*/ 4645 h 10007"/>
                <a:gd name="connsiteX27" fmla="*/ 6990 w 10000"/>
                <a:gd name="connsiteY27" fmla="*/ 4535 h 10007"/>
                <a:gd name="connsiteX28" fmla="*/ 6953 w 10000"/>
                <a:gd name="connsiteY28" fmla="*/ 4485 h 10007"/>
                <a:gd name="connsiteX29" fmla="*/ 6916 w 10000"/>
                <a:gd name="connsiteY29" fmla="*/ 4430 h 10007"/>
                <a:gd name="connsiteX30" fmla="*/ 6887 w 10000"/>
                <a:gd name="connsiteY30" fmla="*/ 4375 h 10007"/>
                <a:gd name="connsiteX31" fmla="*/ 6850 w 10000"/>
                <a:gd name="connsiteY31" fmla="*/ 4320 h 10007"/>
                <a:gd name="connsiteX32" fmla="*/ 6820 w 10000"/>
                <a:gd name="connsiteY32" fmla="*/ 4265 h 10007"/>
                <a:gd name="connsiteX33" fmla="*/ 6790 w 10000"/>
                <a:gd name="connsiteY33" fmla="*/ 4210 h 10007"/>
                <a:gd name="connsiteX34" fmla="*/ 6768 w 10000"/>
                <a:gd name="connsiteY34" fmla="*/ 4150 h 10007"/>
                <a:gd name="connsiteX35" fmla="*/ 6738 w 10000"/>
                <a:gd name="connsiteY35" fmla="*/ 4095 h 10007"/>
                <a:gd name="connsiteX36" fmla="*/ 6723 w 10000"/>
                <a:gd name="connsiteY36" fmla="*/ 4035 h 10007"/>
                <a:gd name="connsiteX37" fmla="*/ 6694 w 10000"/>
                <a:gd name="connsiteY37" fmla="*/ 3980 h 10007"/>
                <a:gd name="connsiteX38" fmla="*/ 6679 w 10000"/>
                <a:gd name="connsiteY38" fmla="*/ 3921 h 10007"/>
                <a:gd name="connsiteX39" fmla="*/ 6664 w 10000"/>
                <a:gd name="connsiteY39" fmla="*/ 3861 h 10007"/>
                <a:gd name="connsiteX40" fmla="*/ 6649 w 10000"/>
                <a:gd name="connsiteY40" fmla="*/ 3802 h 10007"/>
                <a:gd name="connsiteX41" fmla="*/ 6635 w 10000"/>
                <a:gd name="connsiteY41" fmla="*/ 3747 h 10007"/>
                <a:gd name="connsiteX42" fmla="*/ 6620 w 10000"/>
                <a:gd name="connsiteY42" fmla="*/ 3687 h 10007"/>
                <a:gd name="connsiteX43" fmla="*/ 6612 w 10000"/>
                <a:gd name="connsiteY43" fmla="*/ 3628 h 10007"/>
                <a:gd name="connsiteX44" fmla="*/ 6605 w 10000"/>
                <a:gd name="connsiteY44" fmla="*/ 3568 h 10007"/>
                <a:gd name="connsiteX45" fmla="*/ 6597 w 10000"/>
                <a:gd name="connsiteY45" fmla="*/ 3504 h 10007"/>
                <a:gd name="connsiteX46" fmla="*/ 6597 w 10000"/>
                <a:gd name="connsiteY46" fmla="*/ 3444 h 10007"/>
                <a:gd name="connsiteX47" fmla="*/ 6590 w 10000"/>
                <a:gd name="connsiteY47" fmla="*/ 3380 h 10007"/>
                <a:gd name="connsiteX48" fmla="*/ 6597 w 10000"/>
                <a:gd name="connsiteY48" fmla="*/ 3320 h 10007"/>
                <a:gd name="connsiteX49" fmla="*/ 6605 w 10000"/>
                <a:gd name="connsiteY49" fmla="*/ 3252 h 10007"/>
                <a:gd name="connsiteX50" fmla="*/ 6605 w 10000"/>
                <a:gd name="connsiteY50" fmla="*/ 3188 h 10007"/>
                <a:gd name="connsiteX51" fmla="*/ 6612 w 10000"/>
                <a:gd name="connsiteY51" fmla="*/ 3123 h 10007"/>
                <a:gd name="connsiteX52" fmla="*/ 6620 w 10000"/>
                <a:gd name="connsiteY52" fmla="*/ 3059 h 10007"/>
                <a:gd name="connsiteX53" fmla="*/ 6635 w 10000"/>
                <a:gd name="connsiteY53" fmla="*/ 3000 h 10007"/>
                <a:gd name="connsiteX54" fmla="*/ 6649 w 10000"/>
                <a:gd name="connsiteY54" fmla="*/ 2936 h 10007"/>
                <a:gd name="connsiteX55" fmla="*/ 6664 w 10000"/>
                <a:gd name="connsiteY55" fmla="*/ 2876 h 10007"/>
                <a:gd name="connsiteX56" fmla="*/ 6686 w 10000"/>
                <a:gd name="connsiteY56" fmla="*/ 2812 h 10007"/>
                <a:gd name="connsiteX57" fmla="*/ 6709 w 10000"/>
                <a:gd name="connsiteY57" fmla="*/ 2752 h 10007"/>
                <a:gd name="connsiteX58" fmla="*/ 6731 w 10000"/>
                <a:gd name="connsiteY58" fmla="*/ 2693 h 10007"/>
                <a:gd name="connsiteX59" fmla="*/ 6753 w 10000"/>
                <a:gd name="connsiteY59" fmla="*/ 2628 h 10007"/>
                <a:gd name="connsiteX60" fmla="*/ 6783 w 10000"/>
                <a:gd name="connsiteY60" fmla="*/ 2573 h 10007"/>
                <a:gd name="connsiteX61" fmla="*/ 6812 w 10000"/>
                <a:gd name="connsiteY61" fmla="*/ 2514 h 10007"/>
                <a:gd name="connsiteX62" fmla="*/ 6842 w 10000"/>
                <a:gd name="connsiteY62" fmla="*/ 2454 h 10007"/>
                <a:gd name="connsiteX63" fmla="*/ 6879 w 10000"/>
                <a:gd name="connsiteY63" fmla="*/ 2395 h 10007"/>
                <a:gd name="connsiteX64" fmla="*/ 6909 w 10000"/>
                <a:gd name="connsiteY64" fmla="*/ 2340 h 10007"/>
                <a:gd name="connsiteX65" fmla="*/ 6946 w 10000"/>
                <a:gd name="connsiteY65" fmla="*/ 2280 h 10007"/>
                <a:gd name="connsiteX66" fmla="*/ 6990 w 10000"/>
                <a:gd name="connsiteY66" fmla="*/ 2225 h 10007"/>
                <a:gd name="connsiteX67" fmla="*/ 7027 w 10000"/>
                <a:gd name="connsiteY67" fmla="*/ 2170 h 10007"/>
                <a:gd name="connsiteX68" fmla="*/ 7072 w 10000"/>
                <a:gd name="connsiteY68" fmla="*/ 2115 h 10007"/>
                <a:gd name="connsiteX69" fmla="*/ 7109 w 10000"/>
                <a:gd name="connsiteY69" fmla="*/ 2060 h 10007"/>
                <a:gd name="connsiteX70" fmla="*/ 7161 w 10000"/>
                <a:gd name="connsiteY70" fmla="*/ 2010 h 10007"/>
                <a:gd name="connsiteX71" fmla="*/ 7213 w 10000"/>
                <a:gd name="connsiteY71" fmla="*/ 1955 h 10007"/>
                <a:gd name="connsiteX72" fmla="*/ 7257 w 10000"/>
                <a:gd name="connsiteY72" fmla="*/ 1900 h 10007"/>
                <a:gd name="connsiteX73" fmla="*/ 7309 w 10000"/>
                <a:gd name="connsiteY73" fmla="*/ 1849 h 10007"/>
                <a:gd name="connsiteX74" fmla="*/ 7361 w 10000"/>
                <a:gd name="connsiteY74" fmla="*/ 1799 h 10007"/>
                <a:gd name="connsiteX75" fmla="*/ 7413 w 10000"/>
                <a:gd name="connsiteY75" fmla="*/ 1749 h 10007"/>
                <a:gd name="connsiteX76" fmla="*/ 7472 w 10000"/>
                <a:gd name="connsiteY76" fmla="*/ 1698 h 10007"/>
                <a:gd name="connsiteX77" fmla="*/ 7524 w 10000"/>
                <a:gd name="connsiteY77" fmla="*/ 1652 h 10007"/>
                <a:gd name="connsiteX78" fmla="*/ 7583 w 10000"/>
                <a:gd name="connsiteY78" fmla="*/ 1606 h 10007"/>
                <a:gd name="connsiteX79" fmla="*/ 7643 w 10000"/>
                <a:gd name="connsiteY79" fmla="*/ 1556 h 10007"/>
                <a:gd name="connsiteX80" fmla="*/ 5390 w 10000"/>
                <a:gd name="connsiteY80" fmla="*/ 0 h 10007"/>
                <a:gd name="connsiteX81" fmla="*/ 1401 w 10000"/>
                <a:gd name="connsiteY81" fmla="*/ 0 h 10007"/>
                <a:gd name="connsiteX82" fmla="*/ 1305 w 10000"/>
                <a:gd name="connsiteY82" fmla="*/ 135 h 10007"/>
                <a:gd name="connsiteX83" fmla="*/ 1223 w 10000"/>
                <a:gd name="connsiteY83" fmla="*/ 227 h 10007"/>
                <a:gd name="connsiteX84" fmla="*/ 1149 w 10000"/>
                <a:gd name="connsiteY84" fmla="*/ 323 h 10007"/>
                <a:gd name="connsiteX85" fmla="*/ 1067 w 10000"/>
                <a:gd name="connsiteY85" fmla="*/ 419 h 10007"/>
                <a:gd name="connsiteX86" fmla="*/ 1001 w 10000"/>
                <a:gd name="connsiteY86" fmla="*/ 516 h 10007"/>
                <a:gd name="connsiteX87" fmla="*/ 927 w 10000"/>
                <a:gd name="connsiteY87" fmla="*/ 612 h 10007"/>
                <a:gd name="connsiteX88" fmla="*/ 860 w 10000"/>
                <a:gd name="connsiteY88" fmla="*/ 713 h 10007"/>
                <a:gd name="connsiteX89" fmla="*/ 793 w 10000"/>
                <a:gd name="connsiteY89" fmla="*/ 814 h 10007"/>
                <a:gd name="connsiteX90" fmla="*/ 734 w 10000"/>
                <a:gd name="connsiteY90" fmla="*/ 910 h 10007"/>
                <a:gd name="connsiteX91" fmla="*/ 675 w 10000"/>
                <a:gd name="connsiteY91" fmla="*/ 1011 h 10007"/>
                <a:gd name="connsiteX92" fmla="*/ 615 w 10000"/>
                <a:gd name="connsiteY92" fmla="*/ 1111 h 10007"/>
                <a:gd name="connsiteX93" fmla="*/ 556 w 10000"/>
                <a:gd name="connsiteY93" fmla="*/ 1217 h 10007"/>
                <a:gd name="connsiteX94" fmla="*/ 504 w 10000"/>
                <a:gd name="connsiteY94" fmla="*/ 1313 h 10007"/>
                <a:gd name="connsiteX95" fmla="*/ 452 w 10000"/>
                <a:gd name="connsiteY95" fmla="*/ 1419 h 10007"/>
                <a:gd name="connsiteX96" fmla="*/ 408 w 10000"/>
                <a:gd name="connsiteY96" fmla="*/ 1519 h 10007"/>
                <a:gd name="connsiteX97" fmla="*/ 363 w 10000"/>
                <a:gd name="connsiteY97" fmla="*/ 1625 h 10007"/>
                <a:gd name="connsiteX98" fmla="*/ 319 w 10000"/>
                <a:gd name="connsiteY98" fmla="*/ 1730 h 10007"/>
                <a:gd name="connsiteX99" fmla="*/ 282 w 10000"/>
                <a:gd name="connsiteY99" fmla="*/ 1836 h 10007"/>
                <a:gd name="connsiteX100" fmla="*/ 237 w 10000"/>
                <a:gd name="connsiteY100" fmla="*/ 1946 h 10007"/>
                <a:gd name="connsiteX101" fmla="*/ 208 w 10000"/>
                <a:gd name="connsiteY101" fmla="*/ 2051 h 10007"/>
                <a:gd name="connsiteX102" fmla="*/ 170 w 10000"/>
                <a:gd name="connsiteY102" fmla="*/ 2161 h 10007"/>
                <a:gd name="connsiteX103" fmla="*/ 148 w 10000"/>
                <a:gd name="connsiteY103" fmla="*/ 2271 h 10007"/>
                <a:gd name="connsiteX104" fmla="*/ 119 w 10000"/>
                <a:gd name="connsiteY104" fmla="*/ 2376 h 10007"/>
                <a:gd name="connsiteX105" fmla="*/ 96 w 10000"/>
                <a:gd name="connsiteY105" fmla="*/ 2486 h 10007"/>
                <a:gd name="connsiteX106" fmla="*/ 74 w 10000"/>
                <a:gd name="connsiteY106" fmla="*/ 2596 h 10007"/>
                <a:gd name="connsiteX107" fmla="*/ 52 w 10000"/>
                <a:gd name="connsiteY107" fmla="*/ 2711 h 10007"/>
                <a:gd name="connsiteX108" fmla="*/ 37 w 10000"/>
                <a:gd name="connsiteY108" fmla="*/ 2821 h 10007"/>
                <a:gd name="connsiteX109" fmla="*/ 22 w 10000"/>
                <a:gd name="connsiteY109" fmla="*/ 2931 h 10007"/>
                <a:gd name="connsiteX110" fmla="*/ 15 w 10000"/>
                <a:gd name="connsiteY110" fmla="*/ 3041 h 10007"/>
                <a:gd name="connsiteX111" fmla="*/ 7 w 10000"/>
                <a:gd name="connsiteY111" fmla="*/ 3155 h 10007"/>
                <a:gd name="connsiteX112" fmla="*/ 0 w 10000"/>
                <a:gd name="connsiteY112" fmla="*/ 3265 h 10007"/>
                <a:gd name="connsiteX113" fmla="*/ 0 w 10000"/>
                <a:gd name="connsiteY113" fmla="*/ 3380 h 10007"/>
                <a:gd name="connsiteX114" fmla="*/ 7 w 10000"/>
                <a:gd name="connsiteY114" fmla="*/ 3527 h 10007"/>
                <a:gd name="connsiteX115" fmla="*/ 7 w 10000"/>
                <a:gd name="connsiteY115" fmla="*/ 3673 h 10007"/>
                <a:gd name="connsiteX116" fmla="*/ 22 w 10000"/>
                <a:gd name="connsiteY116" fmla="*/ 3811 h 10007"/>
                <a:gd name="connsiteX117" fmla="*/ 37 w 10000"/>
                <a:gd name="connsiteY117" fmla="*/ 3953 h 10007"/>
                <a:gd name="connsiteX118" fmla="*/ 59 w 10000"/>
                <a:gd name="connsiteY118" fmla="*/ 4095 h 10007"/>
                <a:gd name="connsiteX119" fmla="*/ 89 w 10000"/>
                <a:gd name="connsiteY119" fmla="*/ 4237 h 10007"/>
                <a:gd name="connsiteX120" fmla="*/ 119 w 10000"/>
                <a:gd name="connsiteY120" fmla="*/ 4379 h 10007"/>
                <a:gd name="connsiteX121" fmla="*/ 148 w 10000"/>
                <a:gd name="connsiteY121" fmla="*/ 4521 h 10007"/>
                <a:gd name="connsiteX122" fmla="*/ 193 w 10000"/>
                <a:gd name="connsiteY122" fmla="*/ 4659 h 10007"/>
                <a:gd name="connsiteX123" fmla="*/ 237 w 10000"/>
                <a:gd name="connsiteY123" fmla="*/ 4796 h 10007"/>
                <a:gd name="connsiteX124" fmla="*/ 282 w 10000"/>
                <a:gd name="connsiteY124" fmla="*/ 4934 h 10007"/>
                <a:gd name="connsiteX125" fmla="*/ 334 w 10000"/>
                <a:gd name="connsiteY125" fmla="*/ 5071 h 10007"/>
                <a:gd name="connsiteX126" fmla="*/ 393 w 10000"/>
                <a:gd name="connsiteY126" fmla="*/ 5204 h 10007"/>
                <a:gd name="connsiteX127" fmla="*/ 452 w 10000"/>
                <a:gd name="connsiteY127" fmla="*/ 5337 h 10007"/>
                <a:gd name="connsiteX128" fmla="*/ 519 w 10000"/>
                <a:gd name="connsiteY128" fmla="*/ 5470 h 10007"/>
                <a:gd name="connsiteX129" fmla="*/ 586 w 10000"/>
                <a:gd name="connsiteY129" fmla="*/ 5603 h 10007"/>
                <a:gd name="connsiteX130" fmla="*/ 660 w 10000"/>
                <a:gd name="connsiteY130" fmla="*/ 5731 h 10007"/>
                <a:gd name="connsiteX131" fmla="*/ 741 w 10000"/>
                <a:gd name="connsiteY131" fmla="*/ 5859 h 10007"/>
                <a:gd name="connsiteX132" fmla="*/ 823 w 10000"/>
                <a:gd name="connsiteY132" fmla="*/ 5992 h 10007"/>
                <a:gd name="connsiteX133" fmla="*/ 904 w 10000"/>
                <a:gd name="connsiteY133" fmla="*/ 6116 h 10007"/>
                <a:gd name="connsiteX134" fmla="*/ 993 w 10000"/>
                <a:gd name="connsiteY134" fmla="*/ 6240 h 10007"/>
                <a:gd name="connsiteX135" fmla="*/ 1090 w 10000"/>
                <a:gd name="connsiteY135" fmla="*/ 6359 h 10007"/>
                <a:gd name="connsiteX136" fmla="*/ 1186 w 10000"/>
                <a:gd name="connsiteY136" fmla="*/ 6483 h 10007"/>
                <a:gd name="connsiteX137" fmla="*/ 1290 w 10000"/>
                <a:gd name="connsiteY137" fmla="*/ 6606 h 10007"/>
                <a:gd name="connsiteX138" fmla="*/ 1386 w 10000"/>
                <a:gd name="connsiteY138" fmla="*/ 6726 h 10007"/>
                <a:gd name="connsiteX139" fmla="*/ 1497 w 10000"/>
                <a:gd name="connsiteY139" fmla="*/ 6845 h 10007"/>
                <a:gd name="connsiteX140" fmla="*/ 1609 w 10000"/>
                <a:gd name="connsiteY140" fmla="*/ 6959 h 10007"/>
                <a:gd name="connsiteX141" fmla="*/ 1727 w 10000"/>
                <a:gd name="connsiteY141" fmla="*/ 7078 h 10007"/>
                <a:gd name="connsiteX142" fmla="*/ 1846 w 10000"/>
                <a:gd name="connsiteY142" fmla="*/ 7193 h 10007"/>
                <a:gd name="connsiteX143" fmla="*/ 1964 w 10000"/>
                <a:gd name="connsiteY143" fmla="*/ 7303 h 10007"/>
                <a:gd name="connsiteX144" fmla="*/ 2090 w 10000"/>
                <a:gd name="connsiteY144" fmla="*/ 7413 h 10007"/>
                <a:gd name="connsiteX145" fmla="*/ 2224 w 10000"/>
                <a:gd name="connsiteY145" fmla="*/ 7523 h 10007"/>
                <a:gd name="connsiteX146" fmla="*/ 2350 w 10000"/>
                <a:gd name="connsiteY146" fmla="*/ 7633 h 10007"/>
                <a:gd name="connsiteX147" fmla="*/ 2491 w 10000"/>
                <a:gd name="connsiteY147" fmla="*/ 7738 h 10007"/>
                <a:gd name="connsiteX148" fmla="*/ 2617 w 10000"/>
                <a:gd name="connsiteY148" fmla="*/ 7844 h 10007"/>
                <a:gd name="connsiteX149" fmla="*/ 2765 w 10000"/>
                <a:gd name="connsiteY149" fmla="*/ 7945 h 10007"/>
                <a:gd name="connsiteX150" fmla="*/ 2906 w 10000"/>
                <a:gd name="connsiteY150" fmla="*/ 8045 h 10007"/>
                <a:gd name="connsiteX151" fmla="*/ 3054 w 10000"/>
                <a:gd name="connsiteY151" fmla="*/ 8146 h 10007"/>
                <a:gd name="connsiteX152" fmla="*/ 3210 w 10000"/>
                <a:gd name="connsiteY152" fmla="*/ 8243 h 10007"/>
                <a:gd name="connsiteX153" fmla="*/ 3358 w 10000"/>
                <a:gd name="connsiteY153" fmla="*/ 8339 h 10007"/>
                <a:gd name="connsiteX154" fmla="*/ 3514 w 10000"/>
                <a:gd name="connsiteY154" fmla="*/ 8435 h 10007"/>
                <a:gd name="connsiteX155" fmla="*/ 3677 w 10000"/>
                <a:gd name="connsiteY155" fmla="*/ 8527 h 10007"/>
                <a:gd name="connsiteX156" fmla="*/ 3840 w 10000"/>
                <a:gd name="connsiteY156" fmla="*/ 8614 h 10007"/>
                <a:gd name="connsiteX157" fmla="*/ 4010 w 10000"/>
                <a:gd name="connsiteY157" fmla="*/ 8705 h 10007"/>
                <a:gd name="connsiteX158" fmla="*/ 4181 w 10000"/>
                <a:gd name="connsiteY158" fmla="*/ 8783 h 10007"/>
                <a:gd name="connsiteX159" fmla="*/ 4351 w 10000"/>
                <a:gd name="connsiteY159" fmla="*/ 8870 h 10007"/>
                <a:gd name="connsiteX160" fmla="*/ 4522 w 10000"/>
                <a:gd name="connsiteY160" fmla="*/ 8948 h 10007"/>
                <a:gd name="connsiteX161" fmla="*/ 4700 w 10000"/>
                <a:gd name="connsiteY161" fmla="*/ 9031 h 10007"/>
                <a:gd name="connsiteX162" fmla="*/ 4878 w 10000"/>
                <a:gd name="connsiteY162" fmla="*/ 9109 h 10007"/>
                <a:gd name="connsiteX163" fmla="*/ 5063 w 10000"/>
                <a:gd name="connsiteY163" fmla="*/ 9182 h 10007"/>
                <a:gd name="connsiteX164" fmla="*/ 5248 w 10000"/>
                <a:gd name="connsiteY164" fmla="*/ 9260 h 10007"/>
                <a:gd name="connsiteX165" fmla="*/ 5426 w 10000"/>
                <a:gd name="connsiteY165" fmla="*/ 9329 h 10007"/>
                <a:gd name="connsiteX166" fmla="*/ 5619 w 10000"/>
                <a:gd name="connsiteY166" fmla="*/ 9397 h 10007"/>
                <a:gd name="connsiteX167" fmla="*/ 5812 w 10000"/>
                <a:gd name="connsiteY167" fmla="*/ 9466 h 10007"/>
                <a:gd name="connsiteX168" fmla="*/ 6004 w 10000"/>
                <a:gd name="connsiteY168" fmla="*/ 9530 h 10007"/>
                <a:gd name="connsiteX169" fmla="*/ 6205 w 10000"/>
                <a:gd name="connsiteY169" fmla="*/ 9595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61 h 10007"/>
                <a:gd name="connsiteX179" fmla="*/ 10000 w 10000"/>
                <a:gd name="connsiteY179" fmla="*/ 6148 h 10007"/>
                <a:gd name="connsiteX0" fmla="*/ 10000 w 10000"/>
                <a:gd name="connsiteY0" fmla="*/ 6148 h 10007"/>
                <a:gd name="connsiteX1" fmla="*/ 10000 w 10000"/>
                <a:gd name="connsiteY1" fmla="*/ 6148 h 10007"/>
                <a:gd name="connsiteX2" fmla="*/ 9911 w 10000"/>
                <a:gd name="connsiteY2" fmla="*/ 6134 h 10007"/>
                <a:gd name="connsiteX3" fmla="*/ 9815 w 10000"/>
                <a:gd name="connsiteY3" fmla="*/ 6116 h 10007"/>
                <a:gd name="connsiteX4" fmla="*/ 9726 w 10000"/>
                <a:gd name="connsiteY4" fmla="*/ 6098 h 10007"/>
                <a:gd name="connsiteX5" fmla="*/ 9637 w 10000"/>
                <a:gd name="connsiteY5" fmla="*/ 6075 h 10007"/>
                <a:gd name="connsiteX6" fmla="*/ 9548 w 10000"/>
                <a:gd name="connsiteY6" fmla="*/ 6056 h 10007"/>
                <a:gd name="connsiteX7" fmla="*/ 9466 w 10000"/>
                <a:gd name="connsiteY7" fmla="*/ 6034 h 10007"/>
                <a:gd name="connsiteX8" fmla="*/ 9377 w 10000"/>
                <a:gd name="connsiteY8" fmla="*/ 6011 h 10007"/>
                <a:gd name="connsiteX9" fmla="*/ 9288 w 10000"/>
                <a:gd name="connsiteY9" fmla="*/ 5988 h 10007"/>
                <a:gd name="connsiteX10" fmla="*/ 9118 w 10000"/>
                <a:gd name="connsiteY10" fmla="*/ 5937 h 10007"/>
                <a:gd name="connsiteX11" fmla="*/ 8955 w 10000"/>
                <a:gd name="connsiteY11" fmla="*/ 5882 h 10007"/>
                <a:gd name="connsiteX12" fmla="*/ 8792 w 10000"/>
                <a:gd name="connsiteY12" fmla="*/ 5823 h 10007"/>
                <a:gd name="connsiteX13" fmla="*/ 8636 w 10000"/>
                <a:gd name="connsiteY13" fmla="*/ 5759 h 10007"/>
                <a:gd name="connsiteX14" fmla="*/ 8480 w 10000"/>
                <a:gd name="connsiteY14" fmla="*/ 5694 h 10007"/>
                <a:gd name="connsiteX15" fmla="*/ 8340 w 10000"/>
                <a:gd name="connsiteY15" fmla="*/ 5626 h 10007"/>
                <a:gd name="connsiteX16" fmla="*/ 8199 w 10000"/>
                <a:gd name="connsiteY16" fmla="*/ 5552 h 10007"/>
                <a:gd name="connsiteX17" fmla="*/ 8058 w 10000"/>
                <a:gd name="connsiteY17" fmla="*/ 5474 h 10007"/>
                <a:gd name="connsiteX18" fmla="*/ 7924 w 10000"/>
                <a:gd name="connsiteY18" fmla="*/ 5392 h 10007"/>
                <a:gd name="connsiteX19" fmla="*/ 7798 w 10000"/>
                <a:gd name="connsiteY19" fmla="*/ 5309 h 10007"/>
                <a:gd name="connsiteX20" fmla="*/ 7672 w 10000"/>
                <a:gd name="connsiteY20" fmla="*/ 5222 h 10007"/>
                <a:gd name="connsiteX21" fmla="*/ 7554 w 10000"/>
                <a:gd name="connsiteY21" fmla="*/ 5135 h 10007"/>
                <a:gd name="connsiteX22" fmla="*/ 7450 w 10000"/>
                <a:gd name="connsiteY22" fmla="*/ 5039 h 10007"/>
                <a:gd name="connsiteX23" fmla="*/ 7346 w 10000"/>
                <a:gd name="connsiteY23" fmla="*/ 4943 h 10007"/>
                <a:gd name="connsiteX24" fmla="*/ 7250 w 10000"/>
                <a:gd name="connsiteY24" fmla="*/ 4847 h 10007"/>
                <a:gd name="connsiteX25" fmla="*/ 7161 w 10000"/>
                <a:gd name="connsiteY25" fmla="*/ 4746 h 10007"/>
                <a:gd name="connsiteX26" fmla="*/ 7072 w 10000"/>
                <a:gd name="connsiteY26" fmla="*/ 4645 h 10007"/>
                <a:gd name="connsiteX27" fmla="*/ 6990 w 10000"/>
                <a:gd name="connsiteY27" fmla="*/ 4535 h 10007"/>
                <a:gd name="connsiteX28" fmla="*/ 6953 w 10000"/>
                <a:gd name="connsiteY28" fmla="*/ 4485 h 10007"/>
                <a:gd name="connsiteX29" fmla="*/ 6916 w 10000"/>
                <a:gd name="connsiteY29" fmla="*/ 4430 h 10007"/>
                <a:gd name="connsiteX30" fmla="*/ 6887 w 10000"/>
                <a:gd name="connsiteY30" fmla="*/ 4375 h 10007"/>
                <a:gd name="connsiteX31" fmla="*/ 6850 w 10000"/>
                <a:gd name="connsiteY31" fmla="*/ 4320 h 10007"/>
                <a:gd name="connsiteX32" fmla="*/ 6820 w 10000"/>
                <a:gd name="connsiteY32" fmla="*/ 4265 h 10007"/>
                <a:gd name="connsiteX33" fmla="*/ 6790 w 10000"/>
                <a:gd name="connsiteY33" fmla="*/ 4210 h 10007"/>
                <a:gd name="connsiteX34" fmla="*/ 6768 w 10000"/>
                <a:gd name="connsiteY34" fmla="*/ 4150 h 10007"/>
                <a:gd name="connsiteX35" fmla="*/ 6738 w 10000"/>
                <a:gd name="connsiteY35" fmla="*/ 4095 h 10007"/>
                <a:gd name="connsiteX36" fmla="*/ 6723 w 10000"/>
                <a:gd name="connsiteY36" fmla="*/ 4035 h 10007"/>
                <a:gd name="connsiteX37" fmla="*/ 6694 w 10000"/>
                <a:gd name="connsiteY37" fmla="*/ 3980 h 10007"/>
                <a:gd name="connsiteX38" fmla="*/ 6679 w 10000"/>
                <a:gd name="connsiteY38" fmla="*/ 3921 h 10007"/>
                <a:gd name="connsiteX39" fmla="*/ 6664 w 10000"/>
                <a:gd name="connsiteY39" fmla="*/ 3861 h 10007"/>
                <a:gd name="connsiteX40" fmla="*/ 6649 w 10000"/>
                <a:gd name="connsiteY40" fmla="*/ 3802 h 10007"/>
                <a:gd name="connsiteX41" fmla="*/ 6635 w 10000"/>
                <a:gd name="connsiteY41" fmla="*/ 3747 h 10007"/>
                <a:gd name="connsiteX42" fmla="*/ 6620 w 10000"/>
                <a:gd name="connsiteY42" fmla="*/ 3687 h 10007"/>
                <a:gd name="connsiteX43" fmla="*/ 6612 w 10000"/>
                <a:gd name="connsiteY43" fmla="*/ 3628 h 10007"/>
                <a:gd name="connsiteX44" fmla="*/ 6605 w 10000"/>
                <a:gd name="connsiteY44" fmla="*/ 3568 h 10007"/>
                <a:gd name="connsiteX45" fmla="*/ 6597 w 10000"/>
                <a:gd name="connsiteY45" fmla="*/ 3504 h 10007"/>
                <a:gd name="connsiteX46" fmla="*/ 6597 w 10000"/>
                <a:gd name="connsiteY46" fmla="*/ 3444 h 10007"/>
                <a:gd name="connsiteX47" fmla="*/ 6590 w 10000"/>
                <a:gd name="connsiteY47" fmla="*/ 3380 h 10007"/>
                <a:gd name="connsiteX48" fmla="*/ 6597 w 10000"/>
                <a:gd name="connsiteY48" fmla="*/ 3320 h 10007"/>
                <a:gd name="connsiteX49" fmla="*/ 6605 w 10000"/>
                <a:gd name="connsiteY49" fmla="*/ 3252 h 10007"/>
                <a:gd name="connsiteX50" fmla="*/ 6605 w 10000"/>
                <a:gd name="connsiteY50" fmla="*/ 3188 h 10007"/>
                <a:gd name="connsiteX51" fmla="*/ 6612 w 10000"/>
                <a:gd name="connsiteY51" fmla="*/ 3123 h 10007"/>
                <a:gd name="connsiteX52" fmla="*/ 6620 w 10000"/>
                <a:gd name="connsiteY52" fmla="*/ 3059 h 10007"/>
                <a:gd name="connsiteX53" fmla="*/ 6635 w 10000"/>
                <a:gd name="connsiteY53" fmla="*/ 3000 h 10007"/>
                <a:gd name="connsiteX54" fmla="*/ 6649 w 10000"/>
                <a:gd name="connsiteY54" fmla="*/ 2936 h 10007"/>
                <a:gd name="connsiteX55" fmla="*/ 6664 w 10000"/>
                <a:gd name="connsiteY55" fmla="*/ 2876 h 10007"/>
                <a:gd name="connsiteX56" fmla="*/ 6686 w 10000"/>
                <a:gd name="connsiteY56" fmla="*/ 2812 h 10007"/>
                <a:gd name="connsiteX57" fmla="*/ 6709 w 10000"/>
                <a:gd name="connsiteY57" fmla="*/ 2752 h 10007"/>
                <a:gd name="connsiteX58" fmla="*/ 6731 w 10000"/>
                <a:gd name="connsiteY58" fmla="*/ 2693 h 10007"/>
                <a:gd name="connsiteX59" fmla="*/ 6753 w 10000"/>
                <a:gd name="connsiteY59" fmla="*/ 2628 h 10007"/>
                <a:gd name="connsiteX60" fmla="*/ 6783 w 10000"/>
                <a:gd name="connsiteY60" fmla="*/ 2573 h 10007"/>
                <a:gd name="connsiteX61" fmla="*/ 6812 w 10000"/>
                <a:gd name="connsiteY61" fmla="*/ 2514 h 10007"/>
                <a:gd name="connsiteX62" fmla="*/ 6842 w 10000"/>
                <a:gd name="connsiteY62" fmla="*/ 2454 h 10007"/>
                <a:gd name="connsiteX63" fmla="*/ 6879 w 10000"/>
                <a:gd name="connsiteY63" fmla="*/ 2395 h 10007"/>
                <a:gd name="connsiteX64" fmla="*/ 6909 w 10000"/>
                <a:gd name="connsiteY64" fmla="*/ 2340 h 10007"/>
                <a:gd name="connsiteX65" fmla="*/ 6946 w 10000"/>
                <a:gd name="connsiteY65" fmla="*/ 2280 h 10007"/>
                <a:gd name="connsiteX66" fmla="*/ 6990 w 10000"/>
                <a:gd name="connsiteY66" fmla="*/ 2225 h 10007"/>
                <a:gd name="connsiteX67" fmla="*/ 7027 w 10000"/>
                <a:gd name="connsiteY67" fmla="*/ 2170 h 10007"/>
                <a:gd name="connsiteX68" fmla="*/ 7072 w 10000"/>
                <a:gd name="connsiteY68" fmla="*/ 2115 h 10007"/>
                <a:gd name="connsiteX69" fmla="*/ 7109 w 10000"/>
                <a:gd name="connsiteY69" fmla="*/ 2060 h 10007"/>
                <a:gd name="connsiteX70" fmla="*/ 7161 w 10000"/>
                <a:gd name="connsiteY70" fmla="*/ 2010 h 10007"/>
                <a:gd name="connsiteX71" fmla="*/ 7213 w 10000"/>
                <a:gd name="connsiteY71" fmla="*/ 1955 h 10007"/>
                <a:gd name="connsiteX72" fmla="*/ 7257 w 10000"/>
                <a:gd name="connsiteY72" fmla="*/ 1900 h 10007"/>
                <a:gd name="connsiteX73" fmla="*/ 7309 w 10000"/>
                <a:gd name="connsiteY73" fmla="*/ 1849 h 10007"/>
                <a:gd name="connsiteX74" fmla="*/ 7361 w 10000"/>
                <a:gd name="connsiteY74" fmla="*/ 1799 h 10007"/>
                <a:gd name="connsiteX75" fmla="*/ 7413 w 10000"/>
                <a:gd name="connsiteY75" fmla="*/ 1749 h 10007"/>
                <a:gd name="connsiteX76" fmla="*/ 7472 w 10000"/>
                <a:gd name="connsiteY76" fmla="*/ 1698 h 10007"/>
                <a:gd name="connsiteX77" fmla="*/ 7524 w 10000"/>
                <a:gd name="connsiteY77" fmla="*/ 1652 h 10007"/>
                <a:gd name="connsiteX78" fmla="*/ 7583 w 10000"/>
                <a:gd name="connsiteY78" fmla="*/ 1606 h 10007"/>
                <a:gd name="connsiteX79" fmla="*/ 7643 w 10000"/>
                <a:gd name="connsiteY79" fmla="*/ 1556 h 10007"/>
                <a:gd name="connsiteX80" fmla="*/ 5390 w 10000"/>
                <a:gd name="connsiteY80" fmla="*/ 0 h 10007"/>
                <a:gd name="connsiteX81" fmla="*/ 1401 w 10000"/>
                <a:gd name="connsiteY81" fmla="*/ 21 h 10007"/>
                <a:gd name="connsiteX82" fmla="*/ 1305 w 10000"/>
                <a:gd name="connsiteY82" fmla="*/ 135 h 10007"/>
                <a:gd name="connsiteX83" fmla="*/ 1223 w 10000"/>
                <a:gd name="connsiteY83" fmla="*/ 227 h 10007"/>
                <a:gd name="connsiteX84" fmla="*/ 1149 w 10000"/>
                <a:gd name="connsiteY84" fmla="*/ 323 h 10007"/>
                <a:gd name="connsiteX85" fmla="*/ 1067 w 10000"/>
                <a:gd name="connsiteY85" fmla="*/ 419 h 10007"/>
                <a:gd name="connsiteX86" fmla="*/ 1001 w 10000"/>
                <a:gd name="connsiteY86" fmla="*/ 516 h 10007"/>
                <a:gd name="connsiteX87" fmla="*/ 927 w 10000"/>
                <a:gd name="connsiteY87" fmla="*/ 612 h 10007"/>
                <a:gd name="connsiteX88" fmla="*/ 860 w 10000"/>
                <a:gd name="connsiteY88" fmla="*/ 713 h 10007"/>
                <a:gd name="connsiteX89" fmla="*/ 793 w 10000"/>
                <a:gd name="connsiteY89" fmla="*/ 814 h 10007"/>
                <a:gd name="connsiteX90" fmla="*/ 734 w 10000"/>
                <a:gd name="connsiteY90" fmla="*/ 910 h 10007"/>
                <a:gd name="connsiteX91" fmla="*/ 675 w 10000"/>
                <a:gd name="connsiteY91" fmla="*/ 1011 h 10007"/>
                <a:gd name="connsiteX92" fmla="*/ 615 w 10000"/>
                <a:gd name="connsiteY92" fmla="*/ 1111 h 10007"/>
                <a:gd name="connsiteX93" fmla="*/ 556 w 10000"/>
                <a:gd name="connsiteY93" fmla="*/ 1217 h 10007"/>
                <a:gd name="connsiteX94" fmla="*/ 504 w 10000"/>
                <a:gd name="connsiteY94" fmla="*/ 1313 h 10007"/>
                <a:gd name="connsiteX95" fmla="*/ 452 w 10000"/>
                <a:gd name="connsiteY95" fmla="*/ 1419 h 10007"/>
                <a:gd name="connsiteX96" fmla="*/ 408 w 10000"/>
                <a:gd name="connsiteY96" fmla="*/ 1519 h 10007"/>
                <a:gd name="connsiteX97" fmla="*/ 363 w 10000"/>
                <a:gd name="connsiteY97" fmla="*/ 1625 h 10007"/>
                <a:gd name="connsiteX98" fmla="*/ 319 w 10000"/>
                <a:gd name="connsiteY98" fmla="*/ 1730 h 10007"/>
                <a:gd name="connsiteX99" fmla="*/ 282 w 10000"/>
                <a:gd name="connsiteY99" fmla="*/ 1836 h 10007"/>
                <a:gd name="connsiteX100" fmla="*/ 237 w 10000"/>
                <a:gd name="connsiteY100" fmla="*/ 1946 h 10007"/>
                <a:gd name="connsiteX101" fmla="*/ 208 w 10000"/>
                <a:gd name="connsiteY101" fmla="*/ 2051 h 10007"/>
                <a:gd name="connsiteX102" fmla="*/ 170 w 10000"/>
                <a:gd name="connsiteY102" fmla="*/ 2161 h 10007"/>
                <a:gd name="connsiteX103" fmla="*/ 148 w 10000"/>
                <a:gd name="connsiteY103" fmla="*/ 2271 h 10007"/>
                <a:gd name="connsiteX104" fmla="*/ 119 w 10000"/>
                <a:gd name="connsiteY104" fmla="*/ 2376 h 10007"/>
                <a:gd name="connsiteX105" fmla="*/ 96 w 10000"/>
                <a:gd name="connsiteY105" fmla="*/ 2486 h 10007"/>
                <a:gd name="connsiteX106" fmla="*/ 74 w 10000"/>
                <a:gd name="connsiteY106" fmla="*/ 2596 h 10007"/>
                <a:gd name="connsiteX107" fmla="*/ 52 w 10000"/>
                <a:gd name="connsiteY107" fmla="*/ 2711 h 10007"/>
                <a:gd name="connsiteX108" fmla="*/ 37 w 10000"/>
                <a:gd name="connsiteY108" fmla="*/ 2821 h 10007"/>
                <a:gd name="connsiteX109" fmla="*/ 22 w 10000"/>
                <a:gd name="connsiteY109" fmla="*/ 2931 h 10007"/>
                <a:gd name="connsiteX110" fmla="*/ 15 w 10000"/>
                <a:gd name="connsiteY110" fmla="*/ 3041 h 10007"/>
                <a:gd name="connsiteX111" fmla="*/ 7 w 10000"/>
                <a:gd name="connsiteY111" fmla="*/ 3155 h 10007"/>
                <a:gd name="connsiteX112" fmla="*/ 0 w 10000"/>
                <a:gd name="connsiteY112" fmla="*/ 3265 h 10007"/>
                <a:gd name="connsiteX113" fmla="*/ 0 w 10000"/>
                <a:gd name="connsiteY113" fmla="*/ 3380 h 10007"/>
                <a:gd name="connsiteX114" fmla="*/ 7 w 10000"/>
                <a:gd name="connsiteY114" fmla="*/ 3527 h 10007"/>
                <a:gd name="connsiteX115" fmla="*/ 7 w 10000"/>
                <a:gd name="connsiteY115" fmla="*/ 3673 h 10007"/>
                <a:gd name="connsiteX116" fmla="*/ 22 w 10000"/>
                <a:gd name="connsiteY116" fmla="*/ 3811 h 10007"/>
                <a:gd name="connsiteX117" fmla="*/ 37 w 10000"/>
                <a:gd name="connsiteY117" fmla="*/ 3953 h 10007"/>
                <a:gd name="connsiteX118" fmla="*/ 59 w 10000"/>
                <a:gd name="connsiteY118" fmla="*/ 4095 h 10007"/>
                <a:gd name="connsiteX119" fmla="*/ 89 w 10000"/>
                <a:gd name="connsiteY119" fmla="*/ 4237 h 10007"/>
                <a:gd name="connsiteX120" fmla="*/ 119 w 10000"/>
                <a:gd name="connsiteY120" fmla="*/ 4379 h 10007"/>
                <a:gd name="connsiteX121" fmla="*/ 148 w 10000"/>
                <a:gd name="connsiteY121" fmla="*/ 4521 h 10007"/>
                <a:gd name="connsiteX122" fmla="*/ 193 w 10000"/>
                <a:gd name="connsiteY122" fmla="*/ 4659 h 10007"/>
                <a:gd name="connsiteX123" fmla="*/ 237 w 10000"/>
                <a:gd name="connsiteY123" fmla="*/ 4796 h 10007"/>
                <a:gd name="connsiteX124" fmla="*/ 282 w 10000"/>
                <a:gd name="connsiteY124" fmla="*/ 4934 h 10007"/>
                <a:gd name="connsiteX125" fmla="*/ 334 w 10000"/>
                <a:gd name="connsiteY125" fmla="*/ 5071 h 10007"/>
                <a:gd name="connsiteX126" fmla="*/ 393 w 10000"/>
                <a:gd name="connsiteY126" fmla="*/ 5204 h 10007"/>
                <a:gd name="connsiteX127" fmla="*/ 452 w 10000"/>
                <a:gd name="connsiteY127" fmla="*/ 5337 h 10007"/>
                <a:gd name="connsiteX128" fmla="*/ 519 w 10000"/>
                <a:gd name="connsiteY128" fmla="*/ 5470 h 10007"/>
                <a:gd name="connsiteX129" fmla="*/ 586 w 10000"/>
                <a:gd name="connsiteY129" fmla="*/ 5603 h 10007"/>
                <a:gd name="connsiteX130" fmla="*/ 660 w 10000"/>
                <a:gd name="connsiteY130" fmla="*/ 5731 h 10007"/>
                <a:gd name="connsiteX131" fmla="*/ 741 w 10000"/>
                <a:gd name="connsiteY131" fmla="*/ 5859 h 10007"/>
                <a:gd name="connsiteX132" fmla="*/ 823 w 10000"/>
                <a:gd name="connsiteY132" fmla="*/ 5992 h 10007"/>
                <a:gd name="connsiteX133" fmla="*/ 904 w 10000"/>
                <a:gd name="connsiteY133" fmla="*/ 6116 h 10007"/>
                <a:gd name="connsiteX134" fmla="*/ 993 w 10000"/>
                <a:gd name="connsiteY134" fmla="*/ 6240 h 10007"/>
                <a:gd name="connsiteX135" fmla="*/ 1090 w 10000"/>
                <a:gd name="connsiteY135" fmla="*/ 6359 h 10007"/>
                <a:gd name="connsiteX136" fmla="*/ 1186 w 10000"/>
                <a:gd name="connsiteY136" fmla="*/ 6483 h 10007"/>
                <a:gd name="connsiteX137" fmla="*/ 1290 w 10000"/>
                <a:gd name="connsiteY137" fmla="*/ 6606 h 10007"/>
                <a:gd name="connsiteX138" fmla="*/ 1386 w 10000"/>
                <a:gd name="connsiteY138" fmla="*/ 6726 h 10007"/>
                <a:gd name="connsiteX139" fmla="*/ 1497 w 10000"/>
                <a:gd name="connsiteY139" fmla="*/ 6845 h 10007"/>
                <a:gd name="connsiteX140" fmla="*/ 1609 w 10000"/>
                <a:gd name="connsiteY140" fmla="*/ 6959 h 10007"/>
                <a:gd name="connsiteX141" fmla="*/ 1727 w 10000"/>
                <a:gd name="connsiteY141" fmla="*/ 7078 h 10007"/>
                <a:gd name="connsiteX142" fmla="*/ 1846 w 10000"/>
                <a:gd name="connsiteY142" fmla="*/ 7193 h 10007"/>
                <a:gd name="connsiteX143" fmla="*/ 1964 w 10000"/>
                <a:gd name="connsiteY143" fmla="*/ 7303 h 10007"/>
                <a:gd name="connsiteX144" fmla="*/ 2090 w 10000"/>
                <a:gd name="connsiteY144" fmla="*/ 7413 h 10007"/>
                <a:gd name="connsiteX145" fmla="*/ 2224 w 10000"/>
                <a:gd name="connsiteY145" fmla="*/ 7523 h 10007"/>
                <a:gd name="connsiteX146" fmla="*/ 2350 w 10000"/>
                <a:gd name="connsiteY146" fmla="*/ 7633 h 10007"/>
                <a:gd name="connsiteX147" fmla="*/ 2491 w 10000"/>
                <a:gd name="connsiteY147" fmla="*/ 7738 h 10007"/>
                <a:gd name="connsiteX148" fmla="*/ 2617 w 10000"/>
                <a:gd name="connsiteY148" fmla="*/ 7844 h 10007"/>
                <a:gd name="connsiteX149" fmla="*/ 2765 w 10000"/>
                <a:gd name="connsiteY149" fmla="*/ 7945 h 10007"/>
                <a:gd name="connsiteX150" fmla="*/ 2906 w 10000"/>
                <a:gd name="connsiteY150" fmla="*/ 8045 h 10007"/>
                <a:gd name="connsiteX151" fmla="*/ 3054 w 10000"/>
                <a:gd name="connsiteY151" fmla="*/ 8146 h 10007"/>
                <a:gd name="connsiteX152" fmla="*/ 3210 w 10000"/>
                <a:gd name="connsiteY152" fmla="*/ 8243 h 10007"/>
                <a:gd name="connsiteX153" fmla="*/ 3358 w 10000"/>
                <a:gd name="connsiteY153" fmla="*/ 8339 h 10007"/>
                <a:gd name="connsiteX154" fmla="*/ 3514 w 10000"/>
                <a:gd name="connsiteY154" fmla="*/ 8435 h 10007"/>
                <a:gd name="connsiteX155" fmla="*/ 3677 w 10000"/>
                <a:gd name="connsiteY155" fmla="*/ 8527 h 10007"/>
                <a:gd name="connsiteX156" fmla="*/ 3840 w 10000"/>
                <a:gd name="connsiteY156" fmla="*/ 8614 h 10007"/>
                <a:gd name="connsiteX157" fmla="*/ 4010 w 10000"/>
                <a:gd name="connsiteY157" fmla="*/ 8705 h 10007"/>
                <a:gd name="connsiteX158" fmla="*/ 4181 w 10000"/>
                <a:gd name="connsiteY158" fmla="*/ 8783 h 10007"/>
                <a:gd name="connsiteX159" fmla="*/ 4351 w 10000"/>
                <a:gd name="connsiteY159" fmla="*/ 8870 h 10007"/>
                <a:gd name="connsiteX160" fmla="*/ 4522 w 10000"/>
                <a:gd name="connsiteY160" fmla="*/ 8948 h 10007"/>
                <a:gd name="connsiteX161" fmla="*/ 4700 w 10000"/>
                <a:gd name="connsiteY161" fmla="*/ 9031 h 10007"/>
                <a:gd name="connsiteX162" fmla="*/ 4878 w 10000"/>
                <a:gd name="connsiteY162" fmla="*/ 9109 h 10007"/>
                <a:gd name="connsiteX163" fmla="*/ 5063 w 10000"/>
                <a:gd name="connsiteY163" fmla="*/ 9182 h 10007"/>
                <a:gd name="connsiteX164" fmla="*/ 5248 w 10000"/>
                <a:gd name="connsiteY164" fmla="*/ 9260 h 10007"/>
                <a:gd name="connsiteX165" fmla="*/ 5426 w 10000"/>
                <a:gd name="connsiteY165" fmla="*/ 9329 h 10007"/>
                <a:gd name="connsiteX166" fmla="*/ 5619 w 10000"/>
                <a:gd name="connsiteY166" fmla="*/ 9397 h 10007"/>
                <a:gd name="connsiteX167" fmla="*/ 5812 w 10000"/>
                <a:gd name="connsiteY167" fmla="*/ 9466 h 10007"/>
                <a:gd name="connsiteX168" fmla="*/ 6004 w 10000"/>
                <a:gd name="connsiteY168" fmla="*/ 9530 h 10007"/>
                <a:gd name="connsiteX169" fmla="*/ 6205 w 10000"/>
                <a:gd name="connsiteY169" fmla="*/ 9595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61 h 10007"/>
                <a:gd name="connsiteX179" fmla="*/ 10000 w 10000"/>
                <a:gd name="connsiteY179" fmla="*/ 6148 h 10007"/>
                <a:gd name="connsiteX0" fmla="*/ 10000 w 10000"/>
                <a:gd name="connsiteY0" fmla="*/ 6127 h 9986"/>
                <a:gd name="connsiteX1" fmla="*/ 10000 w 10000"/>
                <a:gd name="connsiteY1" fmla="*/ 6127 h 9986"/>
                <a:gd name="connsiteX2" fmla="*/ 9911 w 10000"/>
                <a:gd name="connsiteY2" fmla="*/ 6113 h 9986"/>
                <a:gd name="connsiteX3" fmla="*/ 9815 w 10000"/>
                <a:gd name="connsiteY3" fmla="*/ 6095 h 9986"/>
                <a:gd name="connsiteX4" fmla="*/ 9726 w 10000"/>
                <a:gd name="connsiteY4" fmla="*/ 6077 h 9986"/>
                <a:gd name="connsiteX5" fmla="*/ 9637 w 10000"/>
                <a:gd name="connsiteY5" fmla="*/ 6054 h 9986"/>
                <a:gd name="connsiteX6" fmla="*/ 9548 w 10000"/>
                <a:gd name="connsiteY6" fmla="*/ 6035 h 9986"/>
                <a:gd name="connsiteX7" fmla="*/ 9466 w 10000"/>
                <a:gd name="connsiteY7" fmla="*/ 6013 h 9986"/>
                <a:gd name="connsiteX8" fmla="*/ 9377 w 10000"/>
                <a:gd name="connsiteY8" fmla="*/ 5990 h 9986"/>
                <a:gd name="connsiteX9" fmla="*/ 9288 w 10000"/>
                <a:gd name="connsiteY9" fmla="*/ 5967 h 9986"/>
                <a:gd name="connsiteX10" fmla="*/ 9118 w 10000"/>
                <a:gd name="connsiteY10" fmla="*/ 5916 h 9986"/>
                <a:gd name="connsiteX11" fmla="*/ 8955 w 10000"/>
                <a:gd name="connsiteY11" fmla="*/ 5861 h 9986"/>
                <a:gd name="connsiteX12" fmla="*/ 8792 w 10000"/>
                <a:gd name="connsiteY12" fmla="*/ 5802 h 9986"/>
                <a:gd name="connsiteX13" fmla="*/ 8636 w 10000"/>
                <a:gd name="connsiteY13" fmla="*/ 5738 h 9986"/>
                <a:gd name="connsiteX14" fmla="*/ 8480 w 10000"/>
                <a:gd name="connsiteY14" fmla="*/ 5673 h 9986"/>
                <a:gd name="connsiteX15" fmla="*/ 8340 w 10000"/>
                <a:gd name="connsiteY15" fmla="*/ 5605 h 9986"/>
                <a:gd name="connsiteX16" fmla="*/ 8199 w 10000"/>
                <a:gd name="connsiteY16" fmla="*/ 5531 h 9986"/>
                <a:gd name="connsiteX17" fmla="*/ 8058 w 10000"/>
                <a:gd name="connsiteY17" fmla="*/ 5453 h 9986"/>
                <a:gd name="connsiteX18" fmla="*/ 7924 w 10000"/>
                <a:gd name="connsiteY18" fmla="*/ 5371 h 9986"/>
                <a:gd name="connsiteX19" fmla="*/ 7798 w 10000"/>
                <a:gd name="connsiteY19" fmla="*/ 5288 h 9986"/>
                <a:gd name="connsiteX20" fmla="*/ 7672 w 10000"/>
                <a:gd name="connsiteY20" fmla="*/ 5201 h 9986"/>
                <a:gd name="connsiteX21" fmla="*/ 7554 w 10000"/>
                <a:gd name="connsiteY21" fmla="*/ 5114 h 9986"/>
                <a:gd name="connsiteX22" fmla="*/ 7450 w 10000"/>
                <a:gd name="connsiteY22" fmla="*/ 5018 h 9986"/>
                <a:gd name="connsiteX23" fmla="*/ 7346 w 10000"/>
                <a:gd name="connsiteY23" fmla="*/ 4922 h 9986"/>
                <a:gd name="connsiteX24" fmla="*/ 7250 w 10000"/>
                <a:gd name="connsiteY24" fmla="*/ 4826 h 9986"/>
                <a:gd name="connsiteX25" fmla="*/ 7161 w 10000"/>
                <a:gd name="connsiteY25" fmla="*/ 4725 h 9986"/>
                <a:gd name="connsiteX26" fmla="*/ 7072 w 10000"/>
                <a:gd name="connsiteY26" fmla="*/ 4624 h 9986"/>
                <a:gd name="connsiteX27" fmla="*/ 6990 w 10000"/>
                <a:gd name="connsiteY27" fmla="*/ 4514 h 9986"/>
                <a:gd name="connsiteX28" fmla="*/ 6953 w 10000"/>
                <a:gd name="connsiteY28" fmla="*/ 4464 h 9986"/>
                <a:gd name="connsiteX29" fmla="*/ 6916 w 10000"/>
                <a:gd name="connsiteY29" fmla="*/ 4409 h 9986"/>
                <a:gd name="connsiteX30" fmla="*/ 6887 w 10000"/>
                <a:gd name="connsiteY30" fmla="*/ 4354 h 9986"/>
                <a:gd name="connsiteX31" fmla="*/ 6850 w 10000"/>
                <a:gd name="connsiteY31" fmla="*/ 4299 h 9986"/>
                <a:gd name="connsiteX32" fmla="*/ 6820 w 10000"/>
                <a:gd name="connsiteY32" fmla="*/ 4244 h 9986"/>
                <a:gd name="connsiteX33" fmla="*/ 6790 w 10000"/>
                <a:gd name="connsiteY33" fmla="*/ 4189 h 9986"/>
                <a:gd name="connsiteX34" fmla="*/ 6768 w 10000"/>
                <a:gd name="connsiteY34" fmla="*/ 4129 h 9986"/>
                <a:gd name="connsiteX35" fmla="*/ 6738 w 10000"/>
                <a:gd name="connsiteY35" fmla="*/ 4074 h 9986"/>
                <a:gd name="connsiteX36" fmla="*/ 6723 w 10000"/>
                <a:gd name="connsiteY36" fmla="*/ 4014 h 9986"/>
                <a:gd name="connsiteX37" fmla="*/ 6694 w 10000"/>
                <a:gd name="connsiteY37" fmla="*/ 3959 h 9986"/>
                <a:gd name="connsiteX38" fmla="*/ 6679 w 10000"/>
                <a:gd name="connsiteY38" fmla="*/ 3900 h 9986"/>
                <a:gd name="connsiteX39" fmla="*/ 6664 w 10000"/>
                <a:gd name="connsiteY39" fmla="*/ 3840 h 9986"/>
                <a:gd name="connsiteX40" fmla="*/ 6649 w 10000"/>
                <a:gd name="connsiteY40" fmla="*/ 3781 h 9986"/>
                <a:gd name="connsiteX41" fmla="*/ 6635 w 10000"/>
                <a:gd name="connsiteY41" fmla="*/ 3726 h 9986"/>
                <a:gd name="connsiteX42" fmla="*/ 6620 w 10000"/>
                <a:gd name="connsiteY42" fmla="*/ 3666 h 9986"/>
                <a:gd name="connsiteX43" fmla="*/ 6612 w 10000"/>
                <a:gd name="connsiteY43" fmla="*/ 3607 h 9986"/>
                <a:gd name="connsiteX44" fmla="*/ 6605 w 10000"/>
                <a:gd name="connsiteY44" fmla="*/ 3547 h 9986"/>
                <a:gd name="connsiteX45" fmla="*/ 6597 w 10000"/>
                <a:gd name="connsiteY45" fmla="*/ 3483 h 9986"/>
                <a:gd name="connsiteX46" fmla="*/ 6597 w 10000"/>
                <a:gd name="connsiteY46" fmla="*/ 3423 h 9986"/>
                <a:gd name="connsiteX47" fmla="*/ 6590 w 10000"/>
                <a:gd name="connsiteY47" fmla="*/ 3359 h 9986"/>
                <a:gd name="connsiteX48" fmla="*/ 6597 w 10000"/>
                <a:gd name="connsiteY48" fmla="*/ 3299 h 9986"/>
                <a:gd name="connsiteX49" fmla="*/ 6605 w 10000"/>
                <a:gd name="connsiteY49" fmla="*/ 3231 h 9986"/>
                <a:gd name="connsiteX50" fmla="*/ 6605 w 10000"/>
                <a:gd name="connsiteY50" fmla="*/ 3167 h 9986"/>
                <a:gd name="connsiteX51" fmla="*/ 6612 w 10000"/>
                <a:gd name="connsiteY51" fmla="*/ 3102 h 9986"/>
                <a:gd name="connsiteX52" fmla="*/ 6620 w 10000"/>
                <a:gd name="connsiteY52" fmla="*/ 3038 h 9986"/>
                <a:gd name="connsiteX53" fmla="*/ 6635 w 10000"/>
                <a:gd name="connsiteY53" fmla="*/ 2979 h 9986"/>
                <a:gd name="connsiteX54" fmla="*/ 6649 w 10000"/>
                <a:gd name="connsiteY54" fmla="*/ 2915 h 9986"/>
                <a:gd name="connsiteX55" fmla="*/ 6664 w 10000"/>
                <a:gd name="connsiteY55" fmla="*/ 2855 h 9986"/>
                <a:gd name="connsiteX56" fmla="*/ 6686 w 10000"/>
                <a:gd name="connsiteY56" fmla="*/ 2791 h 9986"/>
                <a:gd name="connsiteX57" fmla="*/ 6709 w 10000"/>
                <a:gd name="connsiteY57" fmla="*/ 2731 h 9986"/>
                <a:gd name="connsiteX58" fmla="*/ 6731 w 10000"/>
                <a:gd name="connsiteY58" fmla="*/ 2672 h 9986"/>
                <a:gd name="connsiteX59" fmla="*/ 6753 w 10000"/>
                <a:gd name="connsiteY59" fmla="*/ 2607 h 9986"/>
                <a:gd name="connsiteX60" fmla="*/ 6783 w 10000"/>
                <a:gd name="connsiteY60" fmla="*/ 2552 h 9986"/>
                <a:gd name="connsiteX61" fmla="*/ 6812 w 10000"/>
                <a:gd name="connsiteY61" fmla="*/ 2493 h 9986"/>
                <a:gd name="connsiteX62" fmla="*/ 6842 w 10000"/>
                <a:gd name="connsiteY62" fmla="*/ 2433 h 9986"/>
                <a:gd name="connsiteX63" fmla="*/ 6879 w 10000"/>
                <a:gd name="connsiteY63" fmla="*/ 2374 h 9986"/>
                <a:gd name="connsiteX64" fmla="*/ 6909 w 10000"/>
                <a:gd name="connsiteY64" fmla="*/ 2319 h 9986"/>
                <a:gd name="connsiteX65" fmla="*/ 6946 w 10000"/>
                <a:gd name="connsiteY65" fmla="*/ 2259 h 9986"/>
                <a:gd name="connsiteX66" fmla="*/ 6990 w 10000"/>
                <a:gd name="connsiteY66" fmla="*/ 2204 h 9986"/>
                <a:gd name="connsiteX67" fmla="*/ 7027 w 10000"/>
                <a:gd name="connsiteY67" fmla="*/ 2149 h 9986"/>
                <a:gd name="connsiteX68" fmla="*/ 7072 w 10000"/>
                <a:gd name="connsiteY68" fmla="*/ 2094 h 9986"/>
                <a:gd name="connsiteX69" fmla="*/ 7109 w 10000"/>
                <a:gd name="connsiteY69" fmla="*/ 2039 h 9986"/>
                <a:gd name="connsiteX70" fmla="*/ 7161 w 10000"/>
                <a:gd name="connsiteY70" fmla="*/ 1989 h 9986"/>
                <a:gd name="connsiteX71" fmla="*/ 7213 w 10000"/>
                <a:gd name="connsiteY71" fmla="*/ 1934 h 9986"/>
                <a:gd name="connsiteX72" fmla="*/ 7257 w 10000"/>
                <a:gd name="connsiteY72" fmla="*/ 1879 h 9986"/>
                <a:gd name="connsiteX73" fmla="*/ 7309 w 10000"/>
                <a:gd name="connsiteY73" fmla="*/ 1828 h 9986"/>
                <a:gd name="connsiteX74" fmla="*/ 7361 w 10000"/>
                <a:gd name="connsiteY74" fmla="*/ 1778 h 9986"/>
                <a:gd name="connsiteX75" fmla="*/ 7413 w 10000"/>
                <a:gd name="connsiteY75" fmla="*/ 1728 h 9986"/>
                <a:gd name="connsiteX76" fmla="*/ 7472 w 10000"/>
                <a:gd name="connsiteY76" fmla="*/ 1677 h 9986"/>
                <a:gd name="connsiteX77" fmla="*/ 7524 w 10000"/>
                <a:gd name="connsiteY77" fmla="*/ 1631 h 9986"/>
                <a:gd name="connsiteX78" fmla="*/ 7583 w 10000"/>
                <a:gd name="connsiteY78" fmla="*/ 1585 h 9986"/>
                <a:gd name="connsiteX79" fmla="*/ 7643 w 10000"/>
                <a:gd name="connsiteY79" fmla="*/ 1535 h 9986"/>
                <a:gd name="connsiteX80" fmla="*/ 5390 w 10000"/>
                <a:gd name="connsiteY80" fmla="*/ 6 h 9986"/>
                <a:gd name="connsiteX81" fmla="*/ 1401 w 10000"/>
                <a:gd name="connsiteY81" fmla="*/ 0 h 9986"/>
                <a:gd name="connsiteX82" fmla="*/ 1305 w 10000"/>
                <a:gd name="connsiteY82" fmla="*/ 114 h 9986"/>
                <a:gd name="connsiteX83" fmla="*/ 1223 w 10000"/>
                <a:gd name="connsiteY83" fmla="*/ 206 h 9986"/>
                <a:gd name="connsiteX84" fmla="*/ 1149 w 10000"/>
                <a:gd name="connsiteY84" fmla="*/ 302 h 9986"/>
                <a:gd name="connsiteX85" fmla="*/ 1067 w 10000"/>
                <a:gd name="connsiteY85" fmla="*/ 398 h 9986"/>
                <a:gd name="connsiteX86" fmla="*/ 1001 w 10000"/>
                <a:gd name="connsiteY86" fmla="*/ 495 h 9986"/>
                <a:gd name="connsiteX87" fmla="*/ 927 w 10000"/>
                <a:gd name="connsiteY87" fmla="*/ 591 h 9986"/>
                <a:gd name="connsiteX88" fmla="*/ 860 w 10000"/>
                <a:gd name="connsiteY88" fmla="*/ 692 h 9986"/>
                <a:gd name="connsiteX89" fmla="*/ 793 w 10000"/>
                <a:gd name="connsiteY89" fmla="*/ 793 h 9986"/>
                <a:gd name="connsiteX90" fmla="*/ 734 w 10000"/>
                <a:gd name="connsiteY90" fmla="*/ 889 h 9986"/>
                <a:gd name="connsiteX91" fmla="*/ 675 w 10000"/>
                <a:gd name="connsiteY91" fmla="*/ 990 h 9986"/>
                <a:gd name="connsiteX92" fmla="*/ 615 w 10000"/>
                <a:gd name="connsiteY92" fmla="*/ 1090 h 9986"/>
                <a:gd name="connsiteX93" fmla="*/ 556 w 10000"/>
                <a:gd name="connsiteY93" fmla="*/ 1196 h 9986"/>
                <a:gd name="connsiteX94" fmla="*/ 504 w 10000"/>
                <a:gd name="connsiteY94" fmla="*/ 1292 h 9986"/>
                <a:gd name="connsiteX95" fmla="*/ 452 w 10000"/>
                <a:gd name="connsiteY95" fmla="*/ 1398 h 9986"/>
                <a:gd name="connsiteX96" fmla="*/ 408 w 10000"/>
                <a:gd name="connsiteY96" fmla="*/ 1498 h 9986"/>
                <a:gd name="connsiteX97" fmla="*/ 363 w 10000"/>
                <a:gd name="connsiteY97" fmla="*/ 1604 h 9986"/>
                <a:gd name="connsiteX98" fmla="*/ 319 w 10000"/>
                <a:gd name="connsiteY98" fmla="*/ 1709 h 9986"/>
                <a:gd name="connsiteX99" fmla="*/ 282 w 10000"/>
                <a:gd name="connsiteY99" fmla="*/ 1815 h 9986"/>
                <a:gd name="connsiteX100" fmla="*/ 237 w 10000"/>
                <a:gd name="connsiteY100" fmla="*/ 1925 h 9986"/>
                <a:gd name="connsiteX101" fmla="*/ 208 w 10000"/>
                <a:gd name="connsiteY101" fmla="*/ 2030 h 9986"/>
                <a:gd name="connsiteX102" fmla="*/ 170 w 10000"/>
                <a:gd name="connsiteY102" fmla="*/ 2140 h 9986"/>
                <a:gd name="connsiteX103" fmla="*/ 148 w 10000"/>
                <a:gd name="connsiteY103" fmla="*/ 2250 h 9986"/>
                <a:gd name="connsiteX104" fmla="*/ 119 w 10000"/>
                <a:gd name="connsiteY104" fmla="*/ 2355 h 9986"/>
                <a:gd name="connsiteX105" fmla="*/ 96 w 10000"/>
                <a:gd name="connsiteY105" fmla="*/ 2465 h 9986"/>
                <a:gd name="connsiteX106" fmla="*/ 74 w 10000"/>
                <a:gd name="connsiteY106" fmla="*/ 2575 h 9986"/>
                <a:gd name="connsiteX107" fmla="*/ 52 w 10000"/>
                <a:gd name="connsiteY107" fmla="*/ 2690 h 9986"/>
                <a:gd name="connsiteX108" fmla="*/ 37 w 10000"/>
                <a:gd name="connsiteY108" fmla="*/ 2800 h 9986"/>
                <a:gd name="connsiteX109" fmla="*/ 22 w 10000"/>
                <a:gd name="connsiteY109" fmla="*/ 2910 h 9986"/>
                <a:gd name="connsiteX110" fmla="*/ 15 w 10000"/>
                <a:gd name="connsiteY110" fmla="*/ 3020 h 9986"/>
                <a:gd name="connsiteX111" fmla="*/ 7 w 10000"/>
                <a:gd name="connsiteY111" fmla="*/ 3134 h 9986"/>
                <a:gd name="connsiteX112" fmla="*/ 0 w 10000"/>
                <a:gd name="connsiteY112" fmla="*/ 3244 h 9986"/>
                <a:gd name="connsiteX113" fmla="*/ 0 w 10000"/>
                <a:gd name="connsiteY113" fmla="*/ 3359 h 9986"/>
                <a:gd name="connsiteX114" fmla="*/ 7 w 10000"/>
                <a:gd name="connsiteY114" fmla="*/ 3506 h 9986"/>
                <a:gd name="connsiteX115" fmla="*/ 7 w 10000"/>
                <a:gd name="connsiteY115" fmla="*/ 3652 h 9986"/>
                <a:gd name="connsiteX116" fmla="*/ 22 w 10000"/>
                <a:gd name="connsiteY116" fmla="*/ 3790 h 9986"/>
                <a:gd name="connsiteX117" fmla="*/ 37 w 10000"/>
                <a:gd name="connsiteY117" fmla="*/ 3932 h 9986"/>
                <a:gd name="connsiteX118" fmla="*/ 59 w 10000"/>
                <a:gd name="connsiteY118" fmla="*/ 4074 h 9986"/>
                <a:gd name="connsiteX119" fmla="*/ 89 w 10000"/>
                <a:gd name="connsiteY119" fmla="*/ 4216 h 9986"/>
                <a:gd name="connsiteX120" fmla="*/ 119 w 10000"/>
                <a:gd name="connsiteY120" fmla="*/ 4358 h 9986"/>
                <a:gd name="connsiteX121" fmla="*/ 148 w 10000"/>
                <a:gd name="connsiteY121" fmla="*/ 4500 h 9986"/>
                <a:gd name="connsiteX122" fmla="*/ 193 w 10000"/>
                <a:gd name="connsiteY122" fmla="*/ 4638 h 9986"/>
                <a:gd name="connsiteX123" fmla="*/ 237 w 10000"/>
                <a:gd name="connsiteY123" fmla="*/ 4775 h 9986"/>
                <a:gd name="connsiteX124" fmla="*/ 282 w 10000"/>
                <a:gd name="connsiteY124" fmla="*/ 4913 h 9986"/>
                <a:gd name="connsiteX125" fmla="*/ 334 w 10000"/>
                <a:gd name="connsiteY125" fmla="*/ 5050 h 9986"/>
                <a:gd name="connsiteX126" fmla="*/ 393 w 10000"/>
                <a:gd name="connsiteY126" fmla="*/ 5183 h 9986"/>
                <a:gd name="connsiteX127" fmla="*/ 452 w 10000"/>
                <a:gd name="connsiteY127" fmla="*/ 5316 h 9986"/>
                <a:gd name="connsiteX128" fmla="*/ 519 w 10000"/>
                <a:gd name="connsiteY128" fmla="*/ 5449 h 9986"/>
                <a:gd name="connsiteX129" fmla="*/ 586 w 10000"/>
                <a:gd name="connsiteY129" fmla="*/ 5582 h 9986"/>
                <a:gd name="connsiteX130" fmla="*/ 660 w 10000"/>
                <a:gd name="connsiteY130" fmla="*/ 5710 h 9986"/>
                <a:gd name="connsiteX131" fmla="*/ 741 w 10000"/>
                <a:gd name="connsiteY131" fmla="*/ 5838 h 9986"/>
                <a:gd name="connsiteX132" fmla="*/ 823 w 10000"/>
                <a:gd name="connsiteY132" fmla="*/ 5971 h 9986"/>
                <a:gd name="connsiteX133" fmla="*/ 904 w 10000"/>
                <a:gd name="connsiteY133" fmla="*/ 6095 h 9986"/>
                <a:gd name="connsiteX134" fmla="*/ 993 w 10000"/>
                <a:gd name="connsiteY134" fmla="*/ 6219 h 9986"/>
                <a:gd name="connsiteX135" fmla="*/ 1090 w 10000"/>
                <a:gd name="connsiteY135" fmla="*/ 6338 h 9986"/>
                <a:gd name="connsiteX136" fmla="*/ 1186 w 10000"/>
                <a:gd name="connsiteY136" fmla="*/ 6462 h 9986"/>
                <a:gd name="connsiteX137" fmla="*/ 1290 w 10000"/>
                <a:gd name="connsiteY137" fmla="*/ 6585 h 9986"/>
                <a:gd name="connsiteX138" fmla="*/ 1386 w 10000"/>
                <a:gd name="connsiteY138" fmla="*/ 6705 h 9986"/>
                <a:gd name="connsiteX139" fmla="*/ 1497 w 10000"/>
                <a:gd name="connsiteY139" fmla="*/ 6824 h 9986"/>
                <a:gd name="connsiteX140" fmla="*/ 1609 w 10000"/>
                <a:gd name="connsiteY140" fmla="*/ 6938 h 9986"/>
                <a:gd name="connsiteX141" fmla="*/ 1727 w 10000"/>
                <a:gd name="connsiteY141" fmla="*/ 7057 h 9986"/>
                <a:gd name="connsiteX142" fmla="*/ 1846 w 10000"/>
                <a:gd name="connsiteY142" fmla="*/ 7172 h 9986"/>
                <a:gd name="connsiteX143" fmla="*/ 1964 w 10000"/>
                <a:gd name="connsiteY143" fmla="*/ 7282 h 9986"/>
                <a:gd name="connsiteX144" fmla="*/ 2090 w 10000"/>
                <a:gd name="connsiteY144" fmla="*/ 7392 h 9986"/>
                <a:gd name="connsiteX145" fmla="*/ 2224 w 10000"/>
                <a:gd name="connsiteY145" fmla="*/ 7502 h 9986"/>
                <a:gd name="connsiteX146" fmla="*/ 2350 w 10000"/>
                <a:gd name="connsiteY146" fmla="*/ 7612 h 9986"/>
                <a:gd name="connsiteX147" fmla="*/ 2491 w 10000"/>
                <a:gd name="connsiteY147" fmla="*/ 7717 h 9986"/>
                <a:gd name="connsiteX148" fmla="*/ 2617 w 10000"/>
                <a:gd name="connsiteY148" fmla="*/ 7823 h 9986"/>
                <a:gd name="connsiteX149" fmla="*/ 2765 w 10000"/>
                <a:gd name="connsiteY149" fmla="*/ 7924 h 9986"/>
                <a:gd name="connsiteX150" fmla="*/ 2906 w 10000"/>
                <a:gd name="connsiteY150" fmla="*/ 8024 h 9986"/>
                <a:gd name="connsiteX151" fmla="*/ 3054 w 10000"/>
                <a:gd name="connsiteY151" fmla="*/ 8125 h 9986"/>
                <a:gd name="connsiteX152" fmla="*/ 3210 w 10000"/>
                <a:gd name="connsiteY152" fmla="*/ 8222 h 9986"/>
                <a:gd name="connsiteX153" fmla="*/ 3358 w 10000"/>
                <a:gd name="connsiteY153" fmla="*/ 8318 h 9986"/>
                <a:gd name="connsiteX154" fmla="*/ 3514 w 10000"/>
                <a:gd name="connsiteY154" fmla="*/ 8414 h 9986"/>
                <a:gd name="connsiteX155" fmla="*/ 3677 w 10000"/>
                <a:gd name="connsiteY155" fmla="*/ 8506 h 9986"/>
                <a:gd name="connsiteX156" fmla="*/ 3840 w 10000"/>
                <a:gd name="connsiteY156" fmla="*/ 8593 h 9986"/>
                <a:gd name="connsiteX157" fmla="*/ 4010 w 10000"/>
                <a:gd name="connsiteY157" fmla="*/ 8684 h 9986"/>
                <a:gd name="connsiteX158" fmla="*/ 4181 w 10000"/>
                <a:gd name="connsiteY158" fmla="*/ 8762 h 9986"/>
                <a:gd name="connsiteX159" fmla="*/ 4351 w 10000"/>
                <a:gd name="connsiteY159" fmla="*/ 8849 h 9986"/>
                <a:gd name="connsiteX160" fmla="*/ 4522 w 10000"/>
                <a:gd name="connsiteY160" fmla="*/ 8927 h 9986"/>
                <a:gd name="connsiteX161" fmla="*/ 4700 w 10000"/>
                <a:gd name="connsiteY161" fmla="*/ 9010 h 9986"/>
                <a:gd name="connsiteX162" fmla="*/ 4878 w 10000"/>
                <a:gd name="connsiteY162" fmla="*/ 9088 h 9986"/>
                <a:gd name="connsiteX163" fmla="*/ 5063 w 10000"/>
                <a:gd name="connsiteY163" fmla="*/ 9161 h 9986"/>
                <a:gd name="connsiteX164" fmla="*/ 5248 w 10000"/>
                <a:gd name="connsiteY164" fmla="*/ 9239 h 9986"/>
                <a:gd name="connsiteX165" fmla="*/ 5426 w 10000"/>
                <a:gd name="connsiteY165" fmla="*/ 9308 h 9986"/>
                <a:gd name="connsiteX166" fmla="*/ 5619 w 10000"/>
                <a:gd name="connsiteY166" fmla="*/ 9376 h 9986"/>
                <a:gd name="connsiteX167" fmla="*/ 5812 w 10000"/>
                <a:gd name="connsiteY167" fmla="*/ 9445 h 9986"/>
                <a:gd name="connsiteX168" fmla="*/ 6004 w 10000"/>
                <a:gd name="connsiteY168" fmla="*/ 9509 h 9986"/>
                <a:gd name="connsiteX169" fmla="*/ 6205 w 10000"/>
                <a:gd name="connsiteY169" fmla="*/ 9574 h 9986"/>
                <a:gd name="connsiteX170" fmla="*/ 6397 w 10000"/>
                <a:gd name="connsiteY170" fmla="*/ 9633 h 9986"/>
                <a:gd name="connsiteX171" fmla="*/ 6605 w 10000"/>
                <a:gd name="connsiteY171" fmla="*/ 9688 h 9986"/>
                <a:gd name="connsiteX172" fmla="*/ 6805 w 10000"/>
                <a:gd name="connsiteY172" fmla="*/ 9743 h 9986"/>
                <a:gd name="connsiteX173" fmla="*/ 7005 w 10000"/>
                <a:gd name="connsiteY173" fmla="*/ 9798 h 9986"/>
                <a:gd name="connsiteX174" fmla="*/ 7213 w 10000"/>
                <a:gd name="connsiteY174" fmla="*/ 9849 h 9986"/>
                <a:gd name="connsiteX175" fmla="*/ 7420 w 10000"/>
                <a:gd name="connsiteY175" fmla="*/ 9894 h 9986"/>
                <a:gd name="connsiteX176" fmla="*/ 7628 w 10000"/>
                <a:gd name="connsiteY176" fmla="*/ 9940 h 9986"/>
                <a:gd name="connsiteX177" fmla="*/ 7835 w 10000"/>
                <a:gd name="connsiteY177" fmla="*/ 9986 h 9986"/>
                <a:gd name="connsiteX178" fmla="*/ 7539 w 10000"/>
                <a:gd name="connsiteY178" fmla="*/ 7740 h 9986"/>
                <a:gd name="connsiteX179" fmla="*/ 10000 w 10000"/>
                <a:gd name="connsiteY179" fmla="*/ 6127 h 9986"/>
                <a:gd name="connsiteX0" fmla="*/ 10000 w 10000"/>
                <a:gd name="connsiteY0" fmla="*/ 6136 h 10000"/>
                <a:gd name="connsiteX1" fmla="*/ 10000 w 10000"/>
                <a:gd name="connsiteY1" fmla="*/ 6136 h 10000"/>
                <a:gd name="connsiteX2" fmla="*/ 9911 w 10000"/>
                <a:gd name="connsiteY2" fmla="*/ 6122 h 10000"/>
                <a:gd name="connsiteX3" fmla="*/ 9815 w 10000"/>
                <a:gd name="connsiteY3" fmla="*/ 6104 h 10000"/>
                <a:gd name="connsiteX4" fmla="*/ 9726 w 10000"/>
                <a:gd name="connsiteY4" fmla="*/ 6086 h 10000"/>
                <a:gd name="connsiteX5" fmla="*/ 9637 w 10000"/>
                <a:gd name="connsiteY5" fmla="*/ 6062 h 10000"/>
                <a:gd name="connsiteX6" fmla="*/ 9548 w 10000"/>
                <a:gd name="connsiteY6" fmla="*/ 6043 h 10000"/>
                <a:gd name="connsiteX7" fmla="*/ 9466 w 10000"/>
                <a:gd name="connsiteY7" fmla="*/ 6021 h 10000"/>
                <a:gd name="connsiteX8" fmla="*/ 9377 w 10000"/>
                <a:gd name="connsiteY8" fmla="*/ 5998 h 10000"/>
                <a:gd name="connsiteX9" fmla="*/ 9288 w 10000"/>
                <a:gd name="connsiteY9" fmla="*/ 5975 h 10000"/>
                <a:gd name="connsiteX10" fmla="*/ 9118 w 10000"/>
                <a:gd name="connsiteY10" fmla="*/ 5924 h 10000"/>
                <a:gd name="connsiteX11" fmla="*/ 8955 w 10000"/>
                <a:gd name="connsiteY11" fmla="*/ 5869 h 10000"/>
                <a:gd name="connsiteX12" fmla="*/ 8792 w 10000"/>
                <a:gd name="connsiteY12" fmla="*/ 5810 h 10000"/>
                <a:gd name="connsiteX13" fmla="*/ 8636 w 10000"/>
                <a:gd name="connsiteY13" fmla="*/ 5746 h 10000"/>
                <a:gd name="connsiteX14" fmla="*/ 8480 w 10000"/>
                <a:gd name="connsiteY14" fmla="*/ 5681 h 10000"/>
                <a:gd name="connsiteX15" fmla="*/ 8340 w 10000"/>
                <a:gd name="connsiteY15" fmla="*/ 5613 h 10000"/>
                <a:gd name="connsiteX16" fmla="*/ 8199 w 10000"/>
                <a:gd name="connsiteY16" fmla="*/ 5539 h 10000"/>
                <a:gd name="connsiteX17" fmla="*/ 8058 w 10000"/>
                <a:gd name="connsiteY17" fmla="*/ 5461 h 10000"/>
                <a:gd name="connsiteX18" fmla="*/ 7924 w 10000"/>
                <a:gd name="connsiteY18" fmla="*/ 5379 h 10000"/>
                <a:gd name="connsiteX19" fmla="*/ 7798 w 10000"/>
                <a:gd name="connsiteY19" fmla="*/ 5295 h 10000"/>
                <a:gd name="connsiteX20" fmla="*/ 7672 w 10000"/>
                <a:gd name="connsiteY20" fmla="*/ 5208 h 10000"/>
                <a:gd name="connsiteX21" fmla="*/ 7554 w 10000"/>
                <a:gd name="connsiteY21" fmla="*/ 5121 h 10000"/>
                <a:gd name="connsiteX22" fmla="*/ 7450 w 10000"/>
                <a:gd name="connsiteY22" fmla="*/ 5025 h 10000"/>
                <a:gd name="connsiteX23" fmla="*/ 7346 w 10000"/>
                <a:gd name="connsiteY23" fmla="*/ 4929 h 10000"/>
                <a:gd name="connsiteX24" fmla="*/ 7250 w 10000"/>
                <a:gd name="connsiteY24" fmla="*/ 4833 h 10000"/>
                <a:gd name="connsiteX25" fmla="*/ 7161 w 10000"/>
                <a:gd name="connsiteY25" fmla="*/ 4732 h 10000"/>
                <a:gd name="connsiteX26" fmla="*/ 7072 w 10000"/>
                <a:gd name="connsiteY26" fmla="*/ 4630 h 10000"/>
                <a:gd name="connsiteX27" fmla="*/ 6990 w 10000"/>
                <a:gd name="connsiteY27" fmla="*/ 4520 h 10000"/>
                <a:gd name="connsiteX28" fmla="*/ 6953 w 10000"/>
                <a:gd name="connsiteY28" fmla="*/ 4470 h 10000"/>
                <a:gd name="connsiteX29" fmla="*/ 6916 w 10000"/>
                <a:gd name="connsiteY29" fmla="*/ 4415 h 10000"/>
                <a:gd name="connsiteX30" fmla="*/ 6887 w 10000"/>
                <a:gd name="connsiteY30" fmla="*/ 4360 h 10000"/>
                <a:gd name="connsiteX31" fmla="*/ 6850 w 10000"/>
                <a:gd name="connsiteY31" fmla="*/ 4305 h 10000"/>
                <a:gd name="connsiteX32" fmla="*/ 6820 w 10000"/>
                <a:gd name="connsiteY32" fmla="*/ 4250 h 10000"/>
                <a:gd name="connsiteX33" fmla="*/ 6790 w 10000"/>
                <a:gd name="connsiteY33" fmla="*/ 4195 h 10000"/>
                <a:gd name="connsiteX34" fmla="*/ 6768 w 10000"/>
                <a:gd name="connsiteY34" fmla="*/ 4135 h 10000"/>
                <a:gd name="connsiteX35" fmla="*/ 6738 w 10000"/>
                <a:gd name="connsiteY35" fmla="*/ 4080 h 10000"/>
                <a:gd name="connsiteX36" fmla="*/ 6723 w 10000"/>
                <a:gd name="connsiteY36" fmla="*/ 4020 h 10000"/>
                <a:gd name="connsiteX37" fmla="*/ 6694 w 10000"/>
                <a:gd name="connsiteY37" fmla="*/ 3965 h 10000"/>
                <a:gd name="connsiteX38" fmla="*/ 6679 w 10000"/>
                <a:gd name="connsiteY38" fmla="*/ 3905 h 10000"/>
                <a:gd name="connsiteX39" fmla="*/ 6664 w 10000"/>
                <a:gd name="connsiteY39" fmla="*/ 3845 h 10000"/>
                <a:gd name="connsiteX40" fmla="*/ 6649 w 10000"/>
                <a:gd name="connsiteY40" fmla="*/ 3786 h 10000"/>
                <a:gd name="connsiteX41" fmla="*/ 6635 w 10000"/>
                <a:gd name="connsiteY41" fmla="*/ 3731 h 10000"/>
                <a:gd name="connsiteX42" fmla="*/ 6620 w 10000"/>
                <a:gd name="connsiteY42" fmla="*/ 3671 h 10000"/>
                <a:gd name="connsiteX43" fmla="*/ 6612 w 10000"/>
                <a:gd name="connsiteY43" fmla="*/ 3612 h 10000"/>
                <a:gd name="connsiteX44" fmla="*/ 6605 w 10000"/>
                <a:gd name="connsiteY44" fmla="*/ 3552 h 10000"/>
                <a:gd name="connsiteX45" fmla="*/ 6597 w 10000"/>
                <a:gd name="connsiteY45" fmla="*/ 3488 h 10000"/>
                <a:gd name="connsiteX46" fmla="*/ 6597 w 10000"/>
                <a:gd name="connsiteY46" fmla="*/ 3428 h 10000"/>
                <a:gd name="connsiteX47" fmla="*/ 6590 w 10000"/>
                <a:gd name="connsiteY47" fmla="*/ 3364 h 10000"/>
                <a:gd name="connsiteX48" fmla="*/ 6597 w 10000"/>
                <a:gd name="connsiteY48" fmla="*/ 3304 h 10000"/>
                <a:gd name="connsiteX49" fmla="*/ 6605 w 10000"/>
                <a:gd name="connsiteY49" fmla="*/ 3236 h 10000"/>
                <a:gd name="connsiteX50" fmla="*/ 6605 w 10000"/>
                <a:gd name="connsiteY50" fmla="*/ 3171 h 10000"/>
                <a:gd name="connsiteX51" fmla="*/ 6612 w 10000"/>
                <a:gd name="connsiteY51" fmla="*/ 3106 h 10000"/>
                <a:gd name="connsiteX52" fmla="*/ 6620 w 10000"/>
                <a:gd name="connsiteY52" fmla="*/ 3042 h 10000"/>
                <a:gd name="connsiteX53" fmla="*/ 6635 w 10000"/>
                <a:gd name="connsiteY53" fmla="*/ 2983 h 10000"/>
                <a:gd name="connsiteX54" fmla="*/ 6649 w 10000"/>
                <a:gd name="connsiteY54" fmla="*/ 2919 h 10000"/>
                <a:gd name="connsiteX55" fmla="*/ 6664 w 10000"/>
                <a:gd name="connsiteY55" fmla="*/ 2859 h 10000"/>
                <a:gd name="connsiteX56" fmla="*/ 6686 w 10000"/>
                <a:gd name="connsiteY56" fmla="*/ 2795 h 10000"/>
                <a:gd name="connsiteX57" fmla="*/ 6709 w 10000"/>
                <a:gd name="connsiteY57" fmla="*/ 2735 h 10000"/>
                <a:gd name="connsiteX58" fmla="*/ 6731 w 10000"/>
                <a:gd name="connsiteY58" fmla="*/ 2676 h 10000"/>
                <a:gd name="connsiteX59" fmla="*/ 6753 w 10000"/>
                <a:gd name="connsiteY59" fmla="*/ 2611 h 10000"/>
                <a:gd name="connsiteX60" fmla="*/ 6783 w 10000"/>
                <a:gd name="connsiteY60" fmla="*/ 2556 h 10000"/>
                <a:gd name="connsiteX61" fmla="*/ 6812 w 10000"/>
                <a:gd name="connsiteY61" fmla="*/ 2496 h 10000"/>
                <a:gd name="connsiteX62" fmla="*/ 6842 w 10000"/>
                <a:gd name="connsiteY62" fmla="*/ 2436 h 10000"/>
                <a:gd name="connsiteX63" fmla="*/ 6879 w 10000"/>
                <a:gd name="connsiteY63" fmla="*/ 2377 h 10000"/>
                <a:gd name="connsiteX64" fmla="*/ 6909 w 10000"/>
                <a:gd name="connsiteY64" fmla="*/ 2322 h 10000"/>
                <a:gd name="connsiteX65" fmla="*/ 6946 w 10000"/>
                <a:gd name="connsiteY65" fmla="*/ 2262 h 10000"/>
                <a:gd name="connsiteX66" fmla="*/ 6990 w 10000"/>
                <a:gd name="connsiteY66" fmla="*/ 2207 h 10000"/>
                <a:gd name="connsiteX67" fmla="*/ 7027 w 10000"/>
                <a:gd name="connsiteY67" fmla="*/ 2152 h 10000"/>
                <a:gd name="connsiteX68" fmla="*/ 7072 w 10000"/>
                <a:gd name="connsiteY68" fmla="*/ 2097 h 10000"/>
                <a:gd name="connsiteX69" fmla="*/ 7109 w 10000"/>
                <a:gd name="connsiteY69" fmla="*/ 2042 h 10000"/>
                <a:gd name="connsiteX70" fmla="*/ 7161 w 10000"/>
                <a:gd name="connsiteY70" fmla="*/ 1992 h 10000"/>
                <a:gd name="connsiteX71" fmla="*/ 7213 w 10000"/>
                <a:gd name="connsiteY71" fmla="*/ 1937 h 10000"/>
                <a:gd name="connsiteX72" fmla="*/ 7257 w 10000"/>
                <a:gd name="connsiteY72" fmla="*/ 1882 h 10000"/>
                <a:gd name="connsiteX73" fmla="*/ 7309 w 10000"/>
                <a:gd name="connsiteY73" fmla="*/ 1831 h 10000"/>
                <a:gd name="connsiteX74" fmla="*/ 7361 w 10000"/>
                <a:gd name="connsiteY74" fmla="*/ 1780 h 10000"/>
                <a:gd name="connsiteX75" fmla="*/ 7413 w 10000"/>
                <a:gd name="connsiteY75" fmla="*/ 1730 h 10000"/>
                <a:gd name="connsiteX76" fmla="*/ 7472 w 10000"/>
                <a:gd name="connsiteY76" fmla="*/ 1679 h 10000"/>
                <a:gd name="connsiteX77" fmla="*/ 7524 w 10000"/>
                <a:gd name="connsiteY77" fmla="*/ 1633 h 10000"/>
                <a:gd name="connsiteX78" fmla="*/ 7583 w 10000"/>
                <a:gd name="connsiteY78" fmla="*/ 1587 h 10000"/>
                <a:gd name="connsiteX79" fmla="*/ 7610 w 10000"/>
                <a:gd name="connsiteY79" fmla="*/ 1558 h 10000"/>
                <a:gd name="connsiteX80" fmla="*/ 5390 w 10000"/>
                <a:gd name="connsiteY80" fmla="*/ 6 h 10000"/>
                <a:gd name="connsiteX81" fmla="*/ 1401 w 10000"/>
                <a:gd name="connsiteY81" fmla="*/ 0 h 10000"/>
                <a:gd name="connsiteX82" fmla="*/ 1305 w 10000"/>
                <a:gd name="connsiteY82" fmla="*/ 114 h 10000"/>
                <a:gd name="connsiteX83" fmla="*/ 1223 w 10000"/>
                <a:gd name="connsiteY83" fmla="*/ 206 h 10000"/>
                <a:gd name="connsiteX84" fmla="*/ 1149 w 10000"/>
                <a:gd name="connsiteY84" fmla="*/ 302 h 10000"/>
                <a:gd name="connsiteX85" fmla="*/ 1067 w 10000"/>
                <a:gd name="connsiteY85" fmla="*/ 399 h 10000"/>
                <a:gd name="connsiteX86" fmla="*/ 1001 w 10000"/>
                <a:gd name="connsiteY86" fmla="*/ 496 h 10000"/>
                <a:gd name="connsiteX87" fmla="*/ 927 w 10000"/>
                <a:gd name="connsiteY87" fmla="*/ 592 h 10000"/>
                <a:gd name="connsiteX88" fmla="*/ 860 w 10000"/>
                <a:gd name="connsiteY88" fmla="*/ 693 h 10000"/>
                <a:gd name="connsiteX89" fmla="*/ 793 w 10000"/>
                <a:gd name="connsiteY89" fmla="*/ 794 h 10000"/>
                <a:gd name="connsiteX90" fmla="*/ 734 w 10000"/>
                <a:gd name="connsiteY90" fmla="*/ 890 h 10000"/>
                <a:gd name="connsiteX91" fmla="*/ 675 w 10000"/>
                <a:gd name="connsiteY91" fmla="*/ 991 h 10000"/>
                <a:gd name="connsiteX92" fmla="*/ 615 w 10000"/>
                <a:gd name="connsiteY92" fmla="*/ 1092 h 10000"/>
                <a:gd name="connsiteX93" fmla="*/ 556 w 10000"/>
                <a:gd name="connsiteY93" fmla="*/ 1198 h 10000"/>
                <a:gd name="connsiteX94" fmla="*/ 504 w 10000"/>
                <a:gd name="connsiteY94" fmla="*/ 1294 h 10000"/>
                <a:gd name="connsiteX95" fmla="*/ 452 w 10000"/>
                <a:gd name="connsiteY95" fmla="*/ 1400 h 10000"/>
                <a:gd name="connsiteX96" fmla="*/ 408 w 10000"/>
                <a:gd name="connsiteY96" fmla="*/ 1500 h 10000"/>
                <a:gd name="connsiteX97" fmla="*/ 363 w 10000"/>
                <a:gd name="connsiteY97" fmla="*/ 1606 h 10000"/>
                <a:gd name="connsiteX98" fmla="*/ 319 w 10000"/>
                <a:gd name="connsiteY98" fmla="*/ 1711 h 10000"/>
                <a:gd name="connsiteX99" fmla="*/ 282 w 10000"/>
                <a:gd name="connsiteY99" fmla="*/ 1818 h 10000"/>
                <a:gd name="connsiteX100" fmla="*/ 237 w 10000"/>
                <a:gd name="connsiteY100" fmla="*/ 1928 h 10000"/>
                <a:gd name="connsiteX101" fmla="*/ 208 w 10000"/>
                <a:gd name="connsiteY101" fmla="*/ 2033 h 10000"/>
                <a:gd name="connsiteX102" fmla="*/ 170 w 10000"/>
                <a:gd name="connsiteY102" fmla="*/ 2143 h 10000"/>
                <a:gd name="connsiteX103" fmla="*/ 148 w 10000"/>
                <a:gd name="connsiteY103" fmla="*/ 2253 h 10000"/>
                <a:gd name="connsiteX104" fmla="*/ 119 w 10000"/>
                <a:gd name="connsiteY104" fmla="*/ 2358 h 10000"/>
                <a:gd name="connsiteX105" fmla="*/ 96 w 10000"/>
                <a:gd name="connsiteY105" fmla="*/ 2468 h 10000"/>
                <a:gd name="connsiteX106" fmla="*/ 74 w 10000"/>
                <a:gd name="connsiteY106" fmla="*/ 2579 h 10000"/>
                <a:gd name="connsiteX107" fmla="*/ 52 w 10000"/>
                <a:gd name="connsiteY107" fmla="*/ 2694 h 10000"/>
                <a:gd name="connsiteX108" fmla="*/ 37 w 10000"/>
                <a:gd name="connsiteY108" fmla="*/ 2804 h 10000"/>
                <a:gd name="connsiteX109" fmla="*/ 22 w 10000"/>
                <a:gd name="connsiteY109" fmla="*/ 2914 h 10000"/>
                <a:gd name="connsiteX110" fmla="*/ 15 w 10000"/>
                <a:gd name="connsiteY110" fmla="*/ 3024 h 10000"/>
                <a:gd name="connsiteX111" fmla="*/ 7 w 10000"/>
                <a:gd name="connsiteY111" fmla="*/ 3138 h 10000"/>
                <a:gd name="connsiteX112" fmla="*/ 0 w 10000"/>
                <a:gd name="connsiteY112" fmla="*/ 3249 h 10000"/>
                <a:gd name="connsiteX113" fmla="*/ 0 w 10000"/>
                <a:gd name="connsiteY113" fmla="*/ 3364 h 10000"/>
                <a:gd name="connsiteX114" fmla="*/ 7 w 10000"/>
                <a:gd name="connsiteY114" fmla="*/ 3511 h 10000"/>
                <a:gd name="connsiteX115" fmla="*/ 7 w 10000"/>
                <a:gd name="connsiteY115" fmla="*/ 3657 h 10000"/>
                <a:gd name="connsiteX116" fmla="*/ 22 w 10000"/>
                <a:gd name="connsiteY116" fmla="*/ 3795 h 10000"/>
                <a:gd name="connsiteX117" fmla="*/ 37 w 10000"/>
                <a:gd name="connsiteY117" fmla="*/ 3938 h 10000"/>
                <a:gd name="connsiteX118" fmla="*/ 59 w 10000"/>
                <a:gd name="connsiteY118" fmla="*/ 4080 h 10000"/>
                <a:gd name="connsiteX119" fmla="*/ 89 w 10000"/>
                <a:gd name="connsiteY119" fmla="*/ 4222 h 10000"/>
                <a:gd name="connsiteX120" fmla="*/ 119 w 10000"/>
                <a:gd name="connsiteY120" fmla="*/ 4364 h 10000"/>
                <a:gd name="connsiteX121" fmla="*/ 148 w 10000"/>
                <a:gd name="connsiteY121" fmla="*/ 4506 h 10000"/>
                <a:gd name="connsiteX122" fmla="*/ 193 w 10000"/>
                <a:gd name="connsiteY122" fmla="*/ 4645 h 10000"/>
                <a:gd name="connsiteX123" fmla="*/ 237 w 10000"/>
                <a:gd name="connsiteY123" fmla="*/ 4782 h 10000"/>
                <a:gd name="connsiteX124" fmla="*/ 282 w 10000"/>
                <a:gd name="connsiteY124" fmla="*/ 4920 h 10000"/>
                <a:gd name="connsiteX125" fmla="*/ 334 w 10000"/>
                <a:gd name="connsiteY125" fmla="*/ 5057 h 10000"/>
                <a:gd name="connsiteX126" fmla="*/ 393 w 10000"/>
                <a:gd name="connsiteY126" fmla="*/ 5190 h 10000"/>
                <a:gd name="connsiteX127" fmla="*/ 452 w 10000"/>
                <a:gd name="connsiteY127" fmla="*/ 5323 h 10000"/>
                <a:gd name="connsiteX128" fmla="*/ 519 w 10000"/>
                <a:gd name="connsiteY128" fmla="*/ 5457 h 10000"/>
                <a:gd name="connsiteX129" fmla="*/ 586 w 10000"/>
                <a:gd name="connsiteY129" fmla="*/ 5590 h 10000"/>
                <a:gd name="connsiteX130" fmla="*/ 660 w 10000"/>
                <a:gd name="connsiteY130" fmla="*/ 5718 h 10000"/>
                <a:gd name="connsiteX131" fmla="*/ 741 w 10000"/>
                <a:gd name="connsiteY131" fmla="*/ 5846 h 10000"/>
                <a:gd name="connsiteX132" fmla="*/ 823 w 10000"/>
                <a:gd name="connsiteY132" fmla="*/ 5979 h 10000"/>
                <a:gd name="connsiteX133" fmla="*/ 904 w 10000"/>
                <a:gd name="connsiteY133" fmla="*/ 6104 h 10000"/>
                <a:gd name="connsiteX134" fmla="*/ 993 w 10000"/>
                <a:gd name="connsiteY134" fmla="*/ 6228 h 10000"/>
                <a:gd name="connsiteX135" fmla="*/ 1090 w 10000"/>
                <a:gd name="connsiteY135" fmla="*/ 6347 h 10000"/>
                <a:gd name="connsiteX136" fmla="*/ 1186 w 10000"/>
                <a:gd name="connsiteY136" fmla="*/ 6471 h 10000"/>
                <a:gd name="connsiteX137" fmla="*/ 1290 w 10000"/>
                <a:gd name="connsiteY137" fmla="*/ 6594 h 10000"/>
                <a:gd name="connsiteX138" fmla="*/ 1386 w 10000"/>
                <a:gd name="connsiteY138" fmla="*/ 6714 h 10000"/>
                <a:gd name="connsiteX139" fmla="*/ 1497 w 10000"/>
                <a:gd name="connsiteY139" fmla="*/ 6834 h 10000"/>
                <a:gd name="connsiteX140" fmla="*/ 1609 w 10000"/>
                <a:gd name="connsiteY140" fmla="*/ 6948 h 10000"/>
                <a:gd name="connsiteX141" fmla="*/ 1727 w 10000"/>
                <a:gd name="connsiteY141" fmla="*/ 7067 h 10000"/>
                <a:gd name="connsiteX142" fmla="*/ 1846 w 10000"/>
                <a:gd name="connsiteY142" fmla="*/ 7182 h 10000"/>
                <a:gd name="connsiteX143" fmla="*/ 1964 w 10000"/>
                <a:gd name="connsiteY143" fmla="*/ 7292 h 10000"/>
                <a:gd name="connsiteX144" fmla="*/ 2090 w 10000"/>
                <a:gd name="connsiteY144" fmla="*/ 7402 h 10000"/>
                <a:gd name="connsiteX145" fmla="*/ 2224 w 10000"/>
                <a:gd name="connsiteY145" fmla="*/ 7513 h 10000"/>
                <a:gd name="connsiteX146" fmla="*/ 2350 w 10000"/>
                <a:gd name="connsiteY146" fmla="*/ 7623 h 10000"/>
                <a:gd name="connsiteX147" fmla="*/ 2491 w 10000"/>
                <a:gd name="connsiteY147" fmla="*/ 7728 h 10000"/>
                <a:gd name="connsiteX148" fmla="*/ 2617 w 10000"/>
                <a:gd name="connsiteY148" fmla="*/ 7834 h 10000"/>
                <a:gd name="connsiteX149" fmla="*/ 2765 w 10000"/>
                <a:gd name="connsiteY149" fmla="*/ 7935 h 10000"/>
                <a:gd name="connsiteX150" fmla="*/ 2906 w 10000"/>
                <a:gd name="connsiteY150" fmla="*/ 8035 h 10000"/>
                <a:gd name="connsiteX151" fmla="*/ 3054 w 10000"/>
                <a:gd name="connsiteY151" fmla="*/ 8136 h 10000"/>
                <a:gd name="connsiteX152" fmla="*/ 3210 w 10000"/>
                <a:gd name="connsiteY152" fmla="*/ 8234 h 10000"/>
                <a:gd name="connsiteX153" fmla="*/ 3358 w 10000"/>
                <a:gd name="connsiteY153" fmla="*/ 8330 h 10000"/>
                <a:gd name="connsiteX154" fmla="*/ 3514 w 10000"/>
                <a:gd name="connsiteY154" fmla="*/ 8426 h 10000"/>
                <a:gd name="connsiteX155" fmla="*/ 3677 w 10000"/>
                <a:gd name="connsiteY155" fmla="*/ 8518 h 10000"/>
                <a:gd name="connsiteX156" fmla="*/ 3840 w 10000"/>
                <a:gd name="connsiteY156" fmla="*/ 8605 h 10000"/>
                <a:gd name="connsiteX157" fmla="*/ 4010 w 10000"/>
                <a:gd name="connsiteY157" fmla="*/ 8696 h 10000"/>
                <a:gd name="connsiteX158" fmla="*/ 4181 w 10000"/>
                <a:gd name="connsiteY158" fmla="*/ 8774 h 10000"/>
                <a:gd name="connsiteX159" fmla="*/ 4351 w 10000"/>
                <a:gd name="connsiteY159" fmla="*/ 8861 h 10000"/>
                <a:gd name="connsiteX160" fmla="*/ 4522 w 10000"/>
                <a:gd name="connsiteY160" fmla="*/ 8940 h 10000"/>
                <a:gd name="connsiteX161" fmla="*/ 4700 w 10000"/>
                <a:gd name="connsiteY161" fmla="*/ 9023 h 10000"/>
                <a:gd name="connsiteX162" fmla="*/ 4878 w 10000"/>
                <a:gd name="connsiteY162" fmla="*/ 9101 h 10000"/>
                <a:gd name="connsiteX163" fmla="*/ 5063 w 10000"/>
                <a:gd name="connsiteY163" fmla="*/ 9174 h 10000"/>
                <a:gd name="connsiteX164" fmla="*/ 5248 w 10000"/>
                <a:gd name="connsiteY164" fmla="*/ 9252 h 10000"/>
                <a:gd name="connsiteX165" fmla="*/ 5426 w 10000"/>
                <a:gd name="connsiteY165" fmla="*/ 9321 h 10000"/>
                <a:gd name="connsiteX166" fmla="*/ 5619 w 10000"/>
                <a:gd name="connsiteY166" fmla="*/ 9389 h 10000"/>
                <a:gd name="connsiteX167" fmla="*/ 5812 w 10000"/>
                <a:gd name="connsiteY167" fmla="*/ 9458 h 10000"/>
                <a:gd name="connsiteX168" fmla="*/ 6004 w 10000"/>
                <a:gd name="connsiteY168" fmla="*/ 9522 h 10000"/>
                <a:gd name="connsiteX169" fmla="*/ 6205 w 10000"/>
                <a:gd name="connsiteY169" fmla="*/ 9587 h 10000"/>
                <a:gd name="connsiteX170" fmla="*/ 6397 w 10000"/>
                <a:gd name="connsiteY170" fmla="*/ 9647 h 10000"/>
                <a:gd name="connsiteX171" fmla="*/ 6605 w 10000"/>
                <a:gd name="connsiteY171" fmla="*/ 9702 h 10000"/>
                <a:gd name="connsiteX172" fmla="*/ 6805 w 10000"/>
                <a:gd name="connsiteY172" fmla="*/ 9757 h 10000"/>
                <a:gd name="connsiteX173" fmla="*/ 7005 w 10000"/>
                <a:gd name="connsiteY173" fmla="*/ 9812 h 10000"/>
                <a:gd name="connsiteX174" fmla="*/ 7213 w 10000"/>
                <a:gd name="connsiteY174" fmla="*/ 9863 h 10000"/>
                <a:gd name="connsiteX175" fmla="*/ 7420 w 10000"/>
                <a:gd name="connsiteY175" fmla="*/ 9908 h 10000"/>
                <a:gd name="connsiteX176" fmla="*/ 7628 w 10000"/>
                <a:gd name="connsiteY176" fmla="*/ 9954 h 10000"/>
                <a:gd name="connsiteX177" fmla="*/ 7835 w 10000"/>
                <a:gd name="connsiteY177" fmla="*/ 10000 h 10000"/>
                <a:gd name="connsiteX178" fmla="*/ 7539 w 10000"/>
                <a:gd name="connsiteY178" fmla="*/ 7751 h 10000"/>
                <a:gd name="connsiteX179" fmla="*/ 10000 w 10000"/>
                <a:gd name="connsiteY179" fmla="*/ 6136 h 10000"/>
                <a:gd name="connsiteX0" fmla="*/ 10000 w 10000"/>
                <a:gd name="connsiteY0" fmla="*/ 6151 h 10015"/>
                <a:gd name="connsiteX1" fmla="*/ 10000 w 10000"/>
                <a:gd name="connsiteY1" fmla="*/ 6151 h 10015"/>
                <a:gd name="connsiteX2" fmla="*/ 9911 w 10000"/>
                <a:gd name="connsiteY2" fmla="*/ 6137 h 10015"/>
                <a:gd name="connsiteX3" fmla="*/ 9815 w 10000"/>
                <a:gd name="connsiteY3" fmla="*/ 6119 h 10015"/>
                <a:gd name="connsiteX4" fmla="*/ 9726 w 10000"/>
                <a:gd name="connsiteY4" fmla="*/ 6101 h 10015"/>
                <a:gd name="connsiteX5" fmla="*/ 9637 w 10000"/>
                <a:gd name="connsiteY5" fmla="*/ 6077 h 10015"/>
                <a:gd name="connsiteX6" fmla="*/ 9548 w 10000"/>
                <a:gd name="connsiteY6" fmla="*/ 6058 h 10015"/>
                <a:gd name="connsiteX7" fmla="*/ 9466 w 10000"/>
                <a:gd name="connsiteY7" fmla="*/ 6036 h 10015"/>
                <a:gd name="connsiteX8" fmla="*/ 9377 w 10000"/>
                <a:gd name="connsiteY8" fmla="*/ 6013 h 10015"/>
                <a:gd name="connsiteX9" fmla="*/ 9288 w 10000"/>
                <a:gd name="connsiteY9" fmla="*/ 5990 h 10015"/>
                <a:gd name="connsiteX10" fmla="*/ 9118 w 10000"/>
                <a:gd name="connsiteY10" fmla="*/ 5939 h 10015"/>
                <a:gd name="connsiteX11" fmla="*/ 8955 w 10000"/>
                <a:gd name="connsiteY11" fmla="*/ 5884 h 10015"/>
                <a:gd name="connsiteX12" fmla="*/ 8792 w 10000"/>
                <a:gd name="connsiteY12" fmla="*/ 5825 h 10015"/>
                <a:gd name="connsiteX13" fmla="*/ 8636 w 10000"/>
                <a:gd name="connsiteY13" fmla="*/ 5761 h 10015"/>
                <a:gd name="connsiteX14" fmla="*/ 8480 w 10000"/>
                <a:gd name="connsiteY14" fmla="*/ 5696 h 10015"/>
                <a:gd name="connsiteX15" fmla="*/ 8340 w 10000"/>
                <a:gd name="connsiteY15" fmla="*/ 5628 h 10015"/>
                <a:gd name="connsiteX16" fmla="*/ 8199 w 10000"/>
                <a:gd name="connsiteY16" fmla="*/ 5554 h 10015"/>
                <a:gd name="connsiteX17" fmla="*/ 8058 w 10000"/>
                <a:gd name="connsiteY17" fmla="*/ 5476 h 10015"/>
                <a:gd name="connsiteX18" fmla="*/ 7924 w 10000"/>
                <a:gd name="connsiteY18" fmla="*/ 5394 h 10015"/>
                <a:gd name="connsiteX19" fmla="*/ 7798 w 10000"/>
                <a:gd name="connsiteY19" fmla="*/ 5310 h 10015"/>
                <a:gd name="connsiteX20" fmla="*/ 7672 w 10000"/>
                <a:gd name="connsiteY20" fmla="*/ 5223 h 10015"/>
                <a:gd name="connsiteX21" fmla="*/ 7554 w 10000"/>
                <a:gd name="connsiteY21" fmla="*/ 5136 h 10015"/>
                <a:gd name="connsiteX22" fmla="*/ 7450 w 10000"/>
                <a:gd name="connsiteY22" fmla="*/ 5040 h 10015"/>
                <a:gd name="connsiteX23" fmla="*/ 7346 w 10000"/>
                <a:gd name="connsiteY23" fmla="*/ 4944 h 10015"/>
                <a:gd name="connsiteX24" fmla="*/ 7250 w 10000"/>
                <a:gd name="connsiteY24" fmla="*/ 4848 h 10015"/>
                <a:gd name="connsiteX25" fmla="*/ 7161 w 10000"/>
                <a:gd name="connsiteY25" fmla="*/ 4747 h 10015"/>
                <a:gd name="connsiteX26" fmla="*/ 7072 w 10000"/>
                <a:gd name="connsiteY26" fmla="*/ 4645 h 10015"/>
                <a:gd name="connsiteX27" fmla="*/ 6990 w 10000"/>
                <a:gd name="connsiteY27" fmla="*/ 4535 h 10015"/>
                <a:gd name="connsiteX28" fmla="*/ 6953 w 10000"/>
                <a:gd name="connsiteY28" fmla="*/ 4485 h 10015"/>
                <a:gd name="connsiteX29" fmla="*/ 6916 w 10000"/>
                <a:gd name="connsiteY29" fmla="*/ 4430 h 10015"/>
                <a:gd name="connsiteX30" fmla="*/ 6887 w 10000"/>
                <a:gd name="connsiteY30" fmla="*/ 4375 h 10015"/>
                <a:gd name="connsiteX31" fmla="*/ 6850 w 10000"/>
                <a:gd name="connsiteY31" fmla="*/ 4320 h 10015"/>
                <a:gd name="connsiteX32" fmla="*/ 6820 w 10000"/>
                <a:gd name="connsiteY32" fmla="*/ 4265 h 10015"/>
                <a:gd name="connsiteX33" fmla="*/ 6790 w 10000"/>
                <a:gd name="connsiteY33" fmla="*/ 4210 h 10015"/>
                <a:gd name="connsiteX34" fmla="*/ 6768 w 10000"/>
                <a:gd name="connsiteY34" fmla="*/ 4150 h 10015"/>
                <a:gd name="connsiteX35" fmla="*/ 6738 w 10000"/>
                <a:gd name="connsiteY35" fmla="*/ 4095 h 10015"/>
                <a:gd name="connsiteX36" fmla="*/ 6723 w 10000"/>
                <a:gd name="connsiteY36" fmla="*/ 4035 h 10015"/>
                <a:gd name="connsiteX37" fmla="*/ 6694 w 10000"/>
                <a:gd name="connsiteY37" fmla="*/ 3980 h 10015"/>
                <a:gd name="connsiteX38" fmla="*/ 6679 w 10000"/>
                <a:gd name="connsiteY38" fmla="*/ 3920 h 10015"/>
                <a:gd name="connsiteX39" fmla="*/ 6664 w 10000"/>
                <a:gd name="connsiteY39" fmla="*/ 3860 h 10015"/>
                <a:gd name="connsiteX40" fmla="*/ 6649 w 10000"/>
                <a:gd name="connsiteY40" fmla="*/ 3801 h 10015"/>
                <a:gd name="connsiteX41" fmla="*/ 6635 w 10000"/>
                <a:gd name="connsiteY41" fmla="*/ 3746 h 10015"/>
                <a:gd name="connsiteX42" fmla="*/ 6620 w 10000"/>
                <a:gd name="connsiteY42" fmla="*/ 3686 h 10015"/>
                <a:gd name="connsiteX43" fmla="*/ 6612 w 10000"/>
                <a:gd name="connsiteY43" fmla="*/ 3627 h 10015"/>
                <a:gd name="connsiteX44" fmla="*/ 6605 w 10000"/>
                <a:gd name="connsiteY44" fmla="*/ 3567 h 10015"/>
                <a:gd name="connsiteX45" fmla="*/ 6597 w 10000"/>
                <a:gd name="connsiteY45" fmla="*/ 3503 h 10015"/>
                <a:gd name="connsiteX46" fmla="*/ 6597 w 10000"/>
                <a:gd name="connsiteY46" fmla="*/ 3443 h 10015"/>
                <a:gd name="connsiteX47" fmla="*/ 6590 w 10000"/>
                <a:gd name="connsiteY47" fmla="*/ 3379 h 10015"/>
                <a:gd name="connsiteX48" fmla="*/ 6597 w 10000"/>
                <a:gd name="connsiteY48" fmla="*/ 3319 h 10015"/>
                <a:gd name="connsiteX49" fmla="*/ 6605 w 10000"/>
                <a:gd name="connsiteY49" fmla="*/ 3251 h 10015"/>
                <a:gd name="connsiteX50" fmla="*/ 6605 w 10000"/>
                <a:gd name="connsiteY50" fmla="*/ 3186 h 10015"/>
                <a:gd name="connsiteX51" fmla="*/ 6612 w 10000"/>
                <a:gd name="connsiteY51" fmla="*/ 3121 h 10015"/>
                <a:gd name="connsiteX52" fmla="*/ 6620 w 10000"/>
                <a:gd name="connsiteY52" fmla="*/ 3057 h 10015"/>
                <a:gd name="connsiteX53" fmla="*/ 6635 w 10000"/>
                <a:gd name="connsiteY53" fmla="*/ 2998 h 10015"/>
                <a:gd name="connsiteX54" fmla="*/ 6649 w 10000"/>
                <a:gd name="connsiteY54" fmla="*/ 2934 h 10015"/>
                <a:gd name="connsiteX55" fmla="*/ 6664 w 10000"/>
                <a:gd name="connsiteY55" fmla="*/ 2874 h 10015"/>
                <a:gd name="connsiteX56" fmla="*/ 6686 w 10000"/>
                <a:gd name="connsiteY56" fmla="*/ 2810 h 10015"/>
                <a:gd name="connsiteX57" fmla="*/ 6709 w 10000"/>
                <a:gd name="connsiteY57" fmla="*/ 2750 h 10015"/>
                <a:gd name="connsiteX58" fmla="*/ 6731 w 10000"/>
                <a:gd name="connsiteY58" fmla="*/ 2691 h 10015"/>
                <a:gd name="connsiteX59" fmla="*/ 6753 w 10000"/>
                <a:gd name="connsiteY59" fmla="*/ 2626 h 10015"/>
                <a:gd name="connsiteX60" fmla="*/ 6783 w 10000"/>
                <a:gd name="connsiteY60" fmla="*/ 2571 h 10015"/>
                <a:gd name="connsiteX61" fmla="*/ 6812 w 10000"/>
                <a:gd name="connsiteY61" fmla="*/ 2511 h 10015"/>
                <a:gd name="connsiteX62" fmla="*/ 6842 w 10000"/>
                <a:gd name="connsiteY62" fmla="*/ 2451 h 10015"/>
                <a:gd name="connsiteX63" fmla="*/ 6879 w 10000"/>
                <a:gd name="connsiteY63" fmla="*/ 2392 h 10015"/>
                <a:gd name="connsiteX64" fmla="*/ 6909 w 10000"/>
                <a:gd name="connsiteY64" fmla="*/ 2337 h 10015"/>
                <a:gd name="connsiteX65" fmla="*/ 6946 w 10000"/>
                <a:gd name="connsiteY65" fmla="*/ 2277 h 10015"/>
                <a:gd name="connsiteX66" fmla="*/ 6990 w 10000"/>
                <a:gd name="connsiteY66" fmla="*/ 2222 h 10015"/>
                <a:gd name="connsiteX67" fmla="*/ 7027 w 10000"/>
                <a:gd name="connsiteY67" fmla="*/ 2167 h 10015"/>
                <a:gd name="connsiteX68" fmla="*/ 7072 w 10000"/>
                <a:gd name="connsiteY68" fmla="*/ 2112 h 10015"/>
                <a:gd name="connsiteX69" fmla="*/ 7109 w 10000"/>
                <a:gd name="connsiteY69" fmla="*/ 2057 h 10015"/>
                <a:gd name="connsiteX70" fmla="*/ 7161 w 10000"/>
                <a:gd name="connsiteY70" fmla="*/ 2007 h 10015"/>
                <a:gd name="connsiteX71" fmla="*/ 7213 w 10000"/>
                <a:gd name="connsiteY71" fmla="*/ 1952 h 10015"/>
                <a:gd name="connsiteX72" fmla="*/ 7257 w 10000"/>
                <a:gd name="connsiteY72" fmla="*/ 1897 h 10015"/>
                <a:gd name="connsiteX73" fmla="*/ 7309 w 10000"/>
                <a:gd name="connsiteY73" fmla="*/ 1846 h 10015"/>
                <a:gd name="connsiteX74" fmla="*/ 7361 w 10000"/>
                <a:gd name="connsiteY74" fmla="*/ 1795 h 10015"/>
                <a:gd name="connsiteX75" fmla="*/ 7413 w 10000"/>
                <a:gd name="connsiteY75" fmla="*/ 1745 h 10015"/>
                <a:gd name="connsiteX76" fmla="*/ 7472 w 10000"/>
                <a:gd name="connsiteY76" fmla="*/ 1694 h 10015"/>
                <a:gd name="connsiteX77" fmla="*/ 7524 w 10000"/>
                <a:gd name="connsiteY77" fmla="*/ 1648 h 10015"/>
                <a:gd name="connsiteX78" fmla="*/ 7583 w 10000"/>
                <a:gd name="connsiteY78" fmla="*/ 1602 h 10015"/>
                <a:gd name="connsiteX79" fmla="*/ 7610 w 10000"/>
                <a:gd name="connsiteY79" fmla="*/ 1573 h 10015"/>
                <a:gd name="connsiteX80" fmla="*/ 5390 w 10000"/>
                <a:gd name="connsiteY80" fmla="*/ 0 h 10015"/>
                <a:gd name="connsiteX81" fmla="*/ 1401 w 10000"/>
                <a:gd name="connsiteY81" fmla="*/ 15 h 10015"/>
                <a:gd name="connsiteX82" fmla="*/ 1305 w 10000"/>
                <a:gd name="connsiteY82" fmla="*/ 129 h 10015"/>
                <a:gd name="connsiteX83" fmla="*/ 1223 w 10000"/>
                <a:gd name="connsiteY83" fmla="*/ 221 h 10015"/>
                <a:gd name="connsiteX84" fmla="*/ 1149 w 10000"/>
                <a:gd name="connsiteY84" fmla="*/ 317 h 10015"/>
                <a:gd name="connsiteX85" fmla="*/ 1067 w 10000"/>
                <a:gd name="connsiteY85" fmla="*/ 414 h 10015"/>
                <a:gd name="connsiteX86" fmla="*/ 1001 w 10000"/>
                <a:gd name="connsiteY86" fmla="*/ 511 h 10015"/>
                <a:gd name="connsiteX87" fmla="*/ 927 w 10000"/>
                <a:gd name="connsiteY87" fmla="*/ 607 h 10015"/>
                <a:gd name="connsiteX88" fmla="*/ 860 w 10000"/>
                <a:gd name="connsiteY88" fmla="*/ 708 h 10015"/>
                <a:gd name="connsiteX89" fmla="*/ 793 w 10000"/>
                <a:gd name="connsiteY89" fmla="*/ 809 h 10015"/>
                <a:gd name="connsiteX90" fmla="*/ 734 w 10000"/>
                <a:gd name="connsiteY90" fmla="*/ 905 h 10015"/>
                <a:gd name="connsiteX91" fmla="*/ 675 w 10000"/>
                <a:gd name="connsiteY91" fmla="*/ 1006 h 10015"/>
                <a:gd name="connsiteX92" fmla="*/ 615 w 10000"/>
                <a:gd name="connsiteY92" fmla="*/ 1107 h 10015"/>
                <a:gd name="connsiteX93" fmla="*/ 556 w 10000"/>
                <a:gd name="connsiteY93" fmla="*/ 1213 h 10015"/>
                <a:gd name="connsiteX94" fmla="*/ 504 w 10000"/>
                <a:gd name="connsiteY94" fmla="*/ 1309 h 10015"/>
                <a:gd name="connsiteX95" fmla="*/ 452 w 10000"/>
                <a:gd name="connsiteY95" fmla="*/ 1415 h 10015"/>
                <a:gd name="connsiteX96" fmla="*/ 408 w 10000"/>
                <a:gd name="connsiteY96" fmla="*/ 1515 h 10015"/>
                <a:gd name="connsiteX97" fmla="*/ 363 w 10000"/>
                <a:gd name="connsiteY97" fmla="*/ 1621 h 10015"/>
                <a:gd name="connsiteX98" fmla="*/ 319 w 10000"/>
                <a:gd name="connsiteY98" fmla="*/ 1726 h 10015"/>
                <a:gd name="connsiteX99" fmla="*/ 282 w 10000"/>
                <a:gd name="connsiteY99" fmla="*/ 1833 h 10015"/>
                <a:gd name="connsiteX100" fmla="*/ 237 w 10000"/>
                <a:gd name="connsiteY100" fmla="*/ 1943 h 10015"/>
                <a:gd name="connsiteX101" fmla="*/ 208 w 10000"/>
                <a:gd name="connsiteY101" fmla="*/ 2048 h 10015"/>
                <a:gd name="connsiteX102" fmla="*/ 170 w 10000"/>
                <a:gd name="connsiteY102" fmla="*/ 2158 h 10015"/>
                <a:gd name="connsiteX103" fmla="*/ 148 w 10000"/>
                <a:gd name="connsiteY103" fmla="*/ 2268 h 10015"/>
                <a:gd name="connsiteX104" fmla="*/ 119 w 10000"/>
                <a:gd name="connsiteY104" fmla="*/ 2373 h 10015"/>
                <a:gd name="connsiteX105" fmla="*/ 96 w 10000"/>
                <a:gd name="connsiteY105" fmla="*/ 2483 h 10015"/>
                <a:gd name="connsiteX106" fmla="*/ 74 w 10000"/>
                <a:gd name="connsiteY106" fmla="*/ 2594 h 10015"/>
                <a:gd name="connsiteX107" fmla="*/ 52 w 10000"/>
                <a:gd name="connsiteY107" fmla="*/ 2709 h 10015"/>
                <a:gd name="connsiteX108" fmla="*/ 37 w 10000"/>
                <a:gd name="connsiteY108" fmla="*/ 2819 h 10015"/>
                <a:gd name="connsiteX109" fmla="*/ 22 w 10000"/>
                <a:gd name="connsiteY109" fmla="*/ 2929 h 10015"/>
                <a:gd name="connsiteX110" fmla="*/ 15 w 10000"/>
                <a:gd name="connsiteY110" fmla="*/ 3039 h 10015"/>
                <a:gd name="connsiteX111" fmla="*/ 7 w 10000"/>
                <a:gd name="connsiteY111" fmla="*/ 3153 h 10015"/>
                <a:gd name="connsiteX112" fmla="*/ 0 w 10000"/>
                <a:gd name="connsiteY112" fmla="*/ 3264 h 10015"/>
                <a:gd name="connsiteX113" fmla="*/ 0 w 10000"/>
                <a:gd name="connsiteY113" fmla="*/ 3379 h 10015"/>
                <a:gd name="connsiteX114" fmla="*/ 7 w 10000"/>
                <a:gd name="connsiteY114" fmla="*/ 3526 h 10015"/>
                <a:gd name="connsiteX115" fmla="*/ 7 w 10000"/>
                <a:gd name="connsiteY115" fmla="*/ 3672 h 10015"/>
                <a:gd name="connsiteX116" fmla="*/ 22 w 10000"/>
                <a:gd name="connsiteY116" fmla="*/ 3810 h 10015"/>
                <a:gd name="connsiteX117" fmla="*/ 37 w 10000"/>
                <a:gd name="connsiteY117" fmla="*/ 3953 h 10015"/>
                <a:gd name="connsiteX118" fmla="*/ 59 w 10000"/>
                <a:gd name="connsiteY118" fmla="*/ 4095 h 10015"/>
                <a:gd name="connsiteX119" fmla="*/ 89 w 10000"/>
                <a:gd name="connsiteY119" fmla="*/ 4237 h 10015"/>
                <a:gd name="connsiteX120" fmla="*/ 119 w 10000"/>
                <a:gd name="connsiteY120" fmla="*/ 4379 h 10015"/>
                <a:gd name="connsiteX121" fmla="*/ 148 w 10000"/>
                <a:gd name="connsiteY121" fmla="*/ 4521 h 10015"/>
                <a:gd name="connsiteX122" fmla="*/ 193 w 10000"/>
                <a:gd name="connsiteY122" fmla="*/ 4660 h 10015"/>
                <a:gd name="connsiteX123" fmla="*/ 237 w 10000"/>
                <a:gd name="connsiteY123" fmla="*/ 4797 h 10015"/>
                <a:gd name="connsiteX124" fmla="*/ 282 w 10000"/>
                <a:gd name="connsiteY124" fmla="*/ 4935 h 10015"/>
                <a:gd name="connsiteX125" fmla="*/ 334 w 10000"/>
                <a:gd name="connsiteY125" fmla="*/ 5072 h 10015"/>
                <a:gd name="connsiteX126" fmla="*/ 393 w 10000"/>
                <a:gd name="connsiteY126" fmla="*/ 5205 h 10015"/>
                <a:gd name="connsiteX127" fmla="*/ 452 w 10000"/>
                <a:gd name="connsiteY127" fmla="*/ 5338 h 10015"/>
                <a:gd name="connsiteX128" fmla="*/ 519 w 10000"/>
                <a:gd name="connsiteY128" fmla="*/ 5472 h 10015"/>
                <a:gd name="connsiteX129" fmla="*/ 586 w 10000"/>
                <a:gd name="connsiteY129" fmla="*/ 5605 h 10015"/>
                <a:gd name="connsiteX130" fmla="*/ 660 w 10000"/>
                <a:gd name="connsiteY130" fmla="*/ 5733 h 10015"/>
                <a:gd name="connsiteX131" fmla="*/ 741 w 10000"/>
                <a:gd name="connsiteY131" fmla="*/ 5861 h 10015"/>
                <a:gd name="connsiteX132" fmla="*/ 823 w 10000"/>
                <a:gd name="connsiteY132" fmla="*/ 5994 h 10015"/>
                <a:gd name="connsiteX133" fmla="*/ 904 w 10000"/>
                <a:gd name="connsiteY133" fmla="*/ 6119 h 10015"/>
                <a:gd name="connsiteX134" fmla="*/ 993 w 10000"/>
                <a:gd name="connsiteY134" fmla="*/ 6243 h 10015"/>
                <a:gd name="connsiteX135" fmla="*/ 1090 w 10000"/>
                <a:gd name="connsiteY135" fmla="*/ 6362 h 10015"/>
                <a:gd name="connsiteX136" fmla="*/ 1186 w 10000"/>
                <a:gd name="connsiteY136" fmla="*/ 6486 h 10015"/>
                <a:gd name="connsiteX137" fmla="*/ 1290 w 10000"/>
                <a:gd name="connsiteY137" fmla="*/ 6609 h 10015"/>
                <a:gd name="connsiteX138" fmla="*/ 1386 w 10000"/>
                <a:gd name="connsiteY138" fmla="*/ 6729 h 10015"/>
                <a:gd name="connsiteX139" fmla="*/ 1497 w 10000"/>
                <a:gd name="connsiteY139" fmla="*/ 6849 h 10015"/>
                <a:gd name="connsiteX140" fmla="*/ 1609 w 10000"/>
                <a:gd name="connsiteY140" fmla="*/ 6963 h 10015"/>
                <a:gd name="connsiteX141" fmla="*/ 1727 w 10000"/>
                <a:gd name="connsiteY141" fmla="*/ 7082 h 10015"/>
                <a:gd name="connsiteX142" fmla="*/ 1846 w 10000"/>
                <a:gd name="connsiteY142" fmla="*/ 7197 h 10015"/>
                <a:gd name="connsiteX143" fmla="*/ 1964 w 10000"/>
                <a:gd name="connsiteY143" fmla="*/ 7307 h 10015"/>
                <a:gd name="connsiteX144" fmla="*/ 2090 w 10000"/>
                <a:gd name="connsiteY144" fmla="*/ 7417 h 10015"/>
                <a:gd name="connsiteX145" fmla="*/ 2224 w 10000"/>
                <a:gd name="connsiteY145" fmla="*/ 7528 h 10015"/>
                <a:gd name="connsiteX146" fmla="*/ 2350 w 10000"/>
                <a:gd name="connsiteY146" fmla="*/ 7638 h 10015"/>
                <a:gd name="connsiteX147" fmla="*/ 2491 w 10000"/>
                <a:gd name="connsiteY147" fmla="*/ 7743 h 10015"/>
                <a:gd name="connsiteX148" fmla="*/ 2617 w 10000"/>
                <a:gd name="connsiteY148" fmla="*/ 7849 h 10015"/>
                <a:gd name="connsiteX149" fmla="*/ 2765 w 10000"/>
                <a:gd name="connsiteY149" fmla="*/ 7950 h 10015"/>
                <a:gd name="connsiteX150" fmla="*/ 2906 w 10000"/>
                <a:gd name="connsiteY150" fmla="*/ 8050 h 10015"/>
                <a:gd name="connsiteX151" fmla="*/ 3054 w 10000"/>
                <a:gd name="connsiteY151" fmla="*/ 8151 h 10015"/>
                <a:gd name="connsiteX152" fmla="*/ 3210 w 10000"/>
                <a:gd name="connsiteY152" fmla="*/ 8249 h 10015"/>
                <a:gd name="connsiteX153" fmla="*/ 3358 w 10000"/>
                <a:gd name="connsiteY153" fmla="*/ 8345 h 10015"/>
                <a:gd name="connsiteX154" fmla="*/ 3514 w 10000"/>
                <a:gd name="connsiteY154" fmla="*/ 8441 h 10015"/>
                <a:gd name="connsiteX155" fmla="*/ 3677 w 10000"/>
                <a:gd name="connsiteY155" fmla="*/ 8533 h 10015"/>
                <a:gd name="connsiteX156" fmla="*/ 3840 w 10000"/>
                <a:gd name="connsiteY156" fmla="*/ 8620 h 10015"/>
                <a:gd name="connsiteX157" fmla="*/ 4010 w 10000"/>
                <a:gd name="connsiteY157" fmla="*/ 8711 h 10015"/>
                <a:gd name="connsiteX158" fmla="*/ 4181 w 10000"/>
                <a:gd name="connsiteY158" fmla="*/ 8789 h 10015"/>
                <a:gd name="connsiteX159" fmla="*/ 4351 w 10000"/>
                <a:gd name="connsiteY159" fmla="*/ 8876 h 10015"/>
                <a:gd name="connsiteX160" fmla="*/ 4522 w 10000"/>
                <a:gd name="connsiteY160" fmla="*/ 8955 h 10015"/>
                <a:gd name="connsiteX161" fmla="*/ 4700 w 10000"/>
                <a:gd name="connsiteY161" fmla="*/ 9038 h 10015"/>
                <a:gd name="connsiteX162" fmla="*/ 4878 w 10000"/>
                <a:gd name="connsiteY162" fmla="*/ 9116 h 10015"/>
                <a:gd name="connsiteX163" fmla="*/ 5063 w 10000"/>
                <a:gd name="connsiteY163" fmla="*/ 9189 h 10015"/>
                <a:gd name="connsiteX164" fmla="*/ 5248 w 10000"/>
                <a:gd name="connsiteY164" fmla="*/ 9267 h 10015"/>
                <a:gd name="connsiteX165" fmla="*/ 5426 w 10000"/>
                <a:gd name="connsiteY165" fmla="*/ 9336 h 10015"/>
                <a:gd name="connsiteX166" fmla="*/ 5619 w 10000"/>
                <a:gd name="connsiteY166" fmla="*/ 9404 h 10015"/>
                <a:gd name="connsiteX167" fmla="*/ 5812 w 10000"/>
                <a:gd name="connsiteY167" fmla="*/ 9473 h 10015"/>
                <a:gd name="connsiteX168" fmla="*/ 6004 w 10000"/>
                <a:gd name="connsiteY168" fmla="*/ 9537 h 10015"/>
                <a:gd name="connsiteX169" fmla="*/ 6205 w 10000"/>
                <a:gd name="connsiteY169" fmla="*/ 9602 h 10015"/>
                <a:gd name="connsiteX170" fmla="*/ 6397 w 10000"/>
                <a:gd name="connsiteY170" fmla="*/ 9662 h 10015"/>
                <a:gd name="connsiteX171" fmla="*/ 6605 w 10000"/>
                <a:gd name="connsiteY171" fmla="*/ 9717 h 10015"/>
                <a:gd name="connsiteX172" fmla="*/ 6805 w 10000"/>
                <a:gd name="connsiteY172" fmla="*/ 9772 h 10015"/>
                <a:gd name="connsiteX173" fmla="*/ 7005 w 10000"/>
                <a:gd name="connsiteY173" fmla="*/ 9827 h 10015"/>
                <a:gd name="connsiteX174" fmla="*/ 7213 w 10000"/>
                <a:gd name="connsiteY174" fmla="*/ 9878 h 10015"/>
                <a:gd name="connsiteX175" fmla="*/ 7420 w 10000"/>
                <a:gd name="connsiteY175" fmla="*/ 9923 h 10015"/>
                <a:gd name="connsiteX176" fmla="*/ 7628 w 10000"/>
                <a:gd name="connsiteY176" fmla="*/ 9969 h 10015"/>
                <a:gd name="connsiteX177" fmla="*/ 7835 w 10000"/>
                <a:gd name="connsiteY177" fmla="*/ 10015 h 10015"/>
                <a:gd name="connsiteX178" fmla="*/ 7539 w 10000"/>
                <a:gd name="connsiteY178" fmla="*/ 7766 h 10015"/>
                <a:gd name="connsiteX179" fmla="*/ 10000 w 10000"/>
                <a:gd name="connsiteY179" fmla="*/ 6151 h 10015"/>
                <a:gd name="connsiteX0" fmla="*/ 10000 w 10000"/>
                <a:gd name="connsiteY0" fmla="*/ 6151 h 10015"/>
                <a:gd name="connsiteX1" fmla="*/ 10000 w 10000"/>
                <a:gd name="connsiteY1" fmla="*/ 6151 h 10015"/>
                <a:gd name="connsiteX2" fmla="*/ 9911 w 10000"/>
                <a:gd name="connsiteY2" fmla="*/ 6137 h 10015"/>
                <a:gd name="connsiteX3" fmla="*/ 9815 w 10000"/>
                <a:gd name="connsiteY3" fmla="*/ 6119 h 10015"/>
                <a:gd name="connsiteX4" fmla="*/ 9726 w 10000"/>
                <a:gd name="connsiteY4" fmla="*/ 6101 h 10015"/>
                <a:gd name="connsiteX5" fmla="*/ 9637 w 10000"/>
                <a:gd name="connsiteY5" fmla="*/ 6077 h 10015"/>
                <a:gd name="connsiteX6" fmla="*/ 9548 w 10000"/>
                <a:gd name="connsiteY6" fmla="*/ 6058 h 10015"/>
                <a:gd name="connsiteX7" fmla="*/ 9466 w 10000"/>
                <a:gd name="connsiteY7" fmla="*/ 6036 h 10015"/>
                <a:gd name="connsiteX8" fmla="*/ 9377 w 10000"/>
                <a:gd name="connsiteY8" fmla="*/ 6013 h 10015"/>
                <a:gd name="connsiteX9" fmla="*/ 9288 w 10000"/>
                <a:gd name="connsiteY9" fmla="*/ 5990 h 10015"/>
                <a:gd name="connsiteX10" fmla="*/ 9118 w 10000"/>
                <a:gd name="connsiteY10" fmla="*/ 5939 h 10015"/>
                <a:gd name="connsiteX11" fmla="*/ 8955 w 10000"/>
                <a:gd name="connsiteY11" fmla="*/ 5884 h 10015"/>
                <a:gd name="connsiteX12" fmla="*/ 8792 w 10000"/>
                <a:gd name="connsiteY12" fmla="*/ 5825 h 10015"/>
                <a:gd name="connsiteX13" fmla="*/ 8636 w 10000"/>
                <a:gd name="connsiteY13" fmla="*/ 5761 h 10015"/>
                <a:gd name="connsiteX14" fmla="*/ 8480 w 10000"/>
                <a:gd name="connsiteY14" fmla="*/ 5696 h 10015"/>
                <a:gd name="connsiteX15" fmla="*/ 8340 w 10000"/>
                <a:gd name="connsiteY15" fmla="*/ 5628 h 10015"/>
                <a:gd name="connsiteX16" fmla="*/ 8199 w 10000"/>
                <a:gd name="connsiteY16" fmla="*/ 5554 h 10015"/>
                <a:gd name="connsiteX17" fmla="*/ 8058 w 10000"/>
                <a:gd name="connsiteY17" fmla="*/ 5476 h 10015"/>
                <a:gd name="connsiteX18" fmla="*/ 7924 w 10000"/>
                <a:gd name="connsiteY18" fmla="*/ 5394 h 10015"/>
                <a:gd name="connsiteX19" fmla="*/ 7798 w 10000"/>
                <a:gd name="connsiteY19" fmla="*/ 5310 h 10015"/>
                <a:gd name="connsiteX20" fmla="*/ 7672 w 10000"/>
                <a:gd name="connsiteY20" fmla="*/ 5223 h 10015"/>
                <a:gd name="connsiteX21" fmla="*/ 7554 w 10000"/>
                <a:gd name="connsiteY21" fmla="*/ 5136 h 10015"/>
                <a:gd name="connsiteX22" fmla="*/ 7450 w 10000"/>
                <a:gd name="connsiteY22" fmla="*/ 5040 h 10015"/>
                <a:gd name="connsiteX23" fmla="*/ 7346 w 10000"/>
                <a:gd name="connsiteY23" fmla="*/ 4944 h 10015"/>
                <a:gd name="connsiteX24" fmla="*/ 7250 w 10000"/>
                <a:gd name="connsiteY24" fmla="*/ 4848 h 10015"/>
                <a:gd name="connsiteX25" fmla="*/ 7161 w 10000"/>
                <a:gd name="connsiteY25" fmla="*/ 4747 h 10015"/>
                <a:gd name="connsiteX26" fmla="*/ 7072 w 10000"/>
                <a:gd name="connsiteY26" fmla="*/ 4645 h 10015"/>
                <a:gd name="connsiteX27" fmla="*/ 6990 w 10000"/>
                <a:gd name="connsiteY27" fmla="*/ 4535 h 10015"/>
                <a:gd name="connsiteX28" fmla="*/ 6953 w 10000"/>
                <a:gd name="connsiteY28" fmla="*/ 4485 h 10015"/>
                <a:gd name="connsiteX29" fmla="*/ 6916 w 10000"/>
                <a:gd name="connsiteY29" fmla="*/ 4430 h 10015"/>
                <a:gd name="connsiteX30" fmla="*/ 6887 w 10000"/>
                <a:gd name="connsiteY30" fmla="*/ 4375 h 10015"/>
                <a:gd name="connsiteX31" fmla="*/ 6850 w 10000"/>
                <a:gd name="connsiteY31" fmla="*/ 4320 h 10015"/>
                <a:gd name="connsiteX32" fmla="*/ 6820 w 10000"/>
                <a:gd name="connsiteY32" fmla="*/ 4265 h 10015"/>
                <a:gd name="connsiteX33" fmla="*/ 6790 w 10000"/>
                <a:gd name="connsiteY33" fmla="*/ 4210 h 10015"/>
                <a:gd name="connsiteX34" fmla="*/ 6768 w 10000"/>
                <a:gd name="connsiteY34" fmla="*/ 4150 h 10015"/>
                <a:gd name="connsiteX35" fmla="*/ 6738 w 10000"/>
                <a:gd name="connsiteY35" fmla="*/ 4095 h 10015"/>
                <a:gd name="connsiteX36" fmla="*/ 6723 w 10000"/>
                <a:gd name="connsiteY36" fmla="*/ 4035 h 10015"/>
                <a:gd name="connsiteX37" fmla="*/ 6694 w 10000"/>
                <a:gd name="connsiteY37" fmla="*/ 3980 h 10015"/>
                <a:gd name="connsiteX38" fmla="*/ 6679 w 10000"/>
                <a:gd name="connsiteY38" fmla="*/ 3920 h 10015"/>
                <a:gd name="connsiteX39" fmla="*/ 6664 w 10000"/>
                <a:gd name="connsiteY39" fmla="*/ 3860 h 10015"/>
                <a:gd name="connsiteX40" fmla="*/ 6649 w 10000"/>
                <a:gd name="connsiteY40" fmla="*/ 3801 h 10015"/>
                <a:gd name="connsiteX41" fmla="*/ 6635 w 10000"/>
                <a:gd name="connsiteY41" fmla="*/ 3746 h 10015"/>
                <a:gd name="connsiteX42" fmla="*/ 6620 w 10000"/>
                <a:gd name="connsiteY42" fmla="*/ 3686 h 10015"/>
                <a:gd name="connsiteX43" fmla="*/ 6612 w 10000"/>
                <a:gd name="connsiteY43" fmla="*/ 3627 h 10015"/>
                <a:gd name="connsiteX44" fmla="*/ 6605 w 10000"/>
                <a:gd name="connsiteY44" fmla="*/ 3567 h 10015"/>
                <a:gd name="connsiteX45" fmla="*/ 6597 w 10000"/>
                <a:gd name="connsiteY45" fmla="*/ 3503 h 10015"/>
                <a:gd name="connsiteX46" fmla="*/ 6597 w 10000"/>
                <a:gd name="connsiteY46" fmla="*/ 3443 h 10015"/>
                <a:gd name="connsiteX47" fmla="*/ 6590 w 10000"/>
                <a:gd name="connsiteY47" fmla="*/ 3379 h 10015"/>
                <a:gd name="connsiteX48" fmla="*/ 6597 w 10000"/>
                <a:gd name="connsiteY48" fmla="*/ 3319 h 10015"/>
                <a:gd name="connsiteX49" fmla="*/ 6605 w 10000"/>
                <a:gd name="connsiteY49" fmla="*/ 3251 h 10015"/>
                <a:gd name="connsiteX50" fmla="*/ 6605 w 10000"/>
                <a:gd name="connsiteY50" fmla="*/ 3186 h 10015"/>
                <a:gd name="connsiteX51" fmla="*/ 6612 w 10000"/>
                <a:gd name="connsiteY51" fmla="*/ 3121 h 10015"/>
                <a:gd name="connsiteX52" fmla="*/ 6620 w 10000"/>
                <a:gd name="connsiteY52" fmla="*/ 3057 h 10015"/>
                <a:gd name="connsiteX53" fmla="*/ 6635 w 10000"/>
                <a:gd name="connsiteY53" fmla="*/ 2998 h 10015"/>
                <a:gd name="connsiteX54" fmla="*/ 6649 w 10000"/>
                <a:gd name="connsiteY54" fmla="*/ 2934 h 10015"/>
                <a:gd name="connsiteX55" fmla="*/ 6664 w 10000"/>
                <a:gd name="connsiteY55" fmla="*/ 2874 h 10015"/>
                <a:gd name="connsiteX56" fmla="*/ 6686 w 10000"/>
                <a:gd name="connsiteY56" fmla="*/ 2810 h 10015"/>
                <a:gd name="connsiteX57" fmla="*/ 6709 w 10000"/>
                <a:gd name="connsiteY57" fmla="*/ 2750 h 10015"/>
                <a:gd name="connsiteX58" fmla="*/ 6731 w 10000"/>
                <a:gd name="connsiteY58" fmla="*/ 2691 h 10015"/>
                <a:gd name="connsiteX59" fmla="*/ 6753 w 10000"/>
                <a:gd name="connsiteY59" fmla="*/ 2626 h 10015"/>
                <a:gd name="connsiteX60" fmla="*/ 6783 w 10000"/>
                <a:gd name="connsiteY60" fmla="*/ 2571 h 10015"/>
                <a:gd name="connsiteX61" fmla="*/ 6812 w 10000"/>
                <a:gd name="connsiteY61" fmla="*/ 2511 h 10015"/>
                <a:gd name="connsiteX62" fmla="*/ 6842 w 10000"/>
                <a:gd name="connsiteY62" fmla="*/ 2451 h 10015"/>
                <a:gd name="connsiteX63" fmla="*/ 6879 w 10000"/>
                <a:gd name="connsiteY63" fmla="*/ 2392 h 10015"/>
                <a:gd name="connsiteX64" fmla="*/ 6909 w 10000"/>
                <a:gd name="connsiteY64" fmla="*/ 2337 h 10015"/>
                <a:gd name="connsiteX65" fmla="*/ 6946 w 10000"/>
                <a:gd name="connsiteY65" fmla="*/ 2277 h 10015"/>
                <a:gd name="connsiteX66" fmla="*/ 6990 w 10000"/>
                <a:gd name="connsiteY66" fmla="*/ 2222 h 10015"/>
                <a:gd name="connsiteX67" fmla="*/ 7027 w 10000"/>
                <a:gd name="connsiteY67" fmla="*/ 2167 h 10015"/>
                <a:gd name="connsiteX68" fmla="*/ 7072 w 10000"/>
                <a:gd name="connsiteY68" fmla="*/ 2112 h 10015"/>
                <a:gd name="connsiteX69" fmla="*/ 7109 w 10000"/>
                <a:gd name="connsiteY69" fmla="*/ 2057 h 10015"/>
                <a:gd name="connsiteX70" fmla="*/ 7161 w 10000"/>
                <a:gd name="connsiteY70" fmla="*/ 2007 h 10015"/>
                <a:gd name="connsiteX71" fmla="*/ 7213 w 10000"/>
                <a:gd name="connsiteY71" fmla="*/ 1952 h 10015"/>
                <a:gd name="connsiteX72" fmla="*/ 7257 w 10000"/>
                <a:gd name="connsiteY72" fmla="*/ 1897 h 10015"/>
                <a:gd name="connsiteX73" fmla="*/ 7309 w 10000"/>
                <a:gd name="connsiteY73" fmla="*/ 1846 h 10015"/>
                <a:gd name="connsiteX74" fmla="*/ 7361 w 10000"/>
                <a:gd name="connsiteY74" fmla="*/ 1795 h 10015"/>
                <a:gd name="connsiteX75" fmla="*/ 7413 w 10000"/>
                <a:gd name="connsiteY75" fmla="*/ 1745 h 10015"/>
                <a:gd name="connsiteX76" fmla="*/ 7472 w 10000"/>
                <a:gd name="connsiteY76" fmla="*/ 1694 h 10015"/>
                <a:gd name="connsiteX77" fmla="*/ 7524 w 10000"/>
                <a:gd name="connsiteY77" fmla="*/ 1648 h 10015"/>
                <a:gd name="connsiteX78" fmla="*/ 7583 w 10000"/>
                <a:gd name="connsiteY78" fmla="*/ 1602 h 10015"/>
                <a:gd name="connsiteX79" fmla="*/ 7610 w 10000"/>
                <a:gd name="connsiteY79" fmla="*/ 1573 h 10015"/>
                <a:gd name="connsiteX80" fmla="*/ 5390 w 10000"/>
                <a:gd name="connsiteY80" fmla="*/ 0 h 10015"/>
                <a:gd name="connsiteX81" fmla="*/ 1423 w 10000"/>
                <a:gd name="connsiteY81" fmla="*/ 8 h 10015"/>
                <a:gd name="connsiteX82" fmla="*/ 1305 w 10000"/>
                <a:gd name="connsiteY82" fmla="*/ 129 h 10015"/>
                <a:gd name="connsiteX83" fmla="*/ 1223 w 10000"/>
                <a:gd name="connsiteY83" fmla="*/ 221 h 10015"/>
                <a:gd name="connsiteX84" fmla="*/ 1149 w 10000"/>
                <a:gd name="connsiteY84" fmla="*/ 317 h 10015"/>
                <a:gd name="connsiteX85" fmla="*/ 1067 w 10000"/>
                <a:gd name="connsiteY85" fmla="*/ 414 h 10015"/>
                <a:gd name="connsiteX86" fmla="*/ 1001 w 10000"/>
                <a:gd name="connsiteY86" fmla="*/ 511 h 10015"/>
                <a:gd name="connsiteX87" fmla="*/ 927 w 10000"/>
                <a:gd name="connsiteY87" fmla="*/ 607 h 10015"/>
                <a:gd name="connsiteX88" fmla="*/ 860 w 10000"/>
                <a:gd name="connsiteY88" fmla="*/ 708 h 10015"/>
                <a:gd name="connsiteX89" fmla="*/ 793 w 10000"/>
                <a:gd name="connsiteY89" fmla="*/ 809 h 10015"/>
                <a:gd name="connsiteX90" fmla="*/ 734 w 10000"/>
                <a:gd name="connsiteY90" fmla="*/ 905 h 10015"/>
                <a:gd name="connsiteX91" fmla="*/ 675 w 10000"/>
                <a:gd name="connsiteY91" fmla="*/ 1006 h 10015"/>
                <a:gd name="connsiteX92" fmla="*/ 615 w 10000"/>
                <a:gd name="connsiteY92" fmla="*/ 1107 h 10015"/>
                <a:gd name="connsiteX93" fmla="*/ 556 w 10000"/>
                <a:gd name="connsiteY93" fmla="*/ 1213 h 10015"/>
                <a:gd name="connsiteX94" fmla="*/ 504 w 10000"/>
                <a:gd name="connsiteY94" fmla="*/ 1309 h 10015"/>
                <a:gd name="connsiteX95" fmla="*/ 452 w 10000"/>
                <a:gd name="connsiteY95" fmla="*/ 1415 h 10015"/>
                <a:gd name="connsiteX96" fmla="*/ 408 w 10000"/>
                <a:gd name="connsiteY96" fmla="*/ 1515 h 10015"/>
                <a:gd name="connsiteX97" fmla="*/ 363 w 10000"/>
                <a:gd name="connsiteY97" fmla="*/ 1621 h 10015"/>
                <a:gd name="connsiteX98" fmla="*/ 319 w 10000"/>
                <a:gd name="connsiteY98" fmla="*/ 1726 h 10015"/>
                <a:gd name="connsiteX99" fmla="*/ 282 w 10000"/>
                <a:gd name="connsiteY99" fmla="*/ 1833 h 10015"/>
                <a:gd name="connsiteX100" fmla="*/ 237 w 10000"/>
                <a:gd name="connsiteY100" fmla="*/ 1943 h 10015"/>
                <a:gd name="connsiteX101" fmla="*/ 208 w 10000"/>
                <a:gd name="connsiteY101" fmla="*/ 2048 h 10015"/>
                <a:gd name="connsiteX102" fmla="*/ 170 w 10000"/>
                <a:gd name="connsiteY102" fmla="*/ 2158 h 10015"/>
                <a:gd name="connsiteX103" fmla="*/ 148 w 10000"/>
                <a:gd name="connsiteY103" fmla="*/ 2268 h 10015"/>
                <a:gd name="connsiteX104" fmla="*/ 119 w 10000"/>
                <a:gd name="connsiteY104" fmla="*/ 2373 h 10015"/>
                <a:gd name="connsiteX105" fmla="*/ 96 w 10000"/>
                <a:gd name="connsiteY105" fmla="*/ 2483 h 10015"/>
                <a:gd name="connsiteX106" fmla="*/ 74 w 10000"/>
                <a:gd name="connsiteY106" fmla="*/ 2594 h 10015"/>
                <a:gd name="connsiteX107" fmla="*/ 52 w 10000"/>
                <a:gd name="connsiteY107" fmla="*/ 2709 h 10015"/>
                <a:gd name="connsiteX108" fmla="*/ 37 w 10000"/>
                <a:gd name="connsiteY108" fmla="*/ 2819 h 10015"/>
                <a:gd name="connsiteX109" fmla="*/ 22 w 10000"/>
                <a:gd name="connsiteY109" fmla="*/ 2929 h 10015"/>
                <a:gd name="connsiteX110" fmla="*/ 15 w 10000"/>
                <a:gd name="connsiteY110" fmla="*/ 3039 h 10015"/>
                <a:gd name="connsiteX111" fmla="*/ 7 w 10000"/>
                <a:gd name="connsiteY111" fmla="*/ 3153 h 10015"/>
                <a:gd name="connsiteX112" fmla="*/ 0 w 10000"/>
                <a:gd name="connsiteY112" fmla="*/ 3264 h 10015"/>
                <a:gd name="connsiteX113" fmla="*/ 0 w 10000"/>
                <a:gd name="connsiteY113" fmla="*/ 3379 h 10015"/>
                <a:gd name="connsiteX114" fmla="*/ 7 w 10000"/>
                <a:gd name="connsiteY114" fmla="*/ 3526 h 10015"/>
                <a:gd name="connsiteX115" fmla="*/ 7 w 10000"/>
                <a:gd name="connsiteY115" fmla="*/ 3672 h 10015"/>
                <a:gd name="connsiteX116" fmla="*/ 22 w 10000"/>
                <a:gd name="connsiteY116" fmla="*/ 3810 h 10015"/>
                <a:gd name="connsiteX117" fmla="*/ 37 w 10000"/>
                <a:gd name="connsiteY117" fmla="*/ 3953 h 10015"/>
                <a:gd name="connsiteX118" fmla="*/ 59 w 10000"/>
                <a:gd name="connsiteY118" fmla="*/ 4095 h 10015"/>
                <a:gd name="connsiteX119" fmla="*/ 89 w 10000"/>
                <a:gd name="connsiteY119" fmla="*/ 4237 h 10015"/>
                <a:gd name="connsiteX120" fmla="*/ 119 w 10000"/>
                <a:gd name="connsiteY120" fmla="*/ 4379 h 10015"/>
                <a:gd name="connsiteX121" fmla="*/ 148 w 10000"/>
                <a:gd name="connsiteY121" fmla="*/ 4521 h 10015"/>
                <a:gd name="connsiteX122" fmla="*/ 193 w 10000"/>
                <a:gd name="connsiteY122" fmla="*/ 4660 h 10015"/>
                <a:gd name="connsiteX123" fmla="*/ 237 w 10000"/>
                <a:gd name="connsiteY123" fmla="*/ 4797 h 10015"/>
                <a:gd name="connsiteX124" fmla="*/ 282 w 10000"/>
                <a:gd name="connsiteY124" fmla="*/ 4935 h 10015"/>
                <a:gd name="connsiteX125" fmla="*/ 334 w 10000"/>
                <a:gd name="connsiteY125" fmla="*/ 5072 h 10015"/>
                <a:gd name="connsiteX126" fmla="*/ 393 w 10000"/>
                <a:gd name="connsiteY126" fmla="*/ 5205 h 10015"/>
                <a:gd name="connsiteX127" fmla="*/ 452 w 10000"/>
                <a:gd name="connsiteY127" fmla="*/ 5338 h 10015"/>
                <a:gd name="connsiteX128" fmla="*/ 519 w 10000"/>
                <a:gd name="connsiteY128" fmla="*/ 5472 h 10015"/>
                <a:gd name="connsiteX129" fmla="*/ 586 w 10000"/>
                <a:gd name="connsiteY129" fmla="*/ 5605 h 10015"/>
                <a:gd name="connsiteX130" fmla="*/ 660 w 10000"/>
                <a:gd name="connsiteY130" fmla="*/ 5733 h 10015"/>
                <a:gd name="connsiteX131" fmla="*/ 741 w 10000"/>
                <a:gd name="connsiteY131" fmla="*/ 5861 h 10015"/>
                <a:gd name="connsiteX132" fmla="*/ 823 w 10000"/>
                <a:gd name="connsiteY132" fmla="*/ 5994 h 10015"/>
                <a:gd name="connsiteX133" fmla="*/ 904 w 10000"/>
                <a:gd name="connsiteY133" fmla="*/ 6119 h 10015"/>
                <a:gd name="connsiteX134" fmla="*/ 993 w 10000"/>
                <a:gd name="connsiteY134" fmla="*/ 6243 h 10015"/>
                <a:gd name="connsiteX135" fmla="*/ 1090 w 10000"/>
                <a:gd name="connsiteY135" fmla="*/ 6362 h 10015"/>
                <a:gd name="connsiteX136" fmla="*/ 1186 w 10000"/>
                <a:gd name="connsiteY136" fmla="*/ 6486 h 10015"/>
                <a:gd name="connsiteX137" fmla="*/ 1290 w 10000"/>
                <a:gd name="connsiteY137" fmla="*/ 6609 h 10015"/>
                <a:gd name="connsiteX138" fmla="*/ 1386 w 10000"/>
                <a:gd name="connsiteY138" fmla="*/ 6729 h 10015"/>
                <a:gd name="connsiteX139" fmla="*/ 1497 w 10000"/>
                <a:gd name="connsiteY139" fmla="*/ 6849 h 10015"/>
                <a:gd name="connsiteX140" fmla="*/ 1609 w 10000"/>
                <a:gd name="connsiteY140" fmla="*/ 6963 h 10015"/>
                <a:gd name="connsiteX141" fmla="*/ 1727 w 10000"/>
                <a:gd name="connsiteY141" fmla="*/ 7082 h 10015"/>
                <a:gd name="connsiteX142" fmla="*/ 1846 w 10000"/>
                <a:gd name="connsiteY142" fmla="*/ 7197 h 10015"/>
                <a:gd name="connsiteX143" fmla="*/ 1964 w 10000"/>
                <a:gd name="connsiteY143" fmla="*/ 7307 h 10015"/>
                <a:gd name="connsiteX144" fmla="*/ 2090 w 10000"/>
                <a:gd name="connsiteY144" fmla="*/ 7417 h 10015"/>
                <a:gd name="connsiteX145" fmla="*/ 2224 w 10000"/>
                <a:gd name="connsiteY145" fmla="*/ 7528 h 10015"/>
                <a:gd name="connsiteX146" fmla="*/ 2350 w 10000"/>
                <a:gd name="connsiteY146" fmla="*/ 7638 h 10015"/>
                <a:gd name="connsiteX147" fmla="*/ 2491 w 10000"/>
                <a:gd name="connsiteY147" fmla="*/ 7743 h 10015"/>
                <a:gd name="connsiteX148" fmla="*/ 2617 w 10000"/>
                <a:gd name="connsiteY148" fmla="*/ 7849 h 10015"/>
                <a:gd name="connsiteX149" fmla="*/ 2765 w 10000"/>
                <a:gd name="connsiteY149" fmla="*/ 7950 h 10015"/>
                <a:gd name="connsiteX150" fmla="*/ 2906 w 10000"/>
                <a:gd name="connsiteY150" fmla="*/ 8050 h 10015"/>
                <a:gd name="connsiteX151" fmla="*/ 3054 w 10000"/>
                <a:gd name="connsiteY151" fmla="*/ 8151 h 10015"/>
                <a:gd name="connsiteX152" fmla="*/ 3210 w 10000"/>
                <a:gd name="connsiteY152" fmla="*/ 8249 h 10015"/>
                <a:gd name="connsiteX153" fmla="*/ 3358 w 10000"/>
                <a:gd name="connsiteY153" fmla="*/ 8345 h 10015"/>
                <a:gd name="connsiteX154" fmla="*/ 3514 w 10000"/>
                <a:gd name="connsiteY154" fmla="*/ 8441 h 10015"/>
                <a:gd name="connsiteX155" fmla="*/ 3677 w 10000"/>
                <a:gd name="connsiteY155" fmla="*/ 8533 h 10015"/>
                <a:gd name="connsiteX156" fmla="*/ 3840 w 10000"/>
                <a:gd name="connsiteY156" fmla="*/ 8620 h 10015"/>
                <a:gd name="connsiteX157" fmla="*/ 4010 w 10000"/>
                <a:gd name="connsiteY157" fmla="*/ 8711 h 10015"/>
                <a:gd name="connsiteX158" fmla="*/ 4181 w 10000"/>
                <a:gd name="connsiteY158" fmla="*/ 8789 h 10015"/>
                <a:gd name="connsiteX159" fmla="*/ 4351 w 10000"/>
                <a:gd name="connsiteY159" fmla="*/ 8876 h 10015"/>
                <a:gd name="connsiteX160" fmla="*/ 4522 w 10000"/>
                <a:gd name="connsiteY160" fmla="*/ 8955 h 10015"/>
                <a:gd name="connsiteX161" fmla="*/ 4700 w 10000"/>
                <a:gd name="connsiteY161" fmla="*/ 9038 h 10015"/>
                <a:gd name="connsiteX162" fmla="*/ 4878 w 10000"/>
                <a:gd name="connsiteY162" fmla="*/ 9116 h 10015"/>
                <a:gd name="connsiteX163" fmla="*/ 5063 w 10000"/>
                <a:gd name="connsiteY163" fmla="*/ 9189 h 10015"/>
                <a:gd name="connsiteX164" fmla="*/ 5248 w 10000"/>
                <a:gd name="connsiteY164" fmla="*/ 9267 h 10015"/>
                <a:gd name="connsiteX165" fmla="*/ 5426 w 10000"/>
                <a:gd name="connsiteY165" fmla="*/ 9336 h 10015"/>
                <a:gd name="connsiteX166" fmla="*/ 5619 w 10000"/>
                <a:gd name="connsiteY166" fmla="*/ 9404 h 10015"/>
                <a:gd name="connsiteX167" fmla="*/ 5812 w 10000"/>
                <a:gd name="connsiteY167" fmla="*/ 9473 h 10015"/>
                <a:gd name="connsiteX168" fmla="*/ 6004 w 10000"/>
                <a:gd name="connsiteY168" fmla="*/ 9537 h 10015"/>
                <a:gd name="connsiteX169" fmla="*/ 6205 w 10000"/>
                <a:gd name="connsiteY169" fmla="*/ 9602 h 10015"/>
                <a:gd name="connsiteX170" fmla="*/ 6397 w 10000"/>
                <a:gd name="connsiteY170" fmla="*/ 9662 h 10015"/>
                <a:gd name="connsiteX171" fmla="*/ 6605 w 10000"/>
                <a:gd name="connsiteY171" fmla="*/ 9717 h 10015"/>
                <a:gd name="connsiteX172" fmla="*/ 6805 w 10000"/>
                <a:gd name="connsiteY172" fmla="*/ 9772 h 10015"/>
                <a:gd name="connsiteX173" fmla="*/ 7005 w 10000"/>
                <a:gd name="connsiteY173" fmla="*/ 9827 h 10015"/>
                <a:gd name="connsiteX174" fmla="*/ 7213 w 10000"/>
                <a:gd name="connsiteY174" fmla="*/ 9878 h 10015"/>
                <a:gd name="connsiteX175" fmla="*/ 7420 w 10000"/>
                <a:gd name="connsiteY175" fmla="*/ 9923 h 10015"/>
                <a:gd name="connsiteX176" fmla="*/ 7628 w 10000"/>
                <a:gd name="connsiteY176" fmla="*/ 9969 h 10015"/>
                <a:gd name="connsiteX177" fmla="*/ 7835 w 10000"/>
                <a:gd name="connsiteY177" fmla="*/ 10015 h 10015"/>
                <a:gd name="connsiteX178" fmla="*/ 7539 w 10000"/>
                <a:gd name="connsiteY178" fmla="*/ 7766 h 10015"/>
                <a:gd name="connsiteX179" fmla="*/ 10000 w 10000"/>
                <a:gd name="connsiteY179" fmla="*/ 6151 h 10015"/>
                <a:gd name="connsiteX0" fmla="*/ 10000 w 10000"/>
                <a:gd name="connsiteY0" fmla="*/ 6143 h 10007"/>
                <a:gd name="connsiteX1" fmla="*/ 10000 w 10000"/>
                <a:gd name="connsiteY1" fmla="*/ 6143 h 10007"/>
                <a:gd name="connsiteX2" fmla="*/ 9911 w 10000"/>
                <a:gd name="connsiteY2" fmla="*/ 6129 h 10007"/>
                <a:gd name="connsiteX3" fmla="*/ 9815 w 10000"/>
                <a:gd name="connsiteY3" fmla="*/ 6111 h 10007"/>
                <a:gd name="connsiteX4" fmla="*/ 9726 w 10000"/>
                <a:gd name="connsiteY4" fmla="*/ 6093 h 10007"/>
                <a:gd name="connsiteX5" fmla="*/ 9637 w 10000"/>
                <a:gd name="connsiteY5" fmla="*/ 6069 h 10007"/>
                <a:gd name="connsiteX6" fmla="*/ 9548 w 10000"/>
                <a:gd name="connsiteY6" fmla="*/ 6050 h 10007"/>
                <a:gd name="connsiteX7" fmla="*/ 9466 w 10000"/>
                <a:gd name="connsiteY7" fmla="*/ 6028 h 10007"/>
                <a:gd name="connsiteX8" fmla="*/ 9377 w 10000"/>
                <a:gd name="connsiteY8" fmla="*/ 6005 h 10007"/>
                <a:gd name="connsiteX9" fmla="*/ 9288 w 10000"/>
                <a:gd name="connsiteY9" fmla="*/ 5982 h 10007"/>
                <a:gd name="connsiteX10" fmla="*/ 9118 w 10000"/>
                <a:gd name="connsiteY10" fmla="*/ 5931 h 10007"/>
                <a:gd name="connsiteX11" fmla="*/ 8955 w 10000"/>
                <a:gd name="connsiteY11" fmla="*/ 5876 h 10007"/>
                <a:gd name="connsiteX12" fmla="*/ 8792 w 10000"/>
                <a:gd name="connsiteY12" fmla="*/ 5817 h 10007"/>
                <a:gd name="connsiteX13" fmla="*/ 8636 w 10000"/>
                <a:gd name="connsiteY13" fmla="*/ 5753 h 10007"/>
                <a:gd name="connsiteX14" fmla="*/ 8480 w 10000"/>
                <a:gd name="connsiteY14" fmla="*/ 5688 h 10007"/>
                <a:gd name="connsiteX15" fmla="*/ 8340 w 10000"/>
                <a:gd name="connsiteY15" fmla="*/ 5620 h 10007"/>
                <a:gd name="connsiteX16" fmla="*/ 8199 w 10000"/>
                <a:gd name="connsiteY16" fmla="*/ 5546 h 10007"/>
                <a:gd name="connsiteX17" fmla="*/ 8058 w 10000"/>
                <a:gd name="connsiteY17" fmla="*/ 5468 h 10007"/>
                <a:gd name="connsiteX18" fmla="*/ 7924 w 10000"/>
                <a:gd name="connsiteY18" fmla="*/ 5386 h 10007"/>
                <a:gd name="connsiteX19" fmla="*/ 7798 w 10000"/>
                <a:gd name="connsiteY19" fmla="*/ 5302 h 10007"/>
                <a:gd name="connsiteX20" fmla="*/ 7672 w 10000"/>
                <a:gd name="connsiteY20" fmla="*/ 5215 h 10007"/>
                <a:gd name="connsiteX21" fmla="*/ 7554 w 10000"/>
                <a:gd name="connsiteY21" fmla="*/ 5128 h 10007"/>
                <a:gd name="connsiteX22" fmla="*/ 7450 w 10000"/>
                <a:gd name="connsiteY22" fmla="*/ 5032 h 10007"/>
                <a:gd name="connsiteX23" fmla="*/ 7346 w 10000"/>
                <a:gd name="connsiteY23" fmla="*/ 4936 h 10007"/>
                <a:gd name="connsiteX24" fmla="*/ 7250 w 10000"/>
                <a:gd name="connsiteY24" fmla="*/ 4840 h 10007"/>
                <a:gd name="connsiteX25" fmla="*/ 7161 w 10000"/>
                <a:gd name="connsiteY25" fmla="*/ 4739 h 10007"/>
                <a:gd name="connsiteX26" fmla="*/ 7072 w 10000"/>
                <a:gd name="connsiteY26" fmla="*/ 4637 h 10007"/>
                <a:gd name="connsiteX27" fmla="*/ 6990 w 10000"/>
                <a:gd name="connsiteY27" fmla="*/ 4527 h 10007"/>
                <a:gd name="connsiteX28" fmla="*/ 6953 w 10000"/>
                <a:gd name="connsiteY28" fmla="*/ 4477 h 10007"/>
                <a:gd name="connsiteX29" fmla="*/ 6916 w 10000"/>
                <a:gd name="connsiteY29" fmla="*/ 4422 h 10007"/>
                <a:gd name="connsiteX30" fmla="*/ 6887 w 10000"/>
                <a:gd name="connsiteY30" fmla="*/ 4367 h 10007"/>
                <a:gd name="connsiteX31" fmla="*/ 6850 w 10000"/>
                <a:gd name="connsiteY31" fmla="*/ 4312 h 10007"/>
                <a:gd name="connsiteX32" fmla="*/ 6820 w 10000"/>
                <a:gd name="connsiteY32" fmla="*/ 4257 h 10007"/>
                <a:gd name="connsiteX33" fmla="*/ 6790 w 10000"/>
                <a:gd name="connsiteY33" fmla="*/ 4202 h 10007"/>
                <a:gd name="connsiteX34" fmla="*/ 6768 w 10000"/>
                <a:gd name="connsiteY34" fmla="*/ 4142 h 10007"/>
                <a:gd name="connsiteX35" fmla="*/ 6738 w 10000"/>
                <a:gd name="connsiteY35" fmla="*/ 4087 h 10007"/>
                <a:gd name="connsiteX36" fmla="*/ 6723 w 10000"/>
                <a:gd name="connsiteY36" fmla="*/ 4027 h 10007"/>
                <a:gd name="connsiteX37" fmla="*/ 6694 w 10000"/>
                <a:gd name="connsiteY37" fmla="*/ 3972 h 10007"/>
                <a:gd name="connsiteX38" fmla="*/ 6679 w 10000"/>
                <a:gd name="connsiteY38" fmla="*/ 3912 h 10007"/>
                <a:gd name="connsiteX39" fmla="*/ 6664 w 10000"/>
                <a:gd name="connsiteY39" fmla="*/ 3852 h 10007"/>
                <a:gd name="connsiteX40" fmla="*/ 6649 w 10000"/>
                <a:gd name="connsiteY40" fmla="*/ 3793 h 10007"/>
                <a:gd name="connsiteX41" fmla="*/ 6635 w 10000"/>
                <a:gd name="connsiteY41" fmla="*/ 3738 h 10007"/>
                <a:gd name="connsiteX42" fmla="*/ 6620 w 10000"/>
                <a:gd name="connsiteY42" fmla="*/ 3678 h 10007"/>
                <a:gd name="connsiteX43" fmla="*/ 6612 w 10000"/>
                <a:gd name="connsiteY43" fmla="*/ 3619 h 10007"/>
                <a:gd name="connsiteX44" fmla="*/ 6605 w 10000"/>
                <a:gd name="connsiteY44" fmla="*/ 3559 h 10007"/>
                <a:gd name="connsiteX45" fmla="*/ 6597 w 10000"/>
                <a:gd name="connsiteY45" fmla="*/ 3495 h 10007"/>
                <a:gd name="connsiteX46" fmla="*/ 6597 w 10000"/>
                <a:gd name="connsiteY46" fmla="*/ 3435 h 10007"/>
                <a:gd name="connsiteX47" fmla="*/ 6590 w 10000"/>
                <a:gd name="connsiteY47" fmla="*/ 3371 h 10007"/>
                <a:gd name="connsiteX48" fmla="*/ 6597 w 10000"/>
                <a:gd name="connsiteY48" fmla="*/ 3311 h 10007"/>
                <a:gd name="connsiteX49" fmla="*/ 6605 w 10000"/>
                <a:gd name="connsiteY49" fmla="*/ 3243 h 10007"/>
                <a:gd name="connsiteX50" fmla="*/ 6605 w 10000"/>
                <a:gd name="connsiteY50" fmla="*/ 3178 h 10007"/>
                <a:gd name="connsiteX51" fmla="*/ 6612 w 10000"/>
                <a:gd name="connsiteY51" fmla="*/ 3113 h 10007"/>
                <a:gd name="connsiteX52" fmla="*/ 6620 w 10000"/>
                <a:gd name="connsiteY52" fmla="*/ 3049 h 10007"/>
                <a:gd name="connsiteX53" fmla="*/ 6635 w 10000"/>
                <a:gd name="connsiteY53" fmla="*/ 2990 h 10007"/>
                <a:gd name="connsiteX54" fmla="*/ 6649 w 10000"/>
                <a:gd name="connsiteY54" fmla="*/ 2926 h 10007"/>
                <a:gd name="connsiteX55" fmla="*/ 6664 w 10000"/>
                <a:gd name="connsiteY55" fmla="*/ 2866 h 10007"/>
                <a:gd name="connsiteX56" fmla="*/ 6686 w 10000"/>
                <a:gd name="connsiteY56" fmla="*/ 2802 h 10007"/>
                <a:gd name="connsiteX57" fmla="*/ 6709 w 10000"/>
                <a:gd name="connsiteY57" fmla="*/ 2742 h 10007"/>
                <a:gd name="connsiteX58" fmla="*/ 6731 w 10000"/>
                <a:gd name="connsiteY58" fmla="*/ 2683 h 10007"/>
                <a:gd name="connsiteX59" fmla="*/ 6753 w 10000"/>
                <a:gd name="connsiteY59" fmla="*/ 2618 h 10007"/>
                <a:gd name="connsiteX60" fmla="*/ 6783 w 10000"/>
                <a:gd name="connsiteY60" fmla="*/ 2563 h 10007"/>
                <a:gd name="connsiteX61" fmla="*/ 6812 w 10000"/>
                <a:gd name="connsiteY61" fmla="*/ 2503 h 10007"/>
                <a:gd name="connsiteX62" fmla="*/ 6842 w 10000"/>
                <a:gd name="connsiteY62" fmla="*/ 2443 h 10007"/>
                <a:gd name="connsiteX63" fmla="*/ 6879 w 10000"/>
                <a:gd name="connsiteY63" fmla="*/ 2384 h 10007"/>
                <a:gd name="connsiteX64" fmla="*/ 6909 w 10000"/>
                <a:gd name="connsiteY64" fmla="*/ 2329 h 10007"/>
                <a:gd name="connsiteX65" fmla="*/ 6946 w 10000"/>
                <a:gd name="connsiteY65" fmla="*/ 2269 h 10007"/>
                <a:gd name="connsiteX66" fmla="*/ 6990 w 10000"/>
                <a:gd name="connsiteY66" fmla="*/ 2214 h 10007"/>
                <a:gd name="connsiteX67" fmla="*/ 7027 w 10000"/>
                <a:gd name="connsiteY67" fmla="*/ 2159 h 10007"/>
                <a:gd name="connsiteX68" fmla="*/ 7072 w 10000"/>
                <a:gd name="connsiteY68" fmla="*/ 2104 h 10007"/>
                <a:gd name="connsiteX69" fmla="*/ 7109 w 10000"/>
                <a:gd name="connsiteY69" fmla="*/ 2049 h 10007"/>
                <a:gd name="connsiteX70" fmla="*/ 7161 w 10000"/>
                <a:gd name="connsiteY70" fmla="*/ 1999 h 10007"/>
                <a:gd name="connsiteX71" fmla="*/ 7213 w 10000"/>
                <a:gd name="connsiteY71" fmla="*/ 1944 h 10007"/>
                <a:gd name="connsiteX72" fmla="*/ 7257 w 10000"/>
                <a:gd name="connsiteY72" fmla="*/ 1889 h 10007"/>
                <a:gd name="connsiteX73" fmla="*/ 7309 w 10000"/>
                <a:gd name="connsiteY73" fmla="*/ 1838 h 10007"/>
                <a:gd name="connsiteX74" fmla="*/ 7361 w 10000"/>
                <a:gd name="connsiteY74" fmla="*/ 1787 h 10007"/>
                <a:gd name="connsiteX75" fmla="*/ 7413 w 10000"/>
                <a:gd name="connsiteY75" fmla="*/ 1737 h 10007"/>
                <a:gd name="connsiteX76" fmla="*/ 7472 w 10000"/>
                <a:gd name="connsiteY76" fmla="*/ 1686 h 10007"/>
                <a:gd name="connsiteX77" fmla="*/ 7524 w 10000"/>
                <a:gd name="connsiteY77" fmla="*/ 1640 h 10007"/>
                <a:gd name="connsiteX78" fmla="*/ 7583 w 10000"/>
                <a:gd name="connsiteY78" fmla="*/ 1594 h 10007"/>
                <a:gd name="connsiteX79" fmla="*/ 7610 w 10000"/>
                <a:gd name="connsiteY79" fmla="*/ 1565 h 10007"/>
                <a:gd name="connsiteX80" fmla="*/ 5379 w 10000"/>
                <a:gd name="connsiteY80" fmla="*/ 20 h 10007"/>
                <a:gd name="connsiteX81" fmla="*/ 1423 w 10000"/>
                <a:gd name="connsiteY81" fmla="*/ 0 h 10007"/>
                <a:gd name="connsiteX82" fmla="*/ 1305 w 10000"/>
                <a:gd name="connsiteY82" fmla="*/ 121 h 10007"/>
                <a:gd name="connsiteX83" fmla="*/ 1223 w 10000"/>
                <a:gd name="connsiteY83" fmla="*/ 213 h 10007"/>
                <a:gd name="connsiteX84" fmla="*/ 1149 w 10000"/>
                <a:gd name="connsiteY84" fmla="*/ 309 h 10007"/>
                <a:gd name="connsiteX85" fmla="*/ 1067 w 10000"/>
                <a:gd name="connsiteY85" fmla="*/ 406 h 10007"/>
                <a:gd name="connsiteX86" fmla="*/ 1001 w 10000"/>
                <a:gd name="connsiteY86" fmla="*/ 503 h 10007"/>
                <a:gd name="connsiteX87" fmla="*/ 927 w 10000"/>
                <a:gd name="connsiteY87" fmla="*/ 599 h 10007"/>
                <a:gd name="connsiteX88" fmla="*/ 860 w 10000"/>
                <a:gd name="connsiteY88" fmla="*/ 700 h 10007"/>
                <a:gd name="connsiteX89" fmla="*/ 793 w 10000"/>
                <a:gd name="connsiteY89" fmla="*/ 801 h 10007"/>
                <a:gd name="connsiteX90" fmla="*/ 734 w 10000"/>
                <a:gd name="connsiteY90" fmla="*/ 897 h 10007"/>
                <a:gd name="connsiteX91" fmla="*/ 675 w 10000"/>
                <a:gd name="connsiteY91" fmla="*/ 998 h 10007"/>
                <a:gd name="connsiteX92" fmla="*/ 615 w 10000"/>
                <a:gd name="connsiteY92" fmla="*/ 1099 h 10007"/>
                <a:gd name="connsiteX93" fmla="*/ 556 w 10000"/>
                <a:gd name="connsiteY93" fmla="*/ 1205 h 10007"/>
                <a:gd name="connsiteX94" fmla="*/ 504 w 10000"/>
                <a:gd name="connsiteY94" fmla="*/ 1301 h 10007"/>
                <a:gd name="connsiteX95" fmla="*/ 452 w 10000"/>
                <a:gd name="connsiteY95" fmla="*/ 1407 h 10007"/>
                <a:gd name="connsiteX96" fmla="*/ 408 w 10000"/>
                <a:gd name="connsiteY96" fmla="*/ 1507 h 10007"/>
                <a:gd name="connsiteX97" fmla="*/ 363 w 10000"/>
                <a:gd name="connsiteY97" fmla="*/ 1613 h 10007"/>
                <a:gd name="connsiteX98" fmla="*/ 319 w 10000"/>
                <a:gd name="connsiteY98" fmla="*/ 1718 h 10007"/>
                <a:gd name="connsiteX99" fmla="*/ 282 w 10000"/>
                <a:gd name="connsiteY99" fmla="*/ 1825 h 10007"/>
                <a:gd name="connsiteX100" fmla="*/ 237 w 10000"/>
                <a:gd name="connsiteY100" fmla="*/ 1935 h 10007"/>
                <a:gd name="connsiteX101" fmla="*/ 208 w 10000"/>
                <a:gd name="connsiteY101" fmla="*/ 2040 h 10007"/>
                <a:gd name="connsiteX102" fmla="*/ 170 w 10000"/>
                <a:gd name="connsiteY102" fmla="*/ 2150 h 10007"/>
                <a:gd name="connsiteX103" fmla="*/ 148 w 10000"/>
                <a:gd name="connsiteY103" fmla="*/ 2260 h 10007"/>
                <a:gd name="connsiteX104" fmla="*/ 119 w 10000"/>
                <a:gd name="connsiteY104" fmla="*/ 2365 h 10007"/>
                <a:gd name="connsiteX105" fmla="*/ 96 w 10000"/>
                <a:gd name="connsiteY105" fmla="*/ 2475 h 10007"/>
                <a:gd name="connsiteX106" fmla="*/ 74 w 10000"/>
                <a:gd name="connsiteY106" fmla="*/ 2586 h 10007"/>
                <a:gd name="connsiteX107" fmla="*/ 52 w 10000"/>
                <a:gd name="connsiteY107" fmla="*/ 2701 h 10007"/>
                <a:gd name="connsiteX108" fmla="*/ 37 w 10000"/>
                <a:gd name="connsiteY108" fmla="*/ 2811 h 10007"/>
                <a:gd name="connsiteX109" fmla="*/ 22 w 10000"/>
                <a:gd name="connsiteY109" fmla="*/ 2921 h 10007"/>
                <a:gd name="connsiteX110" fmla="*/ 15 w 10000"/>
                <a:gd name="connsiteY110" fmla="*/ 3031 h 10007"/>
                <a:gd name="connsiteX111" fmla="*/ 7 w 10000"/>
                <a:gd name="connsiteY111" fmla="*/ 3145 h 10007"/>
                <a:gd name="connsiteX112" fmla="*/ 0 w 10000"/>
                <a:gd name="connsiteY112" fmla="*/ 3256 h 10007"/>
                <a:gd name="connsiteX113" fmla="*/ 0 w 10000"/>
                <a:gd name="connsiteY113" fmla="*/ 3371 h 10007"/>
                <a:gd name="connsiteX114" fmla="*/ 7 w 10000"/>
                <a:gd name="connsiteY114" fmla="*/ 3518 h 10007"/>
                <a:gd name="connsiteX115" fmla="*/ 7 w 10000"/>
                <a:gd name="connsiteY115" fmla="*/ 3664 h 10007"/>
                <a:gd name="connsiteX116" fmla="*/ 22 w 10000"/>
                <a:gd name="connsiteY116" fmla="*/ 3802 h 10007"/>
                <a:gd name="connsiteX117" fmla="*/ 37 w 10000"/>
                <a:gd name="connsiteY117" fmla="*/ 3945 h 10007"/>
                <a:gd name="connsiteX118" fmla="*/ 59 w 10000"/>
                <a:gd name="connsiteY118" fmla="*/ 4087 h 10007"/>
                <a:gd name="connsiteX119" fmla="*/ 89 w 10000"/>
                <a:gd name="connsiteY119" fmla="*/ 4229 h 10007"/>
                <a:gd name="connsiteX120" fmla="*/ 119 w 10000"/>
                <a:gd name="connsiteY120" fmla="*/ 4371 h 10007"/>
                <a:gd name="connsiteX121" fmla="*/ 148 w 10000"/>
                <a:gd name="connsiteY121" fmla="*/ 4513 h 10007"/>
                <a:gd name="connsiteX122" fmla="*/ 193 w 10000"/>
                <a:gd name="connsiteY122" fmla="*/ 4652 h 10007"/>
                <a:gd name="connsiteX123" fmla="*/ 237 w 10000"/>
                <a:gd name="connsiteY123" fmla="*/ 4789 h 10007"/>
                <a:gd name="connsiteX124" fmla="*/ 282 w 10000"/>
                <a:gd name="connsiteY124" fmla="*/ 4927 h 10007"/>
                <a:gd name="connsiteX125" fmla="*/ 334 w 10000"/>
                <a:gd name="connsiteY125" fmla="*/ 5064 h 10007"/>
                <a:gd name="connsiteX126" fmla="*/ 393 w 10000"/>
                <a:gd name="connsiteY126" fmla="*/ 5197 h 10007"/>
                <a:gd name="connsiteX127" fmla="*/ 452 w 10000"/>
                <a:gd name="connsiteY127" fmla="*/ 5330 h 10007"/>
                <a:gd name="connsiteX128" fmla="*/ 519 w 10000"/>
                <a:gd name="connsiteY128" fmla="*/ 5464 h 10007"/>
                <a:gd name="connsiteX129" fmla="*/ 586 w 10000"/>
                <a:gd name="connsiteY129" fmla="*/ 5597 h 10007"/>
                <a:gd name="connsiteX130" fmla="*/ 660 w 10000"/>
                <a:gd name="connsiteY130" fmla="*/ 5725 h 10007"/>
                <a:gd name="connsiteX131" fmla="*/ 741 w 10000"/>
                <a:gd name="connsiteY131" fmla="*/ 5853 h 10007"/>
                <a:gd name="connsiteX132" fmla="*/ 823 w 10000"/>
                <a:gd name="connsiteY132" fmla="*/ 5986 h 10007"/>
                <a:gd name="connsiteX133" fmla="*/ 904 w 10000"/>
                <a:gd name="connsiteY133" fmla="*/ 6111 h 10007"/>
                <a:gd name="connsiteX134" fmla="*/ 993 w 10000"/>
                <a:gd name="connsiteY134" fmla="*/ 6235 h 10007"/>
                <a:gd name="connsiteX135" fmla="*/ 1090 w 10000"/>
                <a:gd name="connsiteY135" fmla="*/ 6354 h 10007"/>
                <a:gd name="connsiteX136" fmla="*/ 1186 w 10000"/>
                <a:gd name="connsiteY136" fmla="*/ 6478 h 10007"/>
                <a:gd name="connsiteX137" fmla="*/ 1290 w 10000"/>
                <a:gd name="connsiteY137" fmla="*/ 6601 h 10007"/>
                <a:gd name="connsiteX138" fmla="*/ 1386 w 10000"/>
                <a:gd name="connsiteY138" fmla="*/ 6721 h 10007"/>
                <a:gd name="connsiteX139" fmla="*/ 1497 w 10000"/>
                <a:gd name="connsiteY139" fmla="*/ 6841 h 10007"/>
                <a:gd name="connsiteX140" fmla="*/ 1609 w 10000"/>
                <a:gd name="connsiteY140" fmla="*/ 6955 h 10007"/>
                <a:gd name="connsiteX141" fmla="*/ 1727 w 10000"/>
                <a:gd name="connsiteY141" fmla="*/ 7074 h 10007"/>
                <a:gd name="connsiteX142" fmla="*/ 1846 w 10000"/>
                <a:gd name="connsiteY142" fmla="*/ 7189 h 10007"/>
                <a:gd name="connsiteX143" fmla="*/ 1964 w 10000"/>
                <a:gd name="connsiteY143" fmla="*/ 7299 h 10007"/>
                <a:gd name="connsiteX144" fmla="*/ 2090 w 10000"/>
                <a:gd name="connsiteY144" fmla="*/ 7409 h 10007"/>
                <a:gd name="connsiteX145" fmla="*/ 2224 w 10000"/>
                <a:gd name="connsiteY145" fmla="*/ 7520 h 10007"/>
                <a:gd name="connsiteX146" fmla="*/ 2350 w 10000"/>
                <a:gd name="connsiteY146" fmla="*/ 7630 h 10007"/>
                <a:gd name="connsiteX147" fmla="*/ 2491 w 10000"/>
                <a:gd name="connsiteY147" fmla="*/ 7735 h 10007"/>
                <a:gd name="connsiteX148" fmla="*/ 2617 w 10000"/>
                <a:gd name="connsiteY148" fmla="*/ 7841 h 10007"/>
                <a:gd name="connsiteX149" fmla="*/ 2765 w 10000"/>
                <a:gd name="connsiteY149" fmla="*/ 7942 h 10007"/>
                <a:gd name="connsiteX150" fmla="*/ 2906 w 10000"/>
                <a:gd name="connsiteY150" fmla="*/ 8042 h 10007"/>
                <a:gd name="connsiteX151" fmla="*/ 3054 w 10000"/>
                <a:gd name="connsiteY151" fmla="*/ 8143 h 10007"/>
                <a:gd name="connsiteX152" fmla="*/ 3210 w 10000"/>
                <a:gd name="connsiteY152" fmla="*/ 8241 h 10007"/>
                <a:gd name="connsiteX153" fmla="*/ 3358 w 10000"/>
                <a:gd name="connsiteY153" fmla="*/ 8337 h 10007"/>
                <a:gd name="connsiteX154" fmla="*/ 3514 w 10000"/>
                <a:gd name="connsiteY154" fmla="*/ 8433 h 10007"/>
                <a:gd name="connsiteX155" fmla="*/ 3677 w 10000"/>
                <a:gd name="connsiteY155" fmla="*/ 8525 h 10007"/>
                <a:gd name="connsiteX156" fmla="*/ 3840 w 10000"/>
                <a:gd name="connsiteY156" fmla="*/ 8612 h 10007"/>
                <a:gd name="connsiteX157" fmla="*/ 4010 w 10000"/>
                <a:gd name="connsiteY157" fmla="*/ 8703 h 10007"/>
                <a:gd name="connsiteX158" fmla="*/ 4181 w 10000"/>
                <a:gd name="connsiteY158" fmla="*/ 8781 h 10007"/>
                <a:gd name="connsiteX159" fmla="*/ 4351 w 10000"/>
                <a:gd name="connsiteY159" fmla="*/ 8868 h 10007"/>
                <a:gd name="connsiteX160" fmla="*/ 4522 w 10000"/>
                <a:gd name="connsiteY160" fmla="*/ 8947 h 10007"/>
                <a:gd name="connsiteX161" fmla="*/ 4700 w 10000"/>
                <a:gd name="connsiteY161" fmla="*/ 9030 h 10007"/>
                <a:gd name="connsiteX162" fmla="*/ 4878 w 10000"/>
                <a:gd name="connsiteY162" fmla="*/ 9108 h 10007"/>
                <a:gd name="connsiteX163" fmla="*/ 5063 w 10000"/>
                <a:gd name="connsiteY163" fmla="*/ 9181 h 10007"/>
                <a:gd name="connsiteX164" fmla="*/ 5248 w 10000"/>
                <a:gd name="connsiteY164" fmla="*/ 9259 h 10007"/>
                <a:gd name="connsiteX165" fmla="*/ 5426 w 10000"/>
                <a:gd name="connsiteY165" fmla="*/ 9328 h 10007"/>
                <a:gd name="connsiteX166" fmla="*/ 5619 w 10000"/>
                <a:gd name="connsiteY166" fmla="*/ 9396 h 10007"/>
                <a:gd name="connsiteX167" fmla="*/ 5812 w 10000"/>
                <a:gd name="connsiteY167" fmla="*/ 9465 h 10007"/>
                <a:gd name="connsiteX168" fmla="*/ 6004 w 10000"/>
                <a:gd name="connsiteY168" fmla="*/ 9529 h 10007"/>
                <a:gd name="connsiteX169" fmla="*/ 6205 w 10000"/>
                <a:gd name="connsiteY169" fmla="*/ 9594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58 h 10007"/>
                <a:gd name="connsiteX179" fmla="*/ 10000 w 10000"/>
                <a:gd name="connsiteY179" fmla="*/ 6143 h 10007"/>
                <a:gd name="connsiteX0" fmla="*/ 10000 w 10000"/>
                <a:gd name="connsiteY0" fmla="*/ 6143 h 10007"/>
                <a:gd name="connsiteX1" fmla="*/ 10000 w 10000"/>
                <a:gd name="connsiteY1" fmla="*/ 6143 h 10007"/>
                <a:gd name="connsiteX2" fmla="*/ 9911 w 10000"/>
                <a:gd name="connsiteY2" fmla="*/ 6129 h 10007"/>
                <a:gd name="connsiteX3" fmla="*/ 9815 w 10000"/>
                <a:gd name="connsiteY3" fmla="*/ 6111 h 10007"/>
                <a:gd name="connsiteX4" fmla="*/ 9726 w 10000"/>
                <a:gd name="connsiteY4" fmla="*/ 6093 h 10007"/>
                <a:gd name="connsiteX5" fmla="*/ 9637 w 10000"/>
                <a:gd name="connsiteY5" fmla="*/ 6069 h 10007"/>
                <a:gd name="connsiteX6" fmla="*/ 9548 w 10000"/>
                <a:gd name="connsiteY6" fmla="*/ 6050 h 10007"/>
                <a:gd name="connsiteX7" fmla="*/ 9466 w 10000"/>
                <a:gd name="connsiteY7" fmla="*/ 6028 h 10007"/>
                <a:gd name="connsiteX8" fmla="*/ 9377 w 10000"/>
                <a:gd name="connsiteY8" fmla="*/ 6005 h 10007"/>
                <a:gd name="connsiteX9" fmla="*/ 9288 w 10000"/>
                <a:gd name="connsiteY9" fmla="*/ 5982 h 10007"/>
                <a:gd name="connsiteX10" fmla="*/ 9118 w 10000"/>
                <a:gd name="connsiteY10" fmla="*/ 5931 h 10007"/>
                <a:gd name="connsiteX11" fmla="*/ 8955 w 10000"/>
                <a:gd name="connsiteY11" fmla="*/ 5876 h 10007"/>
                <a:gd name="connsiteX12" fmla="*/ 8792 w 10000"/>
                <a:gd name="connsiteY12" fmla="*/ 5817 h 10007"/>
                <a:gd name="connsiteX13" fmla="*/ 8636 w 10000"/>
                <a:gd name="connsiteY13" fmla="*/ 5753 h 10007"/>
                <a:gd name="connsiteX14" fmla="*/ 8480 w 10000"/>
                <a:gd name="connsiteY14" fmla="*/ 5688 h 10007"/>
                <a:gd name="connsiteX15" fmla="*/ 8340 w 10000"/>
                <a:gd name="connsiteY15" fmla="*/ 5620 h 10007"/>
                <a:gd name="connsiteX16" fmla="*/ 8199 w 10000"/>
                <a:gd name="connsiteY16" fmla="*/ 5546 h 10007"/>
                <a:gd name="connsiteX17" fmla="*/ 8058 w 10000"/>
                <a:gd name="connsiteY17" fmla="*/ 5468 h 10007"/>
                <a:gd name="connsiteX18" fmla="*/ 7924 w 10000"/>
                <a:gd name="connsiteY18" fmla="*/ 5386 h 10007"/>
                <a:gd name="connsiteX19" fmla="*/ 7798 w 10000"/>
                <a:gd name="connsiteY19" fmla="*/ 5302 h 10007"/>
                <a:gd name="connsiteX20" fmla="*/ 7672 w 10000"/>
                <a:gd name="connsiteY20" fmla="*/ 5215 h 10007"/>
                <a:gd name="connsiteX21" fmla="*/ 7554 w 10000"/>
                <a:gd name="connsiteY21" fmla="*/ 5128 h 10007"/>
                <a:gd name="connsiteX22" fmla="*/ 7450 w 10000"/>
                <a:gd name="connsiteY22" fmla="*/ 5032 h 10007"/>
                <a:gd name="connsiteX23" fmla="*/ 7346 w 10000"/>
                <a:gd name="connsiteY23" fmla="*/ 4936 h 10007"/>
                <a:gd name="connsiteX24" fmla="*/ 7250 w 10000"/>
                <a:gd name="connsiteY24" fmla="*/ 4840 h 10007"/>
                <a:gd name="connsiteX25" fmla="*/ 7161 w 10000"/>
                <a:gd name="connsiteY25" fmla="*/ 4739 h 10007"/>
                <a:gd name="connsiteX26" fmla="*/ 7072 w 10000"/>
                <a:gd name="connsiteY26" fmla="*/ 4637 h 10007"/>
                <a:gd name="connsiteX27" fmla="*/ 6990 w 10000"/>
                <a:gd name="connsiteY27" fmla="*/ 4527 h 10007"/>
                <a:gd name="connsiteX28" fmla="*/ 6953 w 10000"/>
                <a:gd name="connsiteY28" fmla="*/ 4477 h 10007"/>
                <a:gd name="connsiteX29" fmla="*/ 6916 w 10000"/>
                <a:gd name="connsiteY29" fmla="*/ 4422 h 10007"/>
                <a:gd name="connsiteX30" fmla="*/ 6887 w 10000"/>
                <a:gd name="connsiteY30" fmla="*/ 4367 h 10007"/>
                <a:gd name="connsiteX31" fmla="*/ 6850 w 10000"/>
                <a:gd name="connsiteY31" fmla="*/ 4312 h 10007"/>
                <a:gd name="connsiteX32" fmla="*/ 6820 w 10000"/>
                <a:gd name="connsiteY32" fmla="*/ 4257 h 10007"/>
                <a:gd name="connsiteX33" fmla="*/ 6790 w 10000"/>
                <a:gd name="connsiteY33" fmla="*/ 4202 h 10007"/>
                <a:gd name="connsiteX34" fmla="*/ 6768 w 10000"/>
                <a:gd name="connsiteY34" fmla="*/ 4142 h 10007"/>
                <a:gd name="connsiteX35" fmla="*/ 6738 w 10000"/>
                <a:gd name="connsiteY35" fmla="*/ 4087 h 10007"/>
                <a:gd name="connsiteX36" fmla="*/ 6723 w 10000"/>
                <a:gd name="connsiteY36" fmla="*/ 4027 h 10007"/>
                <a:gd name="connsiteX37" fmla="*/ 6694 w 10000"/>
                <a:gd name="connsiteY37" fmla="*/ 3972 h 10007"/>
                <a:gd name="connsiteX38" fmla="*/ 6679 w 10000"/>
                <a:gd name="connsiteY38" fmla="*/ 3912 h 10007"/>
                <a:gd name="connsiteX39" fmla="*/ 6664 w 10000"/>
                <a:gd name="connsiteY39" fmla="*/ 3852 h 10007"/>
                <a:gd name="connsiteX40" fmla="*/ 6649 w 10000"/>
                <a:gd name="connsiteY40" fmla="*/ 3793 h 10007"/>
                <a:gd name="connsiteX41" fmla="*/ 6635 w 10000"/>
                <a:gd name="connsiteY41" fmla="*/ 3738 h 10007"/>
                <a:gd name="connsiteX42" fmla="*/ 6620 w 10000"/>
                <a:gd name="connsiteY42" fmla="*/ 3678 h 10007"/>
                <a:gd name="connsiteX43" fmla="*/ 6612 w 10000"/>
                <a:gd name="connsiteY43" fmla="*/ 3619 h 10007"/>
                <a:gd name="connsiteX44" fmla="*/ 6605 w 10000"/>
                <a:gd name="connsiteY44" fmla="*/ 3559 h 10007"/>
                <a:gd name="connsiteX45" fmla="*/ 6597 w 10000"/>
                <a:gd name="connsiteY45" fmla="*/ 3495 h 10007"/>
                <a:gd name="connsiteX46" fmla="*/ 6597 w 10000"/>
                <a:gd name="connsiteY46" fmla="*/ 3435 h 10007"/>
                <a:gd name="connsiteX47" fmla="*/ 6590 w 10000"/>
                <a:gd name="connsiteY47" fmla="*/ 3371 h 10007"/>
                <a:gd name="connsiteX48" fmla="*/ 6597 w 10000"/>
                <a:gd name="connsiteY48" fmla="*/ 3311 h 10007"/>
                <a:gd name="connsiteX49" fmla="*/ 6605 w 10000"/>
                <a:gd name="connsiteY49" fmla="*/ 3243 h 10007"/>
                <a:gd name="connsiteX50" fmla="*/ 6605 w 10000"/>
                <a:gd name="connsiteY50" fmla="*/ 3178 h 10007"/>
                <a:gd name="connsiteX51" fmla="*/ 6612 w 10000"/>
                <a:gd name="connsiteY51" fmla="*/ 3113 h 10007"/>
                <a:gd name="connsiteX52" fmla="*/ 6620 w 10000"/>
                <a:gd name="connsiteY52" fmla="*/ 3049 h 10007"/>
                <a:gd name="connsiteX53" fmla="*/ 6635 w 10000"/>
                <a:gd name="connsiteY53" fmla="*/ 2990 h 10007"/>
                <a:gd name="connsiteX54" fmla="*/ 6649 w 10000"/>
                <a:gd name="connsiteY54" fmla="*/ 2926 h 10007"/>
                <a:gd name="connsiteX55" fmla="*/ 6664 w 10000"/>
                <a:gd name="connsiteY55" fmla="*/ 2866 h 10007"/>
                <a:gd name="connsiteX56" fmla="*/ 6686 w 10000"/>
                <a:gd name="connsiteY56" fmla="*/ 2802 h 10007"/>
                <a:gd name="connsiteX57" fmla="*/ 6709 w 10000"/>
                <a:gd name="connsiteY57" fmla="*/ 2742 h 10007"/>
                <a:gd name="connsiteX58" fmla="*/ 6731 w 10000"/>
                <a:gd name="connsiteY58" fmla="*/ 2683 h 10007"/>
                <a:gd name="connsiteX59" fmla="*/ 6753 w 10000"/>
                <a:gd name="connsiteY59" fmla="*/ 2618 h 10007"/>
                <a:gd name="connsiteX60" fmla="*/ 6783 w 10000"/>
                <a:gd name="connsiteY60" fmla="*/ 2563 h 10007"/>
                <a:gd name="connsiteX61" fmla="*/ 6812 w 10000"/>
                <a:gd name="connsiteY61" fmla="*/ 2503 h 10007"/>
                <a:gd name="connsiteX62" fmla="*/ 6842 w 10000"/>
                <a:gd name="connsiteY62" fmla="*/ 2443 h 10007"/>
                <a:gd name="connsiteX63" fmla="*/ 6879 w 10000"/>
                <a:gd name="connsiteY63" fmla="*/ 2384 h 10007"/>
                <a:gd name="connsiteX64" fmla="*/ 6909 w 10000"/>
                <a:gd name="connsiteY64" fmla="*/ 2329 h 10007"/>
                <a:gd name="connsiteX65" fmla="*/ 6946 w 10000"/>
                <a:gd name="connsiteY65" fmla="*/ 2269 h 10007"/>
                <a:gd name="connsiteX66" fmla="*/ 6990 w 10000"/>
                <a:gd name="connsiteY66" fmla="*/ 2214 h 10007"/>
                <a:gd name="connsiteX67" fmla="*/ 7027 w 10000"/>
                <a:gd name="connsiteY67" fmla="*/ 2159 h 10007"/>
                <a:gd name="connsiteX68" fmla="*/ 7072 w 10000"/>
                <a:gd name="connsiteY68" fmla="*/ 2104 h 10007"/>
                <a:gd name="connsiteX69" fmla="*/ 7109 w 10000"/>
                <a:gd name="connsiteY69" fmla="*/ 2049 h 10007"/>
                <a:gd name="connsiteX70" fmla="*/ 7161 w 10000"/>
                <a:gd name="connsiteY70" fmla="*/ 1999 h 10007"/>
                <a:gd name="connsiteX71" fmla="*/ 7213 w 10000"/>
                <a:gd name="connsiteY71" fmla="*/ 1944 h 10007"/>
                <a:gd name="connsiteX72" fmla="*/ 7257 w 10000"/>
                <a:gd name="connsiteY72" fmla="*/ 1889 h 10007"/>
                <a:gd name="connsiteX73" fmla="*/ 7309 w 10000"/>
                <a:gd name="connsiteY73" fmla="*/ 1838 h 10007"/>
                <a:gd name="connsiteX74" fmla="*/ 7361 w 10000"/>
                <a:gd name="connsiteY74" fmla="*/ 1787 h 10007"/>
                <a:gd name="connsiteX75" fmla="*/ 7413 w 10000"/>
                <a:gd name="connsiteY75" fmla="*/ 1737 h 10007"/>
                <a:gd name="connsiteX76" fmla="*/ 7472 w 10000"/>
                <a:gd name="connsiteY76" fmla="*/ 1686 h 10007"/>
                <a:gd name="connsiteX77" fmla="*/ 7524 w 10000"/>
                <a:gd name="connsiteY77" fmla="*/ 1640 h 10007"/>
                <a:gd name="connsiteX78" fmla="*/ 7583 w 10000"/>
                <a:gd name="connsiteY78" fmla="*/ 1594 h 10007"/>
                <a:gd name="connsiteX79" fmla="*/ 7610 w 10000"/>
                <a:gd name="connsiteY79" fmla="*/ 1565 h 10007"/>
                <a:gd name="connsiteX80" fmla="*/ 5423 w 10000"/>
                <a:gd name="connsiteY80" fmla="*/ 6 h 10007"/>
                <a:gd name="connsiteX81" fmla="*/ 1423 w 10000"/>
                <a:gd name="connsiteY81" fmla="*/ 0 h 10007"/>
                <a:gd name="connsiteX82" fmla="*/ 1305 w 10000"/>
                <a:gd name="connsiteY82" fmla="*/ 121 h 10007"/>
                <a:gd name="connsiteX83" fmla="*/ 1223 w 10000"/>
                <a:gd name="connsiteY83" fmla="*/ 213 h 10007"/>
                <a:gd name="connsiteX84" fmla="*/ 1149 w 10000"/>
                <a:gd name="connsiteY84" fmla="*/ 309 h 10007"/>
                <a:gd name="connsiteX85" fmla="*/ 1067 w 10000"/>
                <a:gd name="connsiteY85" fmla="*/ 406 h 10007"/>
                <a:gd name="connsiteX86" fmla="*/ 1001 w 10000"/>
                <a:gd name="connsiteY86" fmla="*/ 503 h 10007"/>
                <a:gd name="connsiteX87" fmla="*/ 927 w 10000"/>
                <a:gd name="connsiteY87" fmla="*/ 599 h 10007"/>
                <a:gd name="connsiteX88" fmla="*/ 860 w 10000"/>
                <a:gd name="connsiteY88" fmla="*/ 700 h 10007"/>
                <a:gd name="connsiteX89" fmla="*/ 793 w 10000"/>
                <a:gd name="connsiteY89" fmla="*/ 801 h 10007"/>
                <a:gd name="connsiteX90" fmla="*/ 734 w 10000"/>
                <a:gd name="connsiteY90" fmla="*/ 897 h 10007"/>
                <a:gd name="connsiteX91" fmla="*/ 675 w 10000"/>
                <a:gd name="connsiteY91" fmla="*/ 998 h 10007"/>
                <a:gd name="connsiteX92" fmla="*/ 615 w 10000"/>
                <a:gd name="connsiteY92" fmla="*/ 1099 h 10007"/>
                <a:gd name="connsiteX93" fmla="*/ 556 w 10000"/>
                <a:gd name="connsiteY93" fmla="*/ 1205 h 10007"/>
                <a:gd name="connsiteX94" fmla="*/ 504 w 10000"/>
                <a:gd name="connsiteY94" fmla="*/ 1301 h 10007"/>
                <a:gd name="connsiteX95" fmla="*/ 452 w 10000"/>
                <a:gd name="connsiteY95" fmla="*/ 1407 h 10007"/>
                <a:gd name="connsiteX96" fmla="*/ 408 w 10000"/>
                <a:gd name="connsiteY96" fmla="*/ 1507 h 10007"/>
                <a:gd name="connsiteX97" fmla="*/ 363 w 10000"/>
                <a:gd name="connsiteY97" fmla="*/ 1613 h 10007"/>
                <a:gd name="connsiteX98" fmla="*/ 319 w 10000"/>
                <a:gd name="connsiteY98" fmla="*/ 1718 h 10007"/>
                <a:gd name="connsiteX99" fmla="*/ 282 w 10000"/>
                <a:gd name="connsiteY99" fmla="*/ 1825 h 10007"/>
                <a:gd name="connsiteX100" fmla="*/ 237 w 10000"/>
                <a:gd name="connsiteY100" fmla="*/ 1935 h 10007"/>
                <a:gd name="connsiteX101" fmla="*/ 208 w 10000"/>
                <a:gd name="connsiteY101" fmla="*/ 2040 h 10007"/>
                <a:gd name="connsiteX102" fmla="*/ 170 w 10000"/>
                <a:gd name="connsiteY102" fmla="*/ 2150 h 10007"/>
                <a:gd name="connsiteX103" fmla="*/ 148 w 10000"/>
                <a:gd name="connsiteY103" fmla="*/ 2260 h 10007"/>
                <a:gd name="connsiteX104" fmla="*/ 119 w 10000"/>
                <a:gd name="connsiteY104" fmla="*/ 2365 h 10007"/>
                <a:gd name="connsiteX105" fmla="*/ 96 w 10000"/>
                <a:gd name="connsiteY105" fmla="*/ 2475 h 10007"/>
                <a:gd name="connsiteX106" fmla="*/ 74 w 10000"/>
                <a:gd name="connsiteY106" fmla="*/ 2586 h 10007"/>
                <a:gd name="connsiteX107" fmla="*/ 52 w 10000"/>
                <a:gd name="connsiteY107" fmla="*/ 2701 h 10007"/>
                <a:gd name="connsiteX108" fmla="*/ 37 w 10000"/>
                <a:gd name="connsiteY108" fmla="*/ 2811 h 10007"/>
                <a:gd name="connsiteX109" fmla="*/ 22 w 10000"/>
                <a:gd name="connsiteY109" fmla="*/ 2921 h 10007"/>
                <a:gd name="connsiteX110" fmla="*/ 15 w 10000"/>
                <a:gd name="connsiteY110" fmla="*/ 3031 h 10007"/>
                <a:gd name="connsiteX111" fmla="*/ 7 w 10000"/>
                <a:gd name="connsiteY111" fmla="*/ 3145 h 10007"/>
                <a:gd name="connsiteX112" fmla="*/ 0 w 10000"/>
                <a:gd name="connsiteY112" fmla="*/ 3256 h 10007"/>
                <a:gd name="connsiteX113" fmla="*/ 0 w 10000"/>
                <a:gd name="connsiteY113" fmla="*/ 3371 h 10007"/>
                <a:gd name="connsiteX114" fmla="*/ 7 w 10000"/>
                <a:gd name="connsiteY114" fmla="*/ 3518 h 10007"/>
                <a:gd name="connsiteX115" fmla="*/ 7 w 10000"/>
                <a:gd name="connsiteY115" fmla="*/ 3664 h 10007"/>
                <a:gd name="connsiteX116" fmla="*/ 22 w 10000"/>
                <a:gd name="connsiteY116" fmla="*/ 3802 h 10007"/>
                <a:gd name="connsiteX117" fmla="*/ 37 w 10000"/>
                <a:gd name="connsiteY117" fmla="*/ 3945 h 10007"/>
                <a:gd name="connsiteX118" fmla="*/ 59 w 10000"/>
                <a:gd name="connsiteY118" fmla="*/ 4087 h 10007"/>
                <a:gd name="connsiteX119" fmla="*/ 89 w 10000"/>
                <a:gd name="connsiteY119" fmla="*/ 4229 h 10007"/>
                <a:gd name="connsiteX120" fmla="*/ 119 w 10000"/>
                <a:gd name="connsiteY120" fmla="*/ 4371 h 10007"/>
                <a:gd name="connsiteX121" fmla="*/ 148 w 10000"/>
                <a:gd name="connsiteY121" fmla="*/ 4513 h 10007"/>
                <a:gd name="connsiteX122" fmla="*/ 193 w 10000"/>
                <a:gd name="connsiteY122" fmla="*/ 4652 h 10007"/>
                <a:gd name="connsiteX123" fmla="*/ 237 w 10000"/>
                <a:gd name="connsiteY123" fmla="*/ 4789 h 10007"/>
                <a:gd name="connsiteX124" fmla="*/ 282 w 10000"/>
                <a:gd name="connsiteY124" fmla="*/ 4927 h 10007"/>
                <a:gd name="connsiteX125" fmla="*/ 334 w 10000"/>
                <a:gd name="connsiteY125" fmla="*/ 5064 h 10007"/>
                <a:gd name="connsiteX126" fmla="*/ 393 w 10000"/>
                <a:gd name="connsiteY126" fmla="*/ 5197 h 10007"/>
                <a:gd name="connsiteX127" fmla="*/ 452 w 10000"/>
                <a:gd name="connsiteY127" fmla="*/ 5330 h 10007"/>
                <a:gd name="connsiteX128" fmla="*/ 519 w 10000"/>
                <a:gd name="connsiteY128" fmla="*/ 5464 h 10007"/>
                <a:gd name="connsiteX129" fmla="*/ 586 w 10000"/>
                <a:gd name="connsiteY129" fmla="*/ 5597 h 10007"/>
                <a:gd name="connsiteX130" fmla="*/ 660 w 10000"/>
                <a:gd name="connsiteY130" fmla="*/ 5725 h 10007"/>
                <a:gd name="connsiteX131" fmla="*/ 741 w 10000"/>
                <a:gd name="connsiteY131" fmla="*/ 5853 h 10007"/>
                <a:gd name="connsiteX132" fmla="*/ 823 w 10000"/>
                <a:gd name="connsiteY132" fmla="*/ 5986 h 10007"/>
                <a:gd name="connsiteX133" fmla="*/ 904 w 10000"/>
                <a:gd name="connsiteY133" fmla="*/ 6111 h 10007"/>
                <a:gd name="connsiteX134" fmla="*/ 993 w 10000"/>
                <a:gd name="connsiteY134" fmla="*/ 6235 h 10007"/>
                <a:gd name="connsiteX135" fmla="*/ 1090 w 10000"/>
                <a:gd name="connsiteY135" fmla="*/ 6354 h 10007"/>
                <a:gd name="connsiteX136" fmla="*/ 1186 w 10000"/>
                <a:gd name="connsiteY136" fmla="*/ 6478 h 10007"/>
                <a:gd name="connsiteX137" fmla="*/ 1290 w 10000"/>
                <a:gd name="connsiteY137" fmla="*/ 6601 h 10007"/>
                <a:gd name="connsiteX138" fmla="*/ 1386 w 10000"/>
                <a:gd name="connsiteY138" fmla="*/ 6721 h 10007"/>
                <a:gd name="connsiteX139" fmla="*/ 1497 w 10000"/>
                <a:gd name="connsiteY139" fmla="*/ 6841 h 10007"/>
                <a:gd name="connsiteX140" fmla="*/ 1609 w 10000"/>
                <a:gd name="connsiteY140" fmla="*/ 6955 h 10007"/>
                <a:gd name="connsiteX141" fmla="*/ 1727 w 10000"/>
                <a:gd name="connsiteY141" fmla="*/ 7074 h 10007"/>
                <a:gd name="connsiteX142" fmla="*/ 1846 w 10000"/>
                <a:gd name="connsiteY142" fmla="*/ 7189 h 10007"/>
                <a:gd name="connsiteX143" fmla="*/ 1964 w 10000"/>
                <a:gd name="connsiteY143" fmla="*/ 7299 h 10007"/>
                <a:gd name="connsiteX144" fmla="*/ 2090 w 10000"/>
                <a:gd name="connsiteY144" fmla="*/ 7409 h 10007"/>
                <a:gd name="connsiteX145" fmla="*/ 2224 w 10000"/>
                <a:gd name="connsiteY145" fmla="*/ 7520 h 10007"/>
                <a:gd name="connsiteX146" fmla="*/ 2350 w 10000"/>
                <a:gd name="connsiteY146" fmla="*/ 7630 h 10007"/>
                <a:gd name="connsiteX147" fmla="*/ 2491 w 10000"/>
                <a:gd name="connsiteY147" fmla="*/ 7735 h 10007"/>
                <a:gd name="connsiteX148" fmla="*/ 2617 w 10000"/>
                <a:gd name="connsiteY148" fmla="*/ 7841 h 10007"/>
                <a:gd name="connsiteX149" fmla="*/ 2765 w 10000"/>
                <a:gd name="connsiteY149" fmla="*/ 7942 h 10007"/>
                <a:gd name="connsiteX150" fmla="*/ 2906 w 10000"/>
                <a:gd name="connsiteY150" fmla="*/ 8042 h 10007"/>
                <a:gd name="connsiteX151" fmla="*/ 3054 w 10000"/>
                <a:gd name="connsiteY151" fmla="*/ 8143 h 10007"/>
                <a:gd name="connsiteX152" fmla="*/ 3210 w 10000"/>
                <a:gd name="connsiteY152" fmla="*/ 8241 h 10007"/>
                <a:gd name="connsiteX153" fmla="*/ 3358 w 10000"/>
                <a:gd name="connsiteY153" fmla="*/ 8337 h 10007"/>
                <a:gd name="connsiteX154" fmla="*/ 3514 w 10000"/>
                <a:gd name="connsiteY154" fmla="*/ 8433 h 10007"/>
                <a:gd name="connsiteX155" fmla="*/ 3677 w 10000"/>
                <a:gd name="connsiteY155" fmla="*/ 8525 h 10007"/>
                <a:gd name="connsiteX156" fmla="*/ 3840 w 10000"/>
                <a:gd name="connsiteY156" fmla="*/ 8612 h 10007"/>
                <a:gd name="connsiteX157" fmla="*/ 4010 w 10000"/>
                <a:gd name="connsiteY157" fmla="*/ 8703 h 10007"/>
                <a:gd name="connsiteX158" fmla="*/ 4181 w 10000"/>
                <a:gd name="connsiteY158" fmla="*/ 8781 h 10007"/>
                <a:gd name="connsiteX159" fmla="*/ 4351 w 10000"/>
                <a:gd name="connsiteY159" fmla="*/ 8868 h 10007"/>
                <a:gd name="connsiteX160" fmla="*/ 4522 w 10000"/>
                <a:gd name="connsiteY160" fmla="*/ 8947 h 10007"/>
                <a:gd name="connsiteX161" fmla="*/ 4700 w 10000"/>
                <a:gd name="connsiteY161" fmla="*/ 9030 h 10007"/>
                <a:gd name="connsiteX162" fmla="*/ 4878 w 10000"/>
                <a:gd name="connsiteY162" fmla="*/ 9108 h 10007"/>
                <a:gd name="connsiteX163" fmla="*/ 5063 w 10000"/>
                <a:gd name="connsiteY163" fmla="*/ 9181 h 10007"/>
                <a:gd name="connsiteX164" fmla="*/ 5248 w 10000"/>
                <a:gd name="connsiteY164" fmla="*/ 9259 h 10007"/>
                <a:gd name="connsiteX165" fmla="*/ 5426 w 10000"/>
                <a:gd name="connsiteY165" fmla="*/ 9328 h 10007"/>
                <a:gd name="connsiteX166" fmla="*/ 5619 w 10000"/>
                <a:gd name="connsiteY166" fmla="*/ 9396 h 10007"/>
                <a:gd name="connsiteX167" fmla="*/ 5812 w 10000"/>
                <a:gd name="connsiteY167" fmla="*/ 9465 h 10007"/>
                <a:gd name="connsiteX168" fmla="*/ 6004 w 10000"/>
                <a:gd name="connsiteY168" fmla="*/ 9529 h 10007"/>
                <a:gd name="connsiteX169" fmla="*/ 6205 w 10000"/>
                <a:gd name="connsiteY169" fmla="*/ 9594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58 h 10007"/>
                <a:gd name="connsiteX179" fmla="*/ 10000 w 10000"/>
                <a:gd name="connsiteY179" fmla="*/ 6143 h 10007"/>
                <a:gd name="connsiteX0" fmla="*/ 10000 w 10000"/>
                <a:gd name="connsiteY0" fmla="*/ 6143 h 10007"/>
                <a:gd name="connsiteX1" fmla="*/ 10000 w 10000"/>
                <a:gd name="connsiteY1" fmla="*/ 6143 h 10007"/>
                <a:gd name="connsiteX2" fmla="*/ 9911 w 10000"/>
                <a:gd name="connsiteY2" fmla="*/ 6129 h 10007"/>
                <a:gd name="connsiteX3" fmla="*/ 9815 w 10000"/>
                <a:gd name="connsiteY3" fmla="*/ 6111 h 10007"/>
                <a:gd name="connsiteX4" fmla="*/ 9726 w 10000"/>
                <a:gd name="connsiteY4" fmla="*/ 6093 h 10007"/>
                <a:gd name="connsiteX5" fmla="*/ 9637 w 10000"/>
                <a:gd name="connsiteY5" fmla="*/ 6069 h 10007"/>
                <a:gd name="connsiteX6" fmla="*/ 9548 w 10000"/>
                <a:gd name="connsiteY6" fmla="*/ 6050 h 10007"/>
                <a:gd name="connsiteX7" fmla="*/ 9466 w 10000"/>
                <a:gd name="connsiteY7" fmla="*/ 6028 h 10007"/>
                <a:gd name="connsiteX8" fmla="*/ 9377 w 10000"/>
                <a:gd name="connsiteY8" fmla="*/ 6005 h 10007"/>
                <a:gd name="connsiteX9" fmla="*/ 9288 w 10000"/>
                <a:gd name="connsiteY9" fmla="*/ 5982 h 10007"/>
                <a:gd name="connsiteX10" fmla="*/ 9118 w 10000"/>
                <a:gd name="connsiteY10" fmla="*/ 5931 h 10007"/>
                <a:gd name="connsiteX11" fmla="*/ 8955 w 10000"/>
                <a:gd name="connsiteY11" fmla="*/ 5876 h 10007"/>
                <a:gd name="connsiteX12" fmla="*/ 8792 w 10000"/>
                <a:gd name="connsiteY12" fmla="*/ 5817 h 10007"/>
                <a:gd name="connsiteX13" fmla="*/ 8636 w 10000"/>
                <a:gd name="connsiteY13" fmla="*/ 5753 h 10007"/>
                <a:gd name="connsiteX14" fmla="*/ 8480 w 10000"/>
                <a:gd name="connsiteY14" fmla="*/ 5688 h 10007"/>
                <a:gd name="connsiteX15" fmla="*/ 8340 w 10000"/>
                <a:gd name="connsiteY15" fmla="*/ 5620 h 10007"/>
                <a:gd name="connsiteX16" fmla="*/ 8199 w 10000"/>
                <a:gd name="connsiteY16" fmla="*/ 5546 h 10007"/>
                <a:gd name="connsiteX17" fmla="*/ 8058 w 10000"/>
                <a:gd name="connsiteY17" fmla="*/ 5468 h 10007"/>
                <a:gd name="connsiteX18" fmla="*/ 7924 w 10000"/>
                <a:gd name="connsiteY18" fmla="*/ 5386 h 10007"/>
                <a:gd name="connsiteX19" fmla="*/ 7798 w 10000"/>
                <a:gd name="connsiteY19" fmla="*/ 5302 h 10007"/>
                <a:gd name="connsiteX20" fmla="*/ 7672 w 10000"/>
                <a:gd name="connsiteY20" fmla="*/ 5215 h 10007"/>
                <a:gd name="connsiteX21" fmla="*/ 7554 w 10000"/>
                <a:gd name="connsiteY21" fmla="*/ 5128 h 10007"/>
                <a:gd name="connsiteX22" fmla="*/ 7450 w 10000"/>
                <a:gd name="connsiteY22" fmla="*/ 5032 h 10007"/>
                <a:gd name="connsiteX23" fmla="*/ 7346 w 10000"/>
                <a:gd name="connsiteY23" fmla="*/ 4936 h 10007"/>
                <a:gd name="connsiteX24" fmla="*/ 7250 w 10000"/>
                <a:gd name="connsiteY24" fmla="*/ 4840 h 10007"/>
                <a:gd name="connsiteX25" fmla="*/ 7161 w 10000"/>
                <a:gd name="connsiteY25" fmla="*/ 4739 h 10007"/>
                <a:gd name="connsiteX26" fmla="*/ 7072 w 10000"/>
                <a:gd name="connsiteY26" fmla="*/ 4637 h 10007"/>
                <a:gd name="connsiteX27" fmla="*/ 6990 w 10000"/>
                <a:gd name="connsiteY27" fmla="*/ 4527 h 10007"/>
                <a:gd name="connsiteX28" fmla="*/ 6953 w 10000"/>
                <a:gd name="connsiteY28" fmla="*/ 4477 h 10007"/>
                <a:gd name="connsiteX29" fmla="*/ 6916 w 10000"/>
                <a:gd name="connsiteY29" fmla="*/ 4422 h 10007"/>
                <a:gd name="connsiteX30" fmla="*/ 6887 w 10000"/>
                <a:gd name="connsiteY30" fmla="*/ 4367 h 10007"/>
                <a:gd name="connsiteX31" fmla="*/ 6850 w 10000"/>
                <a:gd name="connsiteY31" fmla="*/ 4312 h 10007"/>
                <a:gd name="connsiteX32" fmla="*/ 6820 w 10000"/>
                <a:gd name="connsiteY32" fmla="*/ 4257 h 10007"/>
                <a:gd name="connsiteX33" fmla="*/ 6790 w 10000"/>
                <a:gd name="connsiteY33" fmla="*/ 4202 h 10007"/>
                <a:gd name="connsiteX34" fmla="*/ 6768 w 10000"/>
                <a:gd name="connsiteY34" fmla="*/ 4142 h 10007"/>
                <a:gd name="connsiteX35" fmla="*/ 6738 w 10000"/>
                <a:gd name="connsiteY35" fmla="*/ 4087 h 10007"/>
                <a:gd name="connsiteX36" fmla="*/ 6723 w 10000"/>
                <a:gd name="connsiteY36" fmla="*/ 4027 h 10007"/>
                <a:gd name="connsiteX37" fmla="*/ 6694 w 10000"/>
                <a:gd name="connsiteY37" fmla="*/ 3972 h 10007"/>
                <a:gd name="connsiteX38" fmla="*/ 6679 w 10000"/>
                <a:gd name="connsiteY38" fmla="*/ 3912 h 10007"/>
                <a:gd name="connsiteX39" fmla="*/ 6664 w 10000"/>
                <a:gd name="connsiteY39" fmla="*/ 3852 h 10007"/>
                <a:gd name="connsiteX40" fmla="*/ 6649 w 10000"/>
                <a:gd name="connsiteY40" fmla="*/ 3793 h 10007"/>
                <a:gd name="connsiteX41" fmla="*/ 6635 w 10000"/>
                <a:gd name="connsiteY41" fmla="*/ 3738 h 10007"/>
                <a:gd name="connsiteX42" fmla="*/ 6620 w 10000"/>
                <a:gd name="connsiteY42" fmla="*/ 3678 h 10007"/>
                <a:gd name="connsiteX43" fmla="*/ 6612 w 10000"/>
                <a:gd name="connsiteY43" fmla="*/ 3619 h 10007"/>
                <a:gd name="connsiteX44" fmla="*/ 6605 w 10000"/>
                <a:gd name="connsiteY44" fmla="*/ 3559 h 10007"/>
                <a:gd name="connsiteX45" fmla="*/ 6597 w 10000"/>
                <a:gd name="connsiteY45" fmla="*/ 3495 h 10007"/>
                <a:gd name="connsiteX46" fmla="*/ 6597 w 10000"/>
                <a:gd name="connsiteY46" fmla="*/ 3435 h 10007"/>
                <a:gd name="connsiteX47" fmla="*/ 6590 w 10000"/>
                <a:gd name="connsiteY47" fmla="*/ 3371 h 10007"/>
                <a:gd name="connsiteX48" fmla="*/ 6597 w 10000"/>
                <a:gd name="connsiteY48" fmla="*/ 3311 h 10007"/>
                <a:gd name="connsiteX49" fmla="*/ 6605 w 10000"/>
                <a:gd name="connsiteY49" fmla="*/ 3243 h 10007"/>
                <a:gd name="connsiteX50" fmla="*/ 6605 w 10000"/>
                <a:gd name="connsiteY50" fmla="*/ 3178 h 10007"/>
                <a:gd name="connsiteX51" fmla="*/ 6612 w 10000"/>
                <a:gd name="connsiteY51" fmla="*/ 3113 h 10007"/>
                <a:gd name="connsiteX52" fmla="*/ 6620 w 10000"/>
                <a:gd name="connsiteY52" fmla="*/ 3049 h 10007"/>
                <a:gd name="connsiteX53" fmla="*/ 6635 w 10000"/>
                <a:gd name="connsiteY53" fmla="*/ 2990 h 10007"/>
                <a:gd name="connsiteX54" fmla="*/ 6649 w 10000"/>
                <a:gd name="connsiteY54" fmla="*/ 2926 h 10007"/>
                <a:gd name="connsiteX55" fmla="*/ 6664 w 10000"/>
                <a:gd name="connsiteY55" fmla="*/ 2866 h 10007"/>
                <a:gd name="connsiteX56" fmla="*/ 6686 w 10000"/>
                <a:gd name="connsiteY56" fmla="*/ 2802 h 10007"/>
                <a:gd name="connsiteX57" fmla="*/ 6709 w 10000"/>
                <a:gd name="connsiteY57" fmla="*/ 2742 h 10007"/>
                <a:gd name="connsiteX58" fmla="*/ 6731 w 10000"/>
                <a:gd name="connsiteY58" fmla="*/ 2683 h 10007"/>
                <a:gd name="connsiteX59" fmla="*/ 6753 w 10000"/>
                <a:gd name="connsiteY59" fmla="*/ 2618 h 10007"/>
                <a:gd name="connsiteX60" fmla="*/ 6783 w 10000"/>
                <a:gd name="connsiteY60" fmla="*/ 2563 h 10007"/>
                <a:gd name="connsiteX61" fmla="*/ 6812 w 10000"/>
                <a:gd name="connsiteY61" fmla="*/ 2503 h 10007"/>
                <a:gd name="connsiteX62" fmla="*/ 6842 w 10000"/>
                <a:gd name="connsiteY62" fmla="*/ 2443 h 10007"/>
                <a:gd name="connsiteX63" fmla="*/ 6879 w 10000"/>
                <a:gd name="connsiteY63" fmla="*/ 2384 h 10007"/>
                <a:gd name="connsiteX64" fmla="*/ 6909 w 10000"/>
                <a:gd name="connsiteY64" fmla="*/ 2329 h 10007"/>
                <a:gd name="connsiteX65" fmla="*/ 6946 w 10000"/>
                <a:gd name="connsiteY65" fmla="*/ 2269 h 10007"/>
                <a:gd name="connsiteX66" fmla="*/ 6990 w 10000"/>
                <a:gd name="connsiteY66" fmla="*/ 2214 h 10007"/>
                <a:gd name="connsiteX67" fmla="*/ 7027 w 10000"/>
                <a:gd name="connsiteY67" fmla="*/ 2159 h 10007"/>
                <a:gd name="connsiteX68" fmla="*/ 7072 w 10000"/>
                <a:gd name="connsiteY68" fmla="*/ 2104 h 10007"/>
                <a:gd name="connsiteX69" fmla="*/ 7109 w 10000"/>
                <a:gd name="connsiteY69" fmla="*/ 2049 h 10007"/>
                <a:gd name="connsiteX70" fmla="*/ 7161 w 10000"/>
                <a:gd name="connsiteY70" fmla="*/ 1999 h 10007"/>
                <a:gd name="connsiteX71" fmla="*/ 7213 w 10000"/>
                <a:gd name="connsiteY71" fmla="*/ 1944 h 10007"/>
                <a:gd name="connsiteX72" fmla="*/ 7257 w 10000"/>
                <a:gd name="connsiteY72" fmla="*/ 1889 h 10007"/>
                <a:gd name="connsiteX73" fmla="*/ 7309 w 10000"/>
                <a:gd name="connsiteY73" fmla="*/ 1838 h 10007"/>
                <a:gd name="connsiteX74" fmla="*/ 7361 w 10000"/>
                <a:gd name="connsiteY74" fmla="*/ 1787 h 10007"/>
                <a:gd name="connsiteX75" fmla="*/ 7413 w 10000"/>
                <a:gd name="connsiteY75" fmla="*/ 1737 h 10007"/>
                <a:gd name="connsiteX76" fmla="*/ 7472 w 10000"/>
                <a:gd name="connsiteY76" fmla="*/ 1686 h 10007"/>
                <a:gd name="connsiteX77" fmla="*/ 7524 w 10000"/>
                <a:gd name="connsiteY77" fmla="*/ 1640 h 10007"/>
                <a:gd name="connsiteX78" fmla="*/ 7583 w 10000"/>
                <a:gd name="connsiteY78" fmla="*/ 1594 h 10007"/>
                <a:gd name="connsiteX79" fmla="*/ 7610 w 10000"/>
                <a:gd name="connsiteY79" fmla="*/ 1565 h 10007"/>
                <a:gd name="connsiteX80" fmla="*/ 5401 w 10000"/>
                <a:gd name="connsiteY80" fmla="*/ 6 h 10007"/>
                <a:gd name="connsiteX81" fmla="*/ 1423 w 10000"/>
                <a:gd name="connsiteY81" fmla="*/ 0 h 10007"/>
                <a:gd name="connsiteX82" fmla="*/ 1305 w 10000"/>
                <a:gd name="connsiteY82" fmla="*/ 121 h 10007"/>
                <a:gd name="connsiteX83" fmla="*/ 1223 w 10000"/>
                <a:gd name="connsiteY83" fmla="*/ 213 h 10007"/>
                <a:gd name="connsiteX84" fmla="*/ 1149 w 10000"/>
                <a:gd name="connsiteY84" fmla="*/ 309 h 10007"/>
                <a:gd name="connsiteX85" fmla="*/ 1067 w 10000"/>
                <a:gd name="connsiteY85" fmla="*/ 406 h 10007"/>
                <a:gd name="connsiteX86" fmla="*/ 1001 w 10000"/>
                <a:gd name="connsiteY86" fmla="*/ 503 h 10007"/>
                <a:gd name="connsiteX87" fmla="*/ 927 w 10000"/>
                <a:gd name="connsiteY87" fmla="*/ 599 h 10007"/>
                <a:gd name="connsiteX88" fmla="*/ 860 w 10000"/>
                <a:gd name="connsiteY88" fmla="*/ 700 h 10007"/>
                <a:gd name="connsiteX89" fmla="*/ 793 w 10000"/>
                <a:gd name="connsiteY89" fmla="*/ 801 h 10007"/>
                <a:gd name="connsiteX90" fmla="*/ 734 w 10000"/>
                <a:gd name="connsiteY90" fmla="*/ 897 h 10007"/>
                <a:gd name="connsiteX91" fmla="*/ 675 w 10000"/>
                <a:gd name="connsiteY91" fmla="*/ 998 h 10007"/>
                <a:gd name="connsiteX92" fmla="*/ 615 w 10000"/>
                <a:gd name="connsiteY92" fmla="*/ 1099 h 10007"/>
                <a:gd name="connsiteX93" fmla="*/ 556 w 10000"/>
                <a:gd name="connsiteY93" fmla="*/ 1205 h 10007"/>
                <a:gd name="connsiteX94" fmla="*/ 504 w 10000"/>
                <a:gd name="connsiteY94" fmla="*/ 1301 h 10007"/>
                <a:gd name="connsiteX95" fmla="*/ 452 w 10000"/>
                <a:gd name="connsiteY95" fmla="*/ 1407 h 10007"/>
                <a:gd name="connsiteX96" fmla="*/ 408 w 10000"/>
                <a:gd name="connsiteY96" fmla="*/ 1507 h 10007"/>
                <a:gd name="connsiteX97" fmla="*/ 363 w 10000"/>
                <a:gd name="connsiteY97" fmla="*/ 1613 h 10007"/>
                <a:gd name="connsiteX98" fmla="*/ 319 w 10000"/>
                <a:gd name="connsiteY98" fmla="*/ 1718 h 10007"/>
                <a:gd name="connsiteX99" fmla="*/ 282 w 10000"/>
                <a:gd name="connsiteY99" fmla="*/ 1825 h 10007"/>
                <a:gd name="connsiteX100" fmla="*/ 237 w 10000"/>
                <a:gd name="connsiteY100" fmla="*/ 1935 h 10007"/>
                <a:gd name="connsiteX101" fmla="*/ 208 w 10000"/>
                <a:gd name="connsiteY101" fmla="*/ 2040 h 10007"/>
                <a:gd name="connsiteX102" fmla="*/ 170 w 10000"/>
                <a:gd name="connsiteY102" fmla="*/ 2150 h 10007"/>
                <a:gd name="connsiteX103" fmla="*/ 148 w 10000"/>
                <a:gd name="connsiteY103" fmla="*/ 2260 h 10007"/>
                <a:gd name="connsiteX104" fmla="*/ 119 w 10000"/>
                <a:gd name="connsiteY104" fmla="*/ 2365 h 10007"/>
                <a:gd name="connsiteX105" fmla="*/ 96 w 10000"/>
                <a:gd name="connsiteY105" fmla="*/ 2475 h 10007"/>
                <a:gd name="connsiteX106" fmla="*/ 74 w 10000"/>
                <a:gd name="connsiteY106" fmla="*/ 2586 h 10007"/>
                <a:gd name="connsiteX107" fmla="*/ 52 w 10000"/>
                <a:gd name="connsiteY107" fmla="*/ 2701 h 10007"/>
                <a:gd name="connsiteX108" fmla="*/ 37 w 10000"/>
                <a:gd name="connsiteY108" fmla="*/ 2811 h 10007"/>
                <a:gd name="connsiteX109" fmla="*/ 22 w 10000"/>
                <a:gd name="connsiteY109" fmla="*/ 2921 h 10007"/>
                <a:gd name="connsiteX110" fmla="*/ 15 w 10000"/>
                <a:gd name="connsiteY110" fmla="*/ 3031 h 10007"/>
                <a:gd name="connsiteX111" fmla="*/ 7 w 10000"/>
                <a:gd name="connsiteY111" fmla="*/ 3145 h 10007"/>
                <a:gd name="connsiteX112" fmla="*/ 0 w 10000"/>
                <a:gd name="connsiteY112" fmla="*/ 3256 h 10007"/>
                <a:gd name="connsiteX113" fmla="*/ 0 w 10000"/>
                <a:gd name="connsiteY113" fmla="*/ 3371 h 10007"/>
                <a:gd name="connsiteX114" fmla="*/ 7 w 10000"/>
                <a:gd name="connsiteY114" fmla="*/ 3518 h 10007"/>
                <a:gd name="connsiteX115" fmla="*/ 7 w 10000"/>
                <a:gd name="connsiteY115" fmla="*/ 3664 h 10007"/>
                <a:gd name="connsiteX116" fmla="*/ 22 w 10000"/>
                <a:gd name="connsiteY116" fmla="*/ 3802 h 10007"/>
                <a:gd name="connsiteX117" fmla="*/ 37 w 10000"/>
                <a:gd name="connsiteY117" fmla="*/ 3945 h 10007"/>
                <a:gd name="connsiteX118" fmla="*/ 59 w 10000"/>
                <a:gd name="connsiteY118" fmla="*/ 4087 h 10007"/>
                <a:gd name="connsiteX119" fmla="*/ 89 w 10000"/>
                <a:gd name="connsiteY119" fmla="*/ 4229 h 10007"/>
                <a:gd name="connsiteX120" fmla="*/ 119 w 10000"/>
                <a:gd name="connsiteY120" fmla="*/ 4371 h 10007"/>
                <a:gd name="connsiteX121" fmla="*/ 148 w 10000"/>
                <a:gd name="connsiteY121" fmla="*/ 4513 h 10007"/>
                <a:gd name="connsiteX122" fmla="*/ 193 w 10000"/>
                <a:gd name="connsiteY122" fmla="*/ 4652 h 10007"/>
                <a:gd name="connsiteX123" fmla="*/ 237 w 10000"/>
                <a:gd name="connsiteY123" fmla="*/ 4789 h 10007"/>
                <a:gd name="connsiteX124" fmla="*/ 282 w 10000"/>
                <a:gd name="connsiteY124" fmla="*/ 4927 h 10007"/>
                <a:gd name="connsiteX125" fmla="*/ 334 w 10000"/>
                <a:gd name="connsiteY125" fmla="*/ 5064 h 10007"/>
                <a:gd name="connsiteX126" fmla="*/ 393 w 10000"/>
                <a:gd name="connsiteY126" fmla="*/ 5197 h 10007"/>
                <a:gd name="connsiteX127" fmla="*/ 452 w 10000"/>
                <a:gd name="connsiteY127" fmla="*/ 5330 h 10007"/>
                <a:gd name="connsiteX128" fmla="*/ 519 w 10000"/>
                <a:gd name="connsiteY128" fmla="*/ 5464 h 10007"/>
                <a:gd name="connsiteX129" fmla="*/ 586 w 10000"/>
                <a:gd name="connsiteY129" fmla="*/ 5597 h 10007"/>
                <a:gd name="connsiteX130" fmla="*/ 660 w 10000"/>
                <a:gd name="connsiteY130" fmla="*/ 5725 h 10007"/>
                <a:gd name="connsiteX131" fmla="*/ 741 w 10000"/>
                <a:gd name="connsiteY131" fmla="*/ 5853 h 10007"/>
                <a:gd name="connsiteX132" fmla="*/ 823 w 10000"/>
                <a:gd name="connsiteY132" fmla="*/ 5986 h 10007"/>
                <a:gd name="connsiteX133" fmla="*/ 904 w 10000"/>
                <a:gd name="connsiteY133" fmla="*/ 6111 h 10007"/>
                <a:gd name="connsiteX134" fmla="*/ 993 w 10000"/>
                <a:gd name="connsiteY134" fmla="*/ 6235 h 10007"/>
                <a:gd name="connsiteX135" fmla="*/ 1090 w 10000"/>
                <a:gd name="connsiteY135" fmla="*/ 6354 h 10007"/>
                <a:gd name="connsiteX136" fmla="*/ 1186 w 10000"/>
                <a:gd name="connsiteY136" fmla="*/ 6478 h 10007"/>
                <a:gd name="connsiteX137" fmla="*/ 1290 w 10000"/>
                <a:gd name="connsiteY137" fmla="*/ 6601 h 10007"/>
                <a:gd name="connsiteX138" fmla="*/ 1386 w 10000"/>
                <a:gd name="connsiteY138" fmla="*/ 6721 h 10007"/>
                <a:gd name="connsiteX139" fmla="*/ 1497 w 10000"/>
                <a:gd name="connsiteY139" fmla="*/ 6841 h 10007"/>
                <a:gd name="connsiteX140" fmla="*/ 1609 w 10000"/>
                <a:gd name="connsiteY140" fmla="*/ 6955 h 10007"/>
                <a:gd name="connsiteX141" fmla="*/ 1727 w 10000"/>
                <a:gd name="connsiteY141" fmla="*/ 7074 h 10007"/>
                <a:gd name="connsiteX142" fmla="*/ 1846 w 10000"/>
                <a:gd name="connsiteY142" fmla="*/ 7189 h 10007"/>
                <a:gd name="connsiteX143" fmla="*/ 1964 w 10000"/>
                <a:gd name="connsiteY143" fmla="*/ 7299 h 10007"/>
                <a:gd name="connsiteX144" fmla="*/ 2090 w 10000"/>
                <a:gd name="connsiteY144" fmla="*/ 7409 h 10007"/>
                <a:gd name="connsiteX145" fmla="*/ 2224 w 10000"/>
                <a:gd name="connsiteY145" fmla="*/ 7520 h 10007"/>
                <a:gd name="connsiteX146" fmla="*/ 2350 w 10000"/>
                <a:gd name="connsiteY146" fmla="*/ 7630 h 10007"/>
                <a:gd name="connsiteX147" fmla="*/ 2491 w 10000"/>
                <a:gd name="connsiteY147" fmla="*/ 7735 h 10007"/>
                <a:gd name="connsiteX148" fmla="*/ 2617 w 10000"/>
                <a:gd name="connsiteY148" fmla="*/ 7841 h 10007"/>
                <a:gd name="connsiteX149" fmla="*/ 2765 w 10000"/>
                <a:gd name="connsiteY149" fmla="*/ 7942 h 10007"/>
                <a:gd name="connsiteX150" fmla="*/ 2906 w 10000"/>
                <a:gd name="connsiteY150" fmla="*/ 8042 h 10007"/>
                <a:gd name="connsiteX151" fmla="*/ 3054 w 10000"/>
                <a:gd name="connsiteY151" fmla="*/ 8143 h 10007"/>
                <a:gd name="connsiteX152" fmla="*/ 3210 w 10000"/>
                <a:gd name="connsiteY152" fmla="*/ 8241 h 10007"/>
                <a:gd name="connsiteX153" fmla="*/ 3358 w 10000"/>
                <a:gd name="connsiteY153" fmla="*/ 8337 h 10007"/>
                <a:gd name="connsiteX154" fmla="*/ 3514 w 10000"/>
                <a:gd name="connsiteY154" fmla="*/ 8433 h 10007"/>
                <a:gd name="connsiteX155" fmla="*/ 3677 w 10000"/>
                <a:gd name="connsiteY155" fmla="*/ 8525 h 10007"/>
                <a:gd name="connsiteX156" fmla="*/ 3840 w 10000"/>
                <a:gd name="connsiteY156" fmla="*/ 8612 h 10007"/>
                <a:gd name="connsiteX157" fmla="*/ 4010 w 10000"/>
                <a:gd name="connsiteY157" fmla="*/ 8703 h 10007"/>
                <a:gd name="connsiteX158" fmla="*/ 4181 w 10000"/>
                <a:gd name="connsiteY158" fmla="*/ 8781 h 10007"/>
                <a:gd name="connsiteX159" fmla="*/ 4351 w 10000"/>
                <a:gd name="connsiteY159" fmla="*/ 8868 h 10007"/>
                <a:gd name="connsiteX160" fmla="*/ 4522 w 10000"/>
                <a:gd name="connsiteY160" fmla="*/ 8947 h 10007"/>
                <a:gd name="connsiteX161" fmla="*/ 4700 w 10000"/>
                <a:gd name="connsiteY161" fmla="*/ 9030 h 10007"/>
                <a:gd name="connsiteX162" fmla="*/ 4878 w 10000"/>
                <a:gd name="connsiteY162" fmla="*/ 9108 h 10007"/>
                <a:gd name="connsiteX163" fmla="*/ 5063 w 10000"/>
                <a:gd name="connsiteY163" fmla="*/ 9181 h 10007"/>
                <a:gd name="connsiteX164" fmla="*/ 5248 w 10000"/>
                <a:gd name="connsiteY164" fmla="*/ 9259 h 10007"/>
                <a:gd name="connsiteX165" fmla="*/ 5426 w 10000"/>
                <a:gd name="connsiteY165" fmla="*/ 9328 h 10007"/>
                <a:gd name="connsiteX166" fmla="*/ 5619 w 10000"/>
                <a:gd name="connsiteY166" fmla="*/ 9396 h 10007"/>
                <a:gd name="connsiteX167" fmla="*/ 5812 w 10000"/>
                <a:gd name="connsiteY167" fmla="*/ 9465 h 10007"/>
                <a:gd name="connsiteX168" fmla="*/ 6004 w 10000"/>
                <a:gd name="connsiteY168" fmla="*/ 9529 h 10007"/>
                <a:gd name="connsiteX169" fmla="*/ 6205 w 10000"/>
                <a:gd name="connsiteY169" fmla="*/ 9594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58 h 10007"/>
                <a:gd name="connsiteX179" fmla="*/ 10000 w 10000"/>
                <a:gd name="connsiteY179" fmla="*/ 6143 h 10007"/>
                <a:gd name="connsiteX0" fmla="*/ 10000 w 10000"/>
                <a:gd name="connsiteY0" fmla="*/ 6144 h 10008"/>
                <a:gd name="connsiteX1" fmla="*/ 10000 w 10000"/>
                <a:gd name="connsiteY1" fmla="*/ 6144 h 10008"/>
                <a:gd name="connsiteX2" fmla="*/ 9911 w 10000"/>
                <a:gd name="connsiteY2" fmla="*/ 6130 h 10008"/>
                <a:gd name="connsiteX3" fmla="*/ 9815 w 10000"/>
                <a:gd name="connsiteY3" fmla="*/ 6112 h 10008"/>
                <a:gd name="connsiteX4" fmla="*/ 9726 w 10000"/>
                <a:gd name="connsiteY4" fmla="*/ 6094 h 10008"/>
                <a:gd name="connsiteX5" fmla="*/ 9637 w 10000"/>
                <a:gd name="connsiteY5" fmla="*/ 6070 h 10008"/>
                <a:gd name="connsiteX6" fmla="*/ 9548 w 10000"/>
                <a:gd name="connsiteY6" fmla="*/ 6051 h 10008"/>
                <a:gd name="connsiteX7" fmla="*/ 9466 w 10000"/>
                <a:gd name="connsiteY7" fmla="*/ 6029 h 10008"/>
                <a:gd name="connsiteX8" fmla="*/ 9377 w 10000"/>
                <a:gd name="connsiteY8" fmla="*/ 6006 h 10008"/>
                <a:gd name="connsiteX9" fmla="*/ 9288 w 10000"/>
                <a:gd name="connsiteY9" fmla="*/ 5983 h 10008"/>
                <a:gd name="connsiteX10" fmla="*/ 9118 w 10000"/>
                <a:gd name="connsiteY10" fmla="*/ 5932 h 10008"/>
                <a:gd name="connsiteX11" fmla="*/ 8955 w 10000"/>
                <a:gd name="connsiteY11" fmla="*/ 5877 h 10008"/>
                <a:gd name="connsiteX12" fmla="*/ 8792 w 10000"/>
                <a:gd name="connsiteY12" fmla="*/ 5818 h 10008"/>
                <a:gd name="connsiteX13" fmla="*/ 8636 w 10000"/>
                <a:gd name="connsiteY13" fmla="*/ 5754 h 10008"/>
                <a:gd name="connsiteX14" fmla="*/ 8480 w 10000"/>
                <a:gd name="connsiteY14" fmla="*/ 5689 h 10008"/>
                <a:gd name="connsiteX15" fmla="*/ 8340 w 10000"/>
                <a:gd name="connsiteY15" fmla="*/ 5621 h 10008"/>
                <a:gd name="connsiteX16" fmla="*/ 8199 w 10000"/>
                <a:gd name="connsiteY16" fmla="*/ 5547 h 10008"/>
                <a:gd name="connsiteX17" fmla="*/ 8058 w 10000"/>
                <a:gd name="connsiteY17" fmla="*/ 5469 h 10008"/>
                <a:gd name="connsiteX18" fmla="*/ 7924 w 10000"/>
                <a:gd name="connsiteY18" fmla="*/ 5387 h 10008"/>
                <a:gd name="connsiteX19" fmla="*/ 7798 w 10000"/>
                <a:gd name="connsiteY19" fmla="*/ 5303 h 10008"/>
                <a:gd name="connsiteX20" fmla="*/ 7672 w 10000"/>
                <a:gd name="connsiteY20" fmla="*/ 5216 h 10008"/>
                <a:gd name="connsiteX21" fmla="*/ 7554 w 10000"/>
                <a:gd name="connsiteY21" fmla="*/ 5129 h 10008"/>
                <a:gd name="connsiteX22" fmla="*/ 7450 w 10000"/>
                <a:gd name="connsiteY22" fmla="*/ 5033 h 10008"/>
                <a:gd name="connsiteX23" fmla="*/ 7346 w 10000"/>
                <a:gd name="connsiteY23" fmla="*/ 4937 h 10008"/>
                <a:gd name="connsiteX24" fmla="*/ 7250 w 10000"/>
                <a:gd name="connsiteY24" fmla="*/ 4841 h 10008"/>
                <a:gd name="connsiteX25" fmla="*/ 7161 w 10000"/>
                <a:gd name="connsiteY25" fmla="*/ 4740 h 10008"/>
                <a:gd name="connsiteX26" fmla="*/ 7072 w 10000"/>
                <a:gd name="connsiteY26" fmla="*/ 4638 h 10008"/>
                <a:gd name="connsiteX27" fmla="*/ 6990 w 10000"/>
                <a:gd name="connsiteY27" fmla="*/ 4528 h 10008"/>
                <a:gd name="connsiteX28" fmla="*/ 6953 w 10000"/>
                <a:gd name="connsiteY28" fmla="*/ 4478 h 10008"/>
                <a:gd name="connsiteX29" fmla="*/ 6916 w 10000"/>
                <a:gd name="connsiteY29" fmla="*/ 4423 h 10008"/>
                <a:gd name="connsiteX30" fmla="*/ 6887 w 10000"/>
                <a:gd name="connsiteY30" fmla="*/ 4368 h 10008"/>
                <a:gd name="connsiteX31" fmla="*/ 6850 w 10000"/>
                <a:gd name="connsiteY31" fmla="*/ 4313 h 10008"/>
                <a:gd name="connsiteX32" fmla="*/ 6820 w 10000"/>
                <a:gd name="connsiteY32" fmla="*/ 4258 h 10008"/>
                <a:gd name="connsiteX33" fmla="*/ 6790 w 10000"/>
                <a:gd name="connsiteY33" fmla="*/ 4203 h 10008"/>
                <a:gd name="connsiteX34" fmla="*/ 6768 w 10000"/>
                <a:gd name="connsiteY34" fmla="*/ 4143 h 10008"/>
                <a:gd name="connsiteX35" fmla="*/ 6738 w 10000"/>
                <a:gd name="connsiteY35" fmla="*/ 4088 h 10008"/>
                <a:gd name="connsiteX36" fmla="*/ 6723 w 10000"/>
                <a:gd name="connsiteY36" fmla="*/ 4028 h 10008"/>
                <a:gd name="connsiteX37" fmla="*/ 6694 w 10000"/>
                <a:gd name="connsiteY37" fmla="*/ 3973 h 10008"/>
                <a:gd name="connsiteX38" fmla="*/ 6679 w 10000"/>
                <a:gd name="connsiteY38" fmla="*/ 3913 h 10008"/>
                <a:gd name="connsiteX39" fmla="*/ 6664 w 10000"/>
                <a:gd name="connsiteY39" fmla="*/ 3853 h 10008"/>
                <a:gd name="connsiteX40" fmla="*/ 6649 w 10000"/>
                <a:gd name="connsiteY40" fmla="*/ 3794 h 10008"/>
                <a:gd name="connsiteX41" fmla="*/ 6635 w 10000"/>
                <a:gd name="connsiteY41" fmla="*/ 3739 h 10008"/>
                <a:gd name="connsiteX42" fmla="*/ 6620 w 10000"/>
                <a:gd name="connsiteY42" fmla="*/ 3679 h 10008"/>
                <a:gd name="connsiteX43" fmla="*/ 6612 w 10000"/>
                <a:gd name="connsiteY43" fmla="*/ 3620 h 10008"/>
                <a:gd name="connsiteX44" fmla="*/ 6605 w 10000"/>
                <a:gd name="connsiteY44" fmla="*/ 3560 h 10008"/>
                <a:gd name="connsiteX45" fmla="*/ 6597 w 10000"/>
                <a:gd name="connsiteY45" fmla="*/ 3496 h 10008"/>
                <a:gd name="connsiteX46" fmla="*/ 6597 w 10000"/>
                <a:gd name="connsiteY46" fmla="*/ 3436 h 10008"/>
                <a:gd name="connsiteX47" fmla="*/ 6590 w 10000"/>
                <a:gd name="connsiteY47" fmla="*/ 3372 h 10008"/>
                <a:gd name="connsiteX48" fmla="*/ 6597 w 10000"/>
                <a:gd name="connsiteY48" fmla="*/ 3312 h 10008"/>
                <a:gd name="connsiteX49" fmla="*/ 6605 w 10000"/>
                <a:gd name="connsiteY49" fmla="*/ 3244 h 10008"/>
                <a:gd name="connsiteX50" fmla="*/ 6605 w 10000"/>
                <a:gd name="connsiteY50" fmla="*/ 3179 h 10008"/>
                <a:gd name="connsiteX51" fmla="*/ 6612 w 10000"/>
                <a:gd name="connsiteY51" fmla="*/ 3114 h 10008"/>
                <a:gd name="connsiteX52" fmla="*/ 6620 w 10000"/>
                <a:gd name="connsiteY52" fmla="*/ 3050 h 10008"/>
                <a:gd name="connsiteX53" fmla="*/ 6635 w 10000"/>
                <a:gd name="connsiteY53" fmla="*/ 2991 h 10008"/>
                <a:gd name="connsiteX54" fmla="*/ 6649 w 10000"/>
                <a:gd name="connsiteY54" fmla="*/ 2927 h 10008"/>
                <a:gd name="connsiteX55" fmla="*/ 6664 w 10000"/>
                <a:gd name="connsiteY55" fmla="*/ 2867 h 10008"/>
                <a:gd name="connsiteX56" fmla="*/ 6686 w 10000"/>
                <a:gd name="connsiteY56" fmla="*/ 2803 h 10008"/>
                <a:gd name="connsiteX57" fmla="*/ 6709 w 10000"/>
                <a:gd name="connsiteY57" fmla="*/ 2743 h 10008"/>
                <a:gd name="connsiteX58" fmla="*/ 6731 w 10000"/>
                <a:gd name="connsiteY58" fmla="*/ 2684 h 10008"/>
                <a:gd name="connsiteX59" fmla="*/ 6753 w 10000"/>
                <a:gd name="connsiteY59" fmla="*/ 2619 h 10008"/>
                <a:gd name="connsiteX60" fmla="*/ 6783 w 10000"/>
                <a:gd name="connsiteY60" fmla="*/ 2564 h 10008"/>
                <a:gd name="connsiteX61" fmla="*/ 6812 w 10000"/>
                <a:gd name="connsiteY61" fmla="*/ 2504 h 10008"/>
                <a:gd name="connsiteX62" fmla="*/ 6842 w 10000"/>
                <a:gd name="connsiteY62" fmla="*/ 2444 h 10008"/>
                <a:gd name="connsiteX63" fmla="*/ 6879 w 10000"/>
                <a:gd name="connsiteY63" fmla="*/ 2385 h 10008"/>
                <a:gd name="connsiteX64" fmla="*/ 6909 w 10000"/>
                <a:gd name="connsiteY64" fmla="*/ 2330 h 10008"/>
                <a:gd name="connsiteX65" fmla="*/ 6946 w 10000"/>
                <a:gd name="connsiteY65" fmla="*/ 2270 h 10008"/>
                <a:gd name="connsiteX66" fmla="*/ 6990 w 10000"/>
                <a:gd name="connsiteY66" fmla="*/ 2215 h 10008"/>
                <a:gd name="connsiteX67" fmla="*/ 7027 w 10000"/>
                <a:gd name="connsiteY67" fmla="*/ 2160 h 10008"/>
                <a:gd name="connsiteX68" fmla="*/ 7072 w 10000"/>
                <a:gd name="connsiteY68" fmla="*/ 2105 h 10008"/>
                <a:gd name="connsiteX69" fmla="*/ 7109 w 10000"/>
                <a:gd name="connsiteY69" fmla="*/ 2050 h 10008"/>
                <a:gd name="connsiteX70" fmla="*/ 7161 w 10000"/>
                <a:gd name="connsiteY70" fmla="*/ 2000 h 10008"/>
                <a:gd name="connsiteX71" fmla="*/ 7213 w 10000"/>
                <a:gd name="connsiteY71" fmla="*/ 1945 h 10008"/>
                <a:gd name="connsiteX72" fmla="*/ 7257 w 10000"/>
                <a:gd name="connsiteY72" fmla="*/ 1890 h 10008"/>
                <a:gd name="connsiteX73" fmla="*/ 7309 w 10000"/>
                <a:gd name="connsiteY73" fmla="*/ 1839 h 10008"/>
                <a:gd name="connsiteX74" fmla="*/ 7361 w 10000"/>
                <a:gd name="connsiteY74" fmla="*/ 1788 h 10008"/>
                <a:gd name="connsiteX75" fmla="*/ 7413 w 10000"/>
                <a:gd name="connsiteY75" fmla="*/ 1738 h 10008"/>
                <a:gd name="connsiteX76" fmla="*/ 7472 w 10000"/>
                <a:gd name="connsiteY76" fmla="*/ 1687 h 10008"/>
                <a:gd name="connsiteX77" fmla="*/ 7524 w 10000"/>
                <a:gd name="connsiteY77" fmla="*/ 1641 h 10008"/>
                <a:gd name="connsiteX78" fmla="*/ 7583 w 10000"/>
                <a:gd name="connsiteY78" fmla="*/ 1595 h 10008"/>
                <a:gd name="connsiteX79" fmla="*/ 7610 w 10000"/>
                <a:gd name="connsiteY79" fmla="*/ 1566 h 10008"/>
                <a:gd name="connsiteX80" fmla="*/ 5412 w 10000"/>
                <a:gd name="connsiteY80" fmla="*/ 0 h 10008"/>
                <a:gd name="connsiteX81" fmla="*/ 1423 w 10000"/>
                <a:gd name="connsiteY81" fmla="*/ 1 h 10008"/>
                <a:gd name="connsiteX82" fmla="*/ 1305 w 10000"/>
                <a:gd name="connsiteY82" fmla="*/ 122 h 10008"/>
                <a:gd name="connsiteX83" fmla="*/ 1223 w 10000"/>
                <a:gd name="connsiteY83" fmla="*/ 214 h 10008"/>
                <a:gd name="connsiteX84" fmla="*/ 1149 w 10000"/>
                <a:gd name="connsiteY84" fmla="*/ 310 h 10008"/>
                <a:gd name="connsiteX85" fmla="*/ 1067 w 10000"/>
                <a:gd name="connsiteY85" fmla="*/ 407 h 10008"/>
                <a:gd name="connsiteX86" fmla="*/ 1001 w 10000"/>
                <a:gd name="connsiteY86" fmla="*/ 504 h 10008"/>
                <a:gd name="connsiteX87" fmla="*/ 927 w 10000"/>
                <a:gd name="connsiteY87" fmla="*/ 600 h 10008"/>
                <a:gd name="connsiteX88" fmla="*/ 860 w 10000"/>
                <a:gd name="connsiteY88" fmla="*/ 701 h 10008"/>
                <a:gd name="connsiteX89" fmla="*/ 793 w 10000"/>
                <a:gd name="connsiteY89" fmla="*/ 802 h 10008"/>
                <a:gd name="connsiteX90" fmla="*/ 734 w 10000"/>
                <a:gd name="connsiteY90" fmla="*/ 898 h 10008"/>
                <a:gd name="connsiteX91" fmla="*/ 675 w 10000"/>
                <a:gd name="connsiteY91" fmla="*/ 999 h 10008"/>
                <a:gd name="connsiteX92" fmla="*/ 615 w 10000"/>
                <a:gd name="connsiteY92" fmla="*/ 1100 h 10008"/>
                <a:gd name="connsiteX93" fmla="*/ 556 w 10000"/>
                <a:gd name="connsiteY93" fmla="*/ 1206 h 10008"/>
                <a:gd name="connsiteX94" fmla="*/ 504 w 10000"/>
                <a:gd name="connsiteY94" fmla="*/ 1302 h 10008"/>
                <a:gd name="connsiteX95" fmla="*/ 452 w 10000"/>
                <a:gd name="connsiteY95" fmla="*/ 1408 h 10008"/>
                <a:gd name="connsiteX96" fmla="*/ 408 w 10000"/>
                <a:gd name="connsiteY96" fmla="*/ 1508 h 10008"/>
                <a:gd name="connsiteX97" fmla="*/ 363 w 10000"/>
                <a:gd name="connsiteY97" fmla="*/ 1614 h 10008"/>
                <a:gd name="connsiteX98" fmla="*/ 319 w 10000"/>
                <a:gd name="connsiteY98" fmla="*/ 1719 h 10008"/>
                <a:gd name="connsiteX99" fmla="*/ 282 w 10000"/>
                <a:gd name="connsiteY99" fmla="*/ 1826 h 10008"/>
                <a:gd name="connsiteX100" fmla="*/ 237 w 10000"/>
                <a:gd name="connsiteY100" fmla="*/ 1936 h 10008"/>
                <a:gd name="connsiteX101" fmla="*/ 208 w 10000"/>
                <a:gd name="connsiteY101" fmla="*/ 2041 h 10008"/>
                <a:gd name="connsiteX102" fmla="*/ 170 w 10000"/>
                <a:gd name="connsiteY102" fmla="*/ 2151 h 10008"/>
                <a:gd name="connsiteX103" fmla="*/ 148 w 10000"/>
                <a:gd name="connsiteY103" fmla="*/ 2261 h 10008"/>
                <a:gd name="connsiteX104" fmla="*/ 119 w 10000"/>
                <a:gd name="connsiteY104" fmla="*/ 2366 h 10008"/>
                <a:gd name="connsiteX105" fmla="*/ 96 w 10000"/>
                <a:gd name="connsiteY105" fmla="*/ 2476 h 10008"/>
                <a:gd name="connsiteX106" fmla="*/ 74 w 10000"/>
                <a:gd name="connsiteY106" fmla="*/ 2587 h 10008"/>
                <a:gd name="connsiteX107" fmla="*/ 52 w 10000"/>
                <a:gd name="connsiteY107" fmla="*/ 2702 h 10008"/>
                <a:gd name="connsiteX108" fmla="*/ 37 w 10000"/>
                <a:gd name="connsiteY108" fmla="*/ 2812 h 10008"/>
                <a:gd name="connsiteX109" fmla="*/ 22 w 10000"/>
                <a:gd name="connsiteY109" fmla="*/ 2922 h 10008"/>
                <a:gd name="connsiteX110" fmla="*/ 15 w 10000"/>
                <a:gd name="connsiteY110" fmla="*/ 3032 h 10008"/>
                <a:gd name="connsiteX111" fmla="*/ 7 w 10000"/>
                <a:gd name="connsiteY111" fmla="*/ 3146 h 10008"/>
                <a:gd name="connsiteX112" fmla="*/ 0 w 10000"/>
                <a:gd name="connsiteY112" fmla="*/ 3257 h 10008"/>
                <a:gd name="connsiteX113" fmla="*/ 0 w 10000"/>
                <a:gd name="connsiteY113" fmla="*/ 3372 h 10008"/>
                <a:gd name="connsiteX114" fmla="*/ 7 w 10000"/>
                <a:gd name="connsiteY114" fmla="*/ 3519 h 10008"/>
                <a:gd name="connsiteX115" fmla="*/ 7 w 10000"/>
                <a:gd name="connsiteY115" fmla="*/ 3665 h 10008"/>
                <a:gd name="connsiteX116" fmla="*/ 22 w 10000"/>
                <a:gd name="connsiteY116" fmla="*/ 3803 h 10008"/>
                <a:gd name="connsiteX117" fmla="*/ 37 w 10000"/>
                <a:gd name="connsiteY117" fmla="*/ 3946 h 10008"/>
                <a:gd name="connsiteX118" fmla="*/ 59 w 10000"/>
                <a:gd name="connsiteY118" fmla="*/ 4088 h 10008"/>
                <a:gd name="connsiteX119" fmla="*/ 89 w 10000"/>
                <a:gd name="connsiteY119" fmla="*/ 4230 h 10008"/>
                <a:gd name="connsiteX120" fmla="*/ 119 w 10000"/>
                <a:gd name="connsiteY120" fmla="*/ 4372 h 10008"/>
                <a:gd name="connsiteX121" fmla="*/ 148 w 10000"/>
                <a:gd name="connsiteY121" fmla="*/ 4514 h 10008"/>
                <a:gd name="connsiteX122" fmla="*/ 193 w 10000"/>
                <a:gd name="connsiteY122" fmla="*/ 4653 h 10008"/>
                <a:gd name="connsiteX123" fmla="*/ 237 w 10000"/>
                <a:gd name="connsiteY123" fmla="*/ 4790 h 10008"/>
                <a:gd name="connsiteX124" fmla="*/ 282 w 10000"/>
                <a:gd name="connsiteY124" fmla="*/ 4928 h 10008"/>
                <a:gd name="connsiteX125" fmla="*/ 334 w 10000"/>
                <a:gd name="connsiteY125" fmla="*/ 5065 h 10008"/>
                <a:gd name="connsiteX126" fmla="*/ 393 w 10000"/>
                <a:gd name="connsiteY126" fmla="*/ 5198 h 10008"/>
                <a:gd name="connsiteX127" fmla="*/ 452 w 10000"/>
                <a:gd name="connsiteY127" fmla="*/ 5331 h 10008"/>
                <a:gd name="connsiteX128" fmla="*/ 519 w 10000"/>
                <a:gd name="connsiteY128" fmla="*/ 5465 h 10008"/>
                <a:gd name="connsiteX129" fmla="*/ 586 w 10000"/>
                <a:gd name="connsiteY129" fmla="*/ 5598 h 10008"/>
                <a:gd name="connsiteX130" fmla="*/ 660 w 10000"/>
                <a:gd name="connsiteY130" fmla="*/ 5726 h 10008"/>
                <a:gd name="connsiteX131" fmla="*/ 741 w 10000"/>
                <a:gd name="connsiteY131" fmla="*/ 5854 h 10008"/>
                <a:gd name="connsiteX132" fmla="*/ 823 w 10000"/>
                <a:gd name="connsiteY132" fmla="*/ 5987 h 10008"/>
                <a:gd name="connsiteX133" fmla="*/ 904 w 10000"/>
                <a:gd name="connsiteY133" fmla="*/ 6112 h 10008"/>
                <a:gd name="connsiteX134" fmla="*/ 993 w 10000"/>
                <a:gd name="connsiteY134" fmla="*/ 6236 h 10008"/>
                <a:gd name="connsiteX135" fmla="*/ 1090 w 10000"/>
                <a:gd name="connsiteY135" fmla="*/ 6355 h 10008"/>
                <a:gd name="connsiteX136" fmla="*/ 1186 w 10000"/>
                <a:gd name="connsiteY136" fmla="*/ 6479 h 10008"/>
                <a:gd name="connsiteX137" fmla="*/ 1290 w 10000"/>
                <a:gd name="connsiteY137" fmla="*/ 6602 h 10008"/>
                <a:gd name="connsiteX138" fmla="*/ 1386 w 10000"/>
                <a:gd name="connsiteY138" fmla="*/ 6722 h 10008"/>
                <a:gd name="connsiteX139" fmla="*/ 1497 w 10000"/>
                <a:gd name="connsiteY139" fmla="*/ 6842 h 10008"/>
                <a:gd name="connsiteX140" fmla="*/ 1609 w 10000"/>
                <a:gd name="connsiteY140" fmla="*/ 6956 h 10008"/>
                <a:gd name="connsiteX141" fmla="*/ 1727 w 10000"/>
                <a:gd name="connsiteY141" fmla="*/ 7075 h 10008"/>
                <a:gd name="connsiteX142" fmla="*/ 1846 w 10000"/>
                <a:gd name="connsiteY142" fmla="*/ 7190 h 10008"/>
                <a:gd name="connsiteX143" fmla="*/ 1964 w 10000"/>
                <a:gd name="connsiteY143" fmla="*/ 7300 h 10008"/>
                <a:gd name="connsiteX144" fmla="*/ 2090 w 10000"/>
                <a:gd name="connsiteY144" fmla="*/ 7410 h 10008"/>
                <a:gd name="connsiteX145" fmla="*/ 2224 w 10000"/>
                <a:gd name="connsiteY145" fmla="*/ 7521 h 10008"/>
                <a:gd name="connsiteX146" fmla="*/ 2350 w 10000"/>
                <a:gd name="connsiteY146" fmla="*/ 7631 h 10008"/>
                <a:gd name="connsiteX147" fmla="*/ 2491 w 10000"/>
                <a:gd name="connsiteY147" fmla="*/ 7736 h 10008"/>
                <a:gd name="connsiteX148" fmla="*/ 2617 w 10000"/>
                <a:gd name="connsiteY148" fmla="*/ 7842 h 10008"/>
                <a:gd name="connsiteX149" fmla="*/ 2765 w 10000"/>
                <a:gd name="connsiteY149" fmla="*/ 7943 h 10008"/>
                <a:gd name="connsiteX150" fmla="*/ 2906 w 10000"/>
                <a:gd name="connsiteY150" fmla="*/ 8043 h 10008"/>
                <a:gd name="connsiteX151" fmla="*/ 3054 w 10000"/>
                <a:gd name="connsiteY151" fmla="*/ 8144 h 10008"/>
                <a:gd name="connsiteX152" fmla="*/ 3210 w 10000"/>
                <a:gd name="connsiteY152" fmla="*/ 8242 h 10008"/>
                <a:gd name="connsiteX153" fmla="*/ 3358 w 10000"/>
                <a:gd name="connsiteY153" fmla="*/ 8338 h 10008"/>
                <a:gd name="connsiteX154" fmla="*/ 3514 w 10000"/>
                <a:gd name="connsiteY154" fmla="*/ 8434 h 10008"/>
                <a:gd name="connsiteX155" fmla="*/ 3677 w 10000"/>
                <a:gd name="connsiteY155" fmla="*/ 8526 h 10008"/>
                <a:gd name="connsiteX156" fmla="*/ 3840 w 10000"/>
                <a:gd name="connsiteY156" fmla="*/ 8613 h 10008"/>
                <a:gd name="connsiteX157" fmla="*/ 4010 w 10000"/>
                <a:gd name="connsiteY157" fmla="*/ 8704 h 10008"/>
                <a:gd name="connsiteX158" fmla="*/ 4181 w 10000"/>
                <a:gd name="connsiteY158" fmla="*/ 8782 h 10008"/>
                <a:gd name="connsiteX159" fmla="*/ 4351 w 10000"/>
                <a:gd name="connsiteY159" fmla="*/ 8869 h 10008"/>
                <a:gd name="connsiteX160" fmla="*/ 4522 w 10000"/>
                <a:gd name="connsiteY160" fmla="*/ 8948 h 10008"/>
                <a:gd name="connsiteX161" fmla="*/ 4700 w 10000"/>
                <a:gd name="connsiteY161" fmla="*/ 9031 h 10008"/>
                <a:gd name="connsiteX162" fmla="*/ 4878 w 10000"/>
                <a:gd name="connsiteY162" fmla="*/ 9109 h 10008"/>
                <a:gd name="connsiteX163" fmla="*/ 5063 w 10000"/>
                <a:gd name="connsiteY163" fmla="*/ 9182 h 10008"/>
                <a:gd name="connsiteX164" fmla="*/ 5248 w 10000"/>
                <a:gd name="connsiteY164" fmla="*/ 9260 h 10008"/>
                <a:gd name="connsiteX165" fmla="*/ 5426 w 10000"/>
                <a:gd name="connsiteY165" fmla="*/ 9329 h 10008"/>
                <a:gd name="connsiteX166" fmla="*/ 5619 w 10000"/>
                <a:gd name="connsiteY166" fmla="*/ 9397 h 10008"/>
                <a:gd name="connsiteX167" fmla="*/ 5812 w 10000"/>
                <a:gd name="connsiteY167" fmla="*/ 9466 h 10008"/>
                <a:gd name="connsiteX168" fmla="*/ 6004 w 10000"/>
                <a:gd name="connsiteY168" fmla="*/ 9530 h 10008"/>
                <a:gd name="connsiteX169" fmla="*/ 6205 w 10000"/>
                <a:gd name="connsiteY169" fmla="*/ 9595 h 10008"/>
                <a:gd name="connsiteX170" fmla="*/ 6397 w 10000"/>
                <a:gd name="connsiteY170" fmla="*/ 9655 h 10008"/>
                <a:gd name="connsiteX171" fmla="*/ 6605 w 10000"/>
                <a:gd name="connsiteY171" fmla="*/ 9710 h 10008"/>
                <a:gd name="connsiteX172" fmla="*/ 6805 w 10000"/>
                <a:gd name="connsiteY172" fmla="*/ 9765 h 10008"/>
                <a:gd name="connsiteX173" fmla="*/ 7005 w 10000"/>
                <a:gd name="connsiteY173" fmla="*/ 9820 h 10008"/>
                <a:gd name="connsiteX174" fmla="*/ 7213 w 10000"/>
                <a:gd name="connsiteY174" fmla="*/ 9871 h 10008"/>
                <a:gd name="connsiteX175" fmla="*/ 7420 w 10000"/>
                <a:gd name="connsiteY175" fmla="*/ 9916 h 10008"/>
                <a:gd name="connsiteX176" fmla="*/ 7628 w 10000"/>
                <a:gd name="connsiteY176" fmla="*/ 9962 h 10008"/>
                <a:gd name="connsiteX177" fmla="*/ 7835 w 10000"/>
                <a:gd name="connsiteY177" fmla="*/ 10008 h 10008"/>
                <a:gd name="connsiteX178" fmla="*/ 7539 w 10000"/>
                <a:gd name="connsiteY178" fmla="*/ 7759 h 10008"/>
                <a:gd name="connsiteX179" fmla="*/ 10000 w 10000"/>
                <a:gd name="connsiteY179" fmla="*/ 6144 h 10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10000" h="10008">
                  <a:moveTo>
                    <a:pt x="10000" y="6144"/>
                  </a:moveTo>
                  <a:lnTo>
                    <a:pt x="10000" y="6144"/>
                  </a:lnTo>
                  <a:lnTo>
                    <a:pt x="9911" y="6130"/>
                  </a:lnTo>
                  <a:lnTo>
                    <a:pt x="9815" y="6112"/>
                  </a:lnTo>
                  <a:lnTo>
                    <a:pt x="9726" y="6094"/>
                  </a:lnTo>
                  <a:lnTo>
                    <a:pt x="9637" y="6070"/>
                  </a:lnTo>
                  <a:cubicBezTo>
                    <a:pt x="9607" y="6064"/>
                    <a:pt x="9578" y="6057"/>
                    <a:pt x="9548" y="6051"/>
                  </a:cubicBezTo>
                  <a:lnTo>
                    <a:pt x="9466" y="6029"/>
                  </a:lnTo>
                  <a:lnTo>
                    <a:pt x="9377" y="6006"/>
                  </a:lnTo>
                  <a:lnTo>
                    <a:pt x="9288" y="5983"/>
                  </a:lnTo>
                  <a:lnTo>
                    <a:pt x="9118" y="5932"/>
                  </a:lnTo>
                  <a:lnTo>
                    <a:pt x="8955" y="5877"/>
                  </a:lnTo>
                  <a:lnTo>
                    <a:pt x="8792" y="5818"/>
                  </a:lnTo>
                  <a:lnTo>
                    <a:pt x="8636" y="5754"/>
                  </a:lnTo>
                  <a:lnTo>
                    <a:pt x="8480" y="5689"/>
                  </a:lnTo>
                  <a:lnTo>
                    <a:pt x="8340" y="5621"/>
                  </a:lnTo>
                  <a:lnTo>
                    <a:pt x="8199" y="5547"/>
                  </a:lnTo>
                  <a:lnTo>
                    <a:pt x="8058" y="5469"/>
                  </a:lnTo>
                  <a:cubicBezTo>
                    <a:pt x="8013" y="5442"/>
                    <a:pt x="7969" y="5414"/>
                    <a:pt x="7924" y="5387"/>
                  </a:cubicBezTo>
                  <a:lnTo>
                    <a:pt x="7798" y="5303"/>
                  </a:lnTo>
                  <a:lnTo>
                    <a:pt x="7672" y="5216"/>
                  </a:lnTo>
                  <a:lnTo>
                    <a:pt x="7554" y="5129"/>
                  </a:lnTo>
                  <a:lnTo>
                    <a:pt x="7450" y="5033"/>
                  </a:lnTo>
                  <a:lnTo>
                    <a:pt x="7346" y="4937"/>
                  </a:lnTo>
                  <a:lnTo>
                    <a:pt x="7250" y="4841"/>
                  </a:lnTo>
                  <a:lnTo>
                    <a:pt x="7161" y="4740"/>
                  </a:lnTo>
                  <a:cubicBezTo>
                    <a:pt x="7131" y="4706"/>
                    <a:pt x="7102" y="4672"/>
                    <a:pt x="7072" y="4638"/>
                  </a:cubicBezTo>
                  <a:cubicBezTo>
                    <a:pt x="7045" y="4601"/>
                    <a:pt x="7017" y="4565"/>
                    <a:pt x="6990" y="4528"/>
                  </a:cubicBezTo>
                  <a:cubicBezTo>
                    <a:pt x="6978" y="4511"/>
                    <a:pt x="6965" y="4495"/>
                    <a:pt x="6953" y="4478"/>
                  </a:cubicBezTo>
                  <a:cubicBezTo>
                    <a:pt x="6941" y="4460"/>
                    <a:pt x="6928" y="4441"/>
                    <a:pt x="6916" y="4423"/>
                  </a:cubicBezTo>
                  <a:cubicBezTo>
                    <a:pt x="6906" y="4405"/>
                    <a:pt x="6897" y="4386"/>
                    <a:pt x="6887" y="4368"/>
                  </a:cubicBezTo>
                  <a:cubicBezTo>
                    <a:pt x="6875" y="4350"/>
                    <a:pt x="6862" y="4331"/>
                    <a:pt x="6850" y="4313"/>
                  </a:cubicBezTo>
                  <a:cubicBezTo>
                    <a:pt x="6840" y="4295"/>
                    <a:pt x="6830" y="4276"/>
                    <a:pt x="6820" y="4258"/>
                  </a:cubicBezTo>
                  <a:cubicBezTo>
                    <a:pt x="6810" y="4240"/>
                    <a:pt x="6800" y="4221"/>
                    <a:pt x="6790" y="4203"/>
                  </a:cubicBezTo>
                  <a:cubicBezTo>
                    <a:pt x="6783" y="4183"/>
                    <a:pt x="6775" y="4163"/>
                    <a:pt x="6768" y="4143"/>
                  </a:cubicBezTo>
                  <a:cubicBezTo>
                    <a:pt x="6758" y="4125"/>
                    <a:pt x="6748" y="4106"/>
                    <a:pt x="6738" y="4088"/>
                  </a:cubicBezTo>
                  <a:lnTo>
                    <a:pt x="6723" y="4028"/>
                  </a:lnTo>
                  <a:cubicBezTo>
                    <a:pt x="6713" y="4010"/>
                    <a:pt x="6704" y="3991"/>
                    <a:pt x="6694" y="3973"/>
                  </a:cubicBezTo>
                  <a:lnTo>
                    <a:pt x="6679" y="3913"/>
                  </a:lnTo>
                  <a:lnTo>
                    <a:pt x="6664" y="3853"/>
                  </a:lnTo>
                  <a:cubicBezTo>
                    <a:pt x="6659" y="3833"/>
                    <a:pt x="6654" y="3814"/>
                    <a:pt x="6649" y="3794"/>
                  </a:cubicBezTo>
                  <a:cubicBezTo>
                    <a:pt x="6644" y="3776"/>
                    <a:pt x="6640" y="3757"/>
                    <a:pt x="6635" y="3739"/>
                  </a:cubicBezTo>
                  <a:lnTo>
                    <a:pt x="6620" y="3679"/>
                  </a:lnTo>
                  <a:cubicBezTo>
                    <a:pt x="6617" y="3659"/>
                    <a:pt x="6615" y="3640"/>
                    <a:pt x="6612" y="3620"/>
                  </a:cubicBezTo>
                  <a:cubicBezTo>
                    <a:pt x="6610" y="3600"/>
                    <a:pt x="6607" y="3580"/>
                    <a:pt x="6605" y="3560"/>
                  </a:cubicBezTo>
                  <a:cubicBezTo>
                    <a:pt x="6602" y="3539"/>
                    <a:pt x="6600" y="3517"/>
                    <a:pt x="6597" y="3496"/>
                  </a:cubicBezTo>
                  <a:lnTo>
                    <a:pt x="6597" y="3436"/>
                  </a:lnTo>
                  <a:cubicBezTo>
                    <a:pt x="6595" y="3415"/>
                    <a:pt x="6592" y="3393"/>
                    <a:pt x="6590" y="3372"/>
                  </a:cubicBezTo>
                  <a:cubicBezTo>
                    <a:pt x="6592" y="3352"/>
                    <a:pt x="6595" y="3332"/>
                    <a:pt x="6597" y="3312"/>
                  </a:cubicBezTo>
                  <a:cubicBezTo>
                    <a:pt x="6600" y="3289"/>
                    <a:pt x="6602" y="3267"/>
                    <a:pt x="6605" y="3244"/>
                  </a:cubicBezTo>
                  <a:lnTo>
                    <a:pt x="6605" y="3179"/>
                  </a:lnTo>
                  <a:cubicBezTo>
                    <a:pt x="6607" y="3157"/>
                    <a:pt x="6610" y="3136"/>
                    <a:pt x="6612" y="3114"/>
                  </a:cubicBezTo>
                  <a:cubicBezTo>
                    <a:pt x="6615" y="3093"/>
                    <a:pt x="6617" y="3071"/>
                    <a:pt x="6620" y="3050"/>
                  </a:cubicBezTo>
                  <a:cubicBezTo>
                    <a:pt x="6625" y="3030"/>
                    <a:pt x="6630" y="3011"/>
                    <a:pt x="6635" y="2991"/>
                  </a:cubicBezTo>
                  <a:cubicBezTo>
                    <a:pt x="6640" y="2970"/>
                    <a:pt x="6644" y="2948"/>
                    <a:pt x="6649" y="2927"/>
                  </a:cubicBezTo>
                  <a:lnTo>
                    <a:pt x="6664" y="2867"/>
                  </a:lnTo>
                  <a:cubicBezTo>
                    <a:pt x="6671" y="2846"/>
                    <a:pt x="6679" y="2824"/>
                    <a:pt x="6686" y="2803"/>
                  </a:cubicBezTo>
                  <a:cubicBezTo>
                    <a:pt x="6694" y="2783"/>
                    <a:pt x="6701" y="2763"/>
                    <a:pt x="6709" y="2743"/>
                  </a:cubicBezTo>
                  <a:cubicBezTo>
                    <a:pt x="6716" y="2723"/>
                    <a:pt x="6724" y="2704"/>
                    <a:pt x="6731" y="2684"/>
                  </a:cubicBezTo>
                  <a:cubicBezTo>
                    <a:pt x="6738" y="2662"/>
                    <a:pt x="6746" y="2641"/>
                    <a:pt x="6753" y="2619"/>
                  </a:cubicBezTo>
                  <a:cubicBezTo>
                    <a:pt x="6763" y="2601"/>
                    <a:pt x="6773" y="2582"/>
                    <a:pt x="6783" y="2564"/>
                  </a:cubicBezTo>
                  <a:cubicBezTo>
                    <a:pt x="6793" y="2544"/>
                    <a:pt x="6802" y="2525"/>
                    <a:pt x="6812" y="2504"/>
                  </a:cubicBezTo>
                  <a:lnTo>
                    <a:pt x="6842" y="2444"/>
                  </a:lnTo>
                  <a:cubicBezTo>
                    <a:pt x="6854" y="2424"/>
                    <a:pt x="6867" y="2405"/>
                    <a:pt x="6879" y="2385"/>
                  </a:cubicBezTo>
                  <a:cubicBezTo>
                    <a:pt x="6889" y="2367"/>
                    <a:pt x="6899" y="2348"/>
                    <a:pt x="6909" y="2330"/>
                  </a:cubicBezTo>
                  <a:cubicBezTo>
                    <a:pt x="6921" y="2310"/>
                    <a:pt x="6934" y="2290"/>
                    <a:pt x="6946" y="2270"/>
                  </a:cubicBezTo>
                  <a:cubicBezTo>
                    <a:pt x="6961" y="2252"/>
                    <a:pt x="6975" y="2233"/>
                    <a:pt x="6990" y="2215"/>
                  </a:cubicBezTo>
                  <a:cubicBezTo>
                    <a:pt x="7002" y="2197"/>
                    <a:pt x="7015" y="2178"/>
                    <a:pt x="7027" y="2160"/>
                  </a:cubicBezTo>
                  <a:cubicBezTo>
                    <a:pt x="7042" y="2142"/>
                    <a:pt x="7057" y="2123"/>
                    <a:pt x="7072" y="2105"/>
                  </a:cubicBezTo>
                  <a:cubicBezTo>
                    <a:pt x="7084" y="2087"/>
                    <a:pt x="7097" y="2068"/>
                    <a:pt x="7109" y="2050"/>
                  </a:cubicBezTo>
                  <a:cubicBezTo>
                    <a:pt x="7126" y="2033"/>
                    <a:pt x="7144" y="2017"/>
                    <a:pt x="7161" y="2000"/>
                  </a:cubicBezTo>
                  <a:lnTo>
                    <a:pt x="7213" y="1945"/>
                  </a:lnTo>
                  <a:cubicBezTo>
                    <a:pt x="7228" y="1927"/>
                    <a:pt x="7242" y="1908"/>
                    <a:pt x="7257" y="1890"/>
                  </a:cubicBezTo>
                  <a:cubicBezTo>
                    <a:pt x="7274" y="1873"/>
                    <a:pt x="7292" y="1856"/>
                    <a:pt x="7309" y="1839"/>
                  </a:cubicBezTo>
                  <a:cubicBezTo>
                    <a:pt x="7326" y="1822"/>
                    <a:pt x="7344" y="1806"/>
                    <a:pt x="7361" y="1788"/>
                  </a:cubicBezTo>
                  <a:cubicBezTo>
                    <a:pt x="7378" y="1771"/>
                    <a:pt x="7396" y="1755"/>
                    <a:pt x="7413" y="1738"/>
                  </a:cubicBezTo>
                  <a:cubicBezTo>
                    <a:pt x="7433" y="1721"/>
                    <a:pt x="7452" y="1704"/>
                    <a:pt x="7472" y="1687"/>
                  </a:cubicBezTo>
                  <a:lnTo>
                    <a:pt x="7524" y="1641"/>
                  </a:lnTo>
                  <a:cubicBezTo>
                    <a:pt x="7544" y="1626"/>
                    <a:pt x="7563" y="1610"/>
                    <a:pt x="7583" y="1595"/>
                  </a:cubicBezTo>
                  <a:cubicBezTo>
                    <a:pt x="7603" y="1578"/>
                    <a:pt x="7590" y="1583"/>
                    <a:pt x="7610" y="1566"/>
                  </a:cubicBezTo>
                  <a:lnTo>
                    <a:pt x="5412" y="0"/>
                  </a:lnTo>
                  <a:lnTo>
                    <a:pt x="1423" y="1"/>
                  </a:lnTo>
                  <a:cubicBezTo>
                    <a:pt x="1391" y="44"/>
                    <a:pt x="1337" y="79"/>
                    <a:pt x="1305" y="122"/>
                  </a:cubicBezTo>
                  <a:cubicBezTo>
                    <a:pt x="1278" y="153"/>
                    <a:pt x="1250" y="183"/>
                    <a:pt x="1223" y="214"/>
                  </a:cubicBezTo>
                  <a:cubicBezTo>
                    <a:pt x="1198" y="246"/>
                    <a:pt x="1174" y="278"/>
                    <a:pt x="1149" y="310"/>
                  </a:cubicBezTo>
                  <a:lnTo>
                    <a:pt x="1067" y="407"/>
                  </a:lnTo>
                  <a:cubicBezTo>
                    <a:pt x="1045" y="439"/>
                    <a:pt x="1023" y="472"/>
                    <a:pt x="1001" y="504"/>
                  </a:cubicBezTo>
                  <a:cubicBezTo>
                    <a:pt x="976" y="536"/>
                    <a:pt x="952" y="568"/>
                    <a:pt x="927" y="600"/>
                  </a:cubicBezTo>
                  <a:cubicBezTo>
                    <a:pt x="905" y="634"/>
                    <a:pt x="882" y="667"/>
                    <a:pt x="860" y="701"/>
                  </a:cubicBezTo>
                  <a:cubicBezTo>
                    <a:pt x="838" y="735"/>
                    <a:pt x="815" y="768"/>
                    <a:pt x="793" y="802"/>
                  </a:cubicBezTo>
                  <a:cubicBezTo>
                    <a:pt x="773" y="834"/>
                    <a:pt x="754" y="866"/>
                    <a:pt x="734" y="898"/>
                  </a:cubicBezTo>
                  <a:cubicBezTo>
                    <a:pt x="714" y="932"/>
                    <a:pt x="695" y="965"/>
                    <a:pt x="675" y="999"/>
                  </a:cubicBezTo>
                  <a:cubicBezTo>
                    <a:pt x="655" y="1032"/>
                    <a:pt x="635" y="1066"/>
                    <a:pt x="615" y="1100"/>
                  </a:cubicBezTo>
                  <a:cubicBezTo>
                    <a:pt x="595" y="1135"/>
                    <a:pt x="576" y="1171"/>
                    <a:pt x="556" y="1206"/>
                  </a:cubicBezTo>
                  <a:cubicBezTo>
                    <a:pt x="539" y="1238"/>
                    <a:pt x="521" y="1270"/>
                    <a:pt x="504" y="1302"/>
                  </a:cubicBezTo>
                  <a:cubicBezTo>
                    <a:pt x="487" y="1337"/>
                    <a:pt x="469" y="1373"/>
                    <a:pt x="452" y="1408"/>
                  </a:cubicBezTo>
                  <a:cubicBezTo>
                    <a:pt x="437" y="1441"/>
                    <a:pt x="423" y="1475"/>
                    <a:pt x="408" y="1508"/>
                  </a:cubicBezTo>
                  <a:cubicBezTo>
                    <a:pt x="393" y="1543"/>
                    <a:pt x="378" y="1579"/>
                    <a:pt x="363" y="1614"/>
                  </a:cubicBezTo>
                  <a:cubicBezTo>
                    <a:pt x="348" y="1649"/>
                    <a:pt x="334" y="1684"/>
                    <a:pt x="319" y="1719"/>
                  </a:cubicBezTo>
                  <a:cubicBezTo>
                    <a:pt x="307" y="1754"/>
                    <a:pt x="294" y="1790"/>
                    <a:pt x="282" y="1826"/>
                  </a:cubicBezTo>
                  <a:cubicBezTo>
                    <a:pt x="267" y="1863"/>
                    <a:pt x="252" y="1899"/>
                    <a:pt x="237" y="1936"/>
                  </a:cubicBezTo>
                  <a:cubicBezTo>
                    <a:pt x="227" y="1971"/>
                    <a:pt x="218" y="2006"/>
                    <a:pt x="208" y="2041"/>
                  </a:cubicBezTo>
                  <a:cubicBezTo>
                    <a:pt x="195" y="2078"/>
                    <a:pt x="183" y="2114"/>
                    <a:pt x="170" y="2151"/>
                  </a:cubicBezTo>
                  <a:cubicBezTo>
                    <a:pt x="163" y="2188"/>
                    <a:pt x="155" y="2224"/>
                    <a:pt x="148" y="2261"/>
                  </a:cubicBezTo>
                  <a:cubicBezTo>
                    <a:pt x="138" y="2296"/>
                    <a:pt x="129" y="2331"/>
                    <a:pt x="119" y="2366"/>
                  </a:cubicBezTo>
                  <a:cubicBezTo>
                    <a:pt x="111" y="2403"/>
                    <a:pt x="104" y="2439"/>
                    <a:pt x="96" y="2476"/>
                  </a:cubicBezTo>
                  <a:cubicBezTo>
                    <a:pt x="89" y="2514"/>
                    <a:pt x="81" y="2550"/>
                    <a:pt x="74" y="2587"/>
                  </a:cubicBezTo>
                  <a:cubicBezTo>
                    <a:pt x="67" y="2625"/>
                    <a:pt x="59" y="2664"/>
                    <a:pt x="52" y="2702"/>
                  </a:cubicBezTo>
                  <a:cubicBezTo>
                    <a:pt x="47" y="2739"/>
                    <a:pt x="42" y="2775"/>
                    <a:pt x="37" y="2812"/>
                  </a:cubicBezTo>
                  <a:cubicBezTo>
                    <a:pt x="32" y="2849"/>
                    <a:pt x="27" y="2885"/>
                    <a:pt x="22" y="2922"/>
                  </a:cubicBezTo>
                  <a:cubicBezTo>
                    <a:pt x="20" y="2959"/>
                    <a:pt x="17" y="2995"/>
                    <a:pt x="15" y="3032"/>
                  </a:cubicBezTo>
                  <a:cubicBezTo>
                    <a:pt x="12" y="3070"/>
                    <a:pt x="10" y="3108"/>
                    <a:pt x="7" y="3146"/>
                  </a:cubicBezTo>
                  <a:cubicBezTo>
                    <a:pt x="5" y="3183"/>
                    <a:pt x="2" y="3219"/>
                    <a:pt x="0" y="3257"/>
                  </a:cubicBezTo>
                  <a:lnTo>
                    <a:pt x="0" y="3372"/>
                  </a:lnTo>
                  <a:cubicBezTo>
                    <a:pt x="2" y="3421"/>
                    <a:pt x="5" y="3470"/>
                    <a:pt x="7" y="3519"/>
                  </a:cubicBezTo>
                  <a:lnTo>
                    <a:pt x="7" y="3665"/>
                  </a:lnTo>
                  <a:lnTo>
                    <a:pt x="22" y="3803"/>
                  </a:lnTo>
                  <a:cubicBezTo>
                    <a:pt x="27" y="3850"/>
                    <a:pt x="32" y="3898"/>
                    <a:pt x="37" y="3946"/>
                  </a:cubicBezTo>
                  <a:cubicBezTo>
                    <a:pt x="44" y="3993"/>
                    <a:pt x="52" y="4041"/>
                    <a:pt x="59" y="4088"/>
                  </a:cubicBezTo>
                  <a:cubicBezTo>
                    <a:pt x="69" y="4135"/>
                    <a:pt x="79" y="4183"/>
                    <a:pt x="89" y="4230"/>
                  </a:cubicBezTo>
                  <a:cubicBezTo>
                    <a:pt x="99" y="4277"/>
                    <a:pt x="109" y="4325"/>
                    <a:pt x="119" y="4372"/>
                  </a:cubicBezTo>
                  <a:cubicBezTo>
                    <a:pt x="129" y="4419"/>
                    <a:pt x="138" y="4467"/>
                    <a:pt x="148" y="4514"/>
                  </a:cubicBezTo>
                  <a:cubicBezTo>
                    <a:pt x="163" y="4560"/>
                    <a:pt x="178" y="4607"/>
                    <a:pt x="193" y="4653"/>
                  </a:cubicBezTo>
                  <a:cubicBezTo>
                    <a:pt x="208" y="4699"/>
                    <a:pt x="222" y="4744"/>
                    <a:pt x="237" y="4790"/>
                  </a:cubicBezTo>
                  <a:lnTo>
                    <a:pt x="282" y="4928"/>
                  </a:lnTo>
                  <a:cubicBezTo>
                    <a:pt x="299" y="4974"/>
                    <a:pt x="317" y="5019"/>
                    <a:pt x="334" y="5065"/>
                  </a:cubicBezTo>
                  <a:cubicBezTo>
                    <a:pt x="354" y="5109"/>
                    <a:pt x="373" y="5154"/>
                    <a:pt x="393" y="5198"/>
                  </a:cubicBezTo>
                  <a:cubicBezTo>
                    <a:pt x="413" y="5242"/>
                    <a:pt x="432" y="5287"/>
                    <a:pt x="452" y="5331"/>
                  </a:cubicBezTo>
                  <a:cubicBezTo>
                    <a:pt x="474" y="5376"/>
                    <a:pt x="497" y="5421"/>
                    <a:pt x="519" y="5465"/>
                  </a:cubicBezTo>
                  <a:cubicBezTo>
                    <a:pt x="541" y="5509"/>
                    <a:pt x="564" y="5554"/>
                    <a:pt x="586" y="5598"/>
                  </a:cubicBezTo>
                  <a:lnTo>
                    <a:pt x="660" y="5726"/>
                  </a:lnTo>
                  <a:cubicBezTo>
                    <a:pt x="687" y="5769"/>
                    <a:pt x="714" y="5811"/>
                    <a:pt x="741" y="5854"/>
                  </a:cubicBezTo>
                  <a:lnTo>
                    <a:pt x="823" y="5987"/>
                  </a:lnTo>
                  <a:cubicBezTo>
                    <a:pt x="850" y="6028"/>
                    <a:pt x="877" y="6070"/>
                    <a:pt x="904" y="6112"/>
                  </a:cubicBezTo>
                  <a:cubicBezTo>
                    <a:pt x="934" y="6153"/>
                    <a:pt x="963" y="6195"/>
                    <a:pt x="993" y="6236"/>
                  </a:cubicBezTo>
                  <a:cubicBezTo>
                    <a:pt x="1025" y="6276"/>
                    <a:pt x="1058" y="6315"/>
                    <a:pt x="1090" y="6355"/>
                  </a:cubicBezTo>
                  <a:cubicBezTo>
                    <a:pt x="1122" y="6396"/>
                    <a:pt x="1154" y="6438"/>
                    <a:pt x="1186" y="6479"/>
                  </a:cubicBezTo>
                  <a:cubicBezTo>
                    <a:pt x="1221" y="6520"/>
                    <a:pt x="1255" y="6561"/>
                    <a:pt x="1290" y="6602"/>
                  </a:cubicBezTo>
                  <a:lnTo>
                    <a:pt x="1386" y="6722"/>
                  </a:lnTo>
                  <a:lnTo>
                    <a:pt x="1497" y="6842"/>
                  </a:lnTo>
                  <a:lnTo>
                    <a:pt x="1609" y="6956"/>
                  </a:lnTo>
                  <a:cubicBezTo>
                    <a:pt x="1648" y="6996"/>
                    <a:pt x="1688" y="7035"/>
                    <a:pt x="1727" y="7075"/>
                  </a:cubicBezTo>
                  <a:cubicBezTo>
                    <a:pt x="1767" y="7113"/>
                    <a:pt x="1806" y="7152"/>
                    <a:pt x="1846" y="7190"/>
                  </a:cubicBezTo>
                  <a:cubicBezTo>
                    <a:pt x="1885" y="7227"/>
                    <a:pt x="1925" y="7263"/>
                    <a:pt x="1964" y="7300"/>
                  </a:cubicBezTo>
                  <a:lnTo>
                    <a:pt x="2090" y="7410"/>
                  </a:lnTo>
                  <a:lnTo>
                    <a:pt x="2224" y="7521"/>
                  </a:lnTo>
                  <a:lnTo>
                    <a:pt x="2350" y="7631"/>
                  </a:lnTo>
                  <a:lnTo>
                    <a:pt x="2491" y="7736"/>
                  </a:lnTo>
                  <a:lnTo>
                    <a:pt x="2617" y="7842"/>
                  </a:lnTo>
                  <a:cubicBezTo>
                    <a:pt x="2666" y="7876"/>
                    <a:pt x="2716" y="7909"/>
                    <a:pt x="2765" y="7943"/>
                  </a:cubicBezTo>
                  <a:lnTo>
                    <a:pt x="2906" y="8043"/>
                  </a:lnTo>
                  <a:cubicBezTo>
                    <a:pt x="2955" y="8077"/>
                    <a:pt x="3005" y="8110"/>
                    <a:pt x="3054" y="8144"/>
                  </a:cubicBezTo>
                  <a:lnTo>
                    <a:pt x="3210" y="8242"/>
                  </a:lnTo>
                  <a:lnTo>
                    <a:pt x="3358" y="8338"/>
                  </a:lnTo>
                  <a:lnTo>
                    <a:pt x="3514" y="8434"/>
                  </a:lnTo>
                  <a:lnTo>
                    <a:pt x="3677" y="8526"/>
                  </a:lnTo>
                  <a:lnTo>
                    <a:pt x="3840" y="8613"/>
                  </a:lnTo>
                  <a:lnTo>
                    <a:pt x="4010" y="8704"/>
                  </a:lnTo>
                  <a:lnTo>
                    <a:pt x="4181" y="8782"/>
                  </a:lnTo>
                  <a:lnTo>
                    <a:pt x="4351" y="8869"/>
                  </a:lnTo>
                  <a:lnTo>
                    <a:pt x="4522" y="8948"/>
                  </a:lnTo>
                  <a:lnTo>
                    <a:pt x="4700" y="9031"/>
                  </a:lnTo>
                  <a:lnTo>
                    <a:pt x="4878" y="9109"/>
                  </a:lnTo>
                  <a:lnTo>
                    <a:pt x="5063" y="9182"/>
                  </a:lnTo>
                  <a:lnTo>
                    <a:pt x="5248" y="9260"/>
                  </a:lnTo>
                  <a:lnTo>
                    <a:pt x="5426" y="9329"/>
                  </a:lnTo>
                  <a:lnTo>
                    <a:pt x="5619" y="9397"/>
                  </a:lnTo>
                  <a:lnTo>
                    <a:pt x="5812" y="9466"/>
                  </a:lnTo>
                  <a:lnTo>
                    <a:pt x="6004" y="9530"/>
                  </a:lnTo>
                  <a:lnTo>
                    <a:pt x="6205" y="9595"/>
                  </a:lnTo>
                  <a:lnTo>
                    <a:pt x="6397" y="9655"/>
                  </a:lnTo>
                  <a:lnTo>
                    <a:pt x="6605" y="9710"/>
                  </a:lnTo>
                  <a:lnTo>
                    <a:pt x="6805" y="9765"/>
                  </a:lnTo>
                  <a:lnTo>
                    <a:pt x="7005" y="9820"/>
                  </a:lnTo>
                  <a:lnTo>
                    <a:pt x="7213" y="9871"/>
                  </a:lnTo>
                  <a:lnTo>
                    <a:pt x="7420" y="9916"/>
                  </a:lnTo>
                  <a:lnTo>
                    <a:pt x="7628" y="9962"/>
                  </a:lnTo>
                  <a:lnTo>
                    <a:pt x="7835" y="10008"/>
                  </a:lnTo>
                  <a:cubicBezTo>
                    <a:pt x="7736" y="9258"/>
                    <a:pt x="7638" y="8509"/>
                    <a:pt x="7539" y="7759"/>
                  </a:cubicBezTo>
                  <a:lnTo>
                    <a:pt x="10000" y="6144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/>
            </a:p>
          </p:txBody>
        </p:sp>
        <p:sp>
          <p:nvSpPr>
            <p:cNvPr id="66" name="Freeform 6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-53453586" y="-1173127"/>
              <a:ext cx="60999224" cy="43890433"/>
            </a:xfrm>
            <a:custGeom>
              <a:avLst/>
              <a:gdLst>
                <a:gd name="T0" fmla="*/ 2147483647 w 5608"/>
                <a:gd name="T1" fmla="*/ 2147483647 h 4036"/>
                <a:gd name="T2" fmla="*/ 2147483647 w 5608"/>
                <a:gd name="T3" fmla="*/ 2147483647 h 4036"/>
                <a:gd name="T4" fmla="*/ 2147483647 w 5608"/>
                <a:gd name="T5" fmla="*/ 2147483647 h 4036"/>
                <a:gd name="T6" fmla="*/ 2147483647 w 5608"/>
                <a:gd name="T7" fmla="*/ 2147483647 h 4036"/>
                <a:gd name="T8" fmla="*/ 2147483647 w 5608"/>
                <a:gd name="T9" fmla="*/ 2147483647 h 4036"/>
                <a:gd name="T10" fmla="*/ 2147483647 w 5608"/>
                <a:gd name="T11" fmla="*/ 2147483647 h 4036"/>
                <a:gd name="T12" fmla="*/ 2147483647 w 5608"/>
                <a:gd name="T13" fmla="*/ 2147483647 h 4036"/>
                <a:gd name="T14" fmla="*/ 2147483647 w 5608"/>
                <a:gd name="T15" fmla="*/ 2147483647 h 4036"/>
                <a:gd name="T16" fmla="*/ 2147483647 w 5608"/>
                <a:gd name="T17" fmla="*/ 2147483647 h 4036"/>
                <a:gd name="T18" fmla="*/ 2147483647 w 5608"/>
                <a:gd name="T19" fmla="*/ 2147483647 h 4036"/>
                <a:gd name="T20" fmla="*/ 2147483647 w 5608"/>
                <a:gd name="T21" fmla="*/ 2147483647 h 4036"/>
                <a:gd name="T22" fmla="*/ 2147483647 w 5608"/>
                <a:gd name="T23" fmla="*/ 2147483647 h 4036"/>
                <a:gd name="T24" fmla="*/ 2147483647 w 5608"/>
                <a:gd name="T25" fmla="*/ 2147483647 h 4036"/>
                <a:gd name="T26" fmla="*/ 2147483647 w 5608"/>
                <a:gd name="T27" fmla="*/ 2147483647 h 4036"/>
                <a:gd name="T28" fmla="*/ 2147483647 w 5608"/>
                <a:gd name="T29" fmla="*/ 2147483647 h 4036"/>
                <a:gd name="T30" fmla="*/ 2147483647 w 5608"/>
                <a:gd name="T31" fmla="*/ 2147483647 h 4036"/>
                <a:gd name="T32" fmla="*/ 2147483647 w 5608"/>
                <a:gd name="T33" fmla="*/ 2147483647 h 4036"/>
                <a:gd name="T34" fmla="*/ 2147483647 w 5608"/>
                <a:gd name="T35" fmla="*/ 2147483647 h 4036"/>
                <a:gd name="T36" fmla="*/ 2147483647 w 5608"/>
                <a:gd name="T37" fmla="*/ 2147483647 h 4036"/>
                <a:gd name="T38" fmla="*/ 2147483647 w 5608"/>
                <a:gd name="T39" fmla="*/ 2147483647 h 4036"/>
                <a:gd name="T40" fmla="*/ 2147483647 w 5608"/>
                <a:gd name="T41" fmla="*/ 2147483647 h 4036"/>
                <a:gd name="T42" fmla="*/ 2147483647 w 5608"/>
                <a:gd name="T43" fmla="*/ 2147483647 h 4036"/>
                <a:gd name="T44" fmla="*/ 2147483647 w 5608"/>
                <a:gd name="T45" fmla="*/ 2147483647 h 4036"/>
                <a:gd name="T46" fmla="*/ 2147483647 w 5608"/>
                <a:gd name="T47" fmla="*/ 2147483647 h 4036"/>
                <a:gd name="T48" fmla="*/ 2147483647 w 5608"/>
                <a:gd name="T49" fmla="*/ 2147483647 h 4036"/>
                <a:gd name="T50" fmla="*/ 2147483647 w 5608"/>
                <a:gd name="T51" fmla="*/ 2147483647 h 4036"/>
                <a:gd name="T52" fmla="*/ 2147483647 w 5608"/>
                <a:gd name="T53" fmla="*/ 2147483647 h 4036"/>
                <a:gd name="T54" fmla="*/ 2147483647 w 5608"/>
                <a:gd name="T55" fmla="*/ 2147483647 h 4036"/>
                <a:gd name="T56" fmla="*/ 2147483647 w 5608"/>
                <a:gd name="T57" fmla="*/ 2147483647 h 4036"/>
                <a:gd name="T58" fmla="*/ 2147483647 w 5608"/>
                <a:gd name="T59" fmla="*/ 2147483647 h 4036"/>
                <a:gd name="T60" fmla="*/ 2147483647 w 5608"/>
                <a:gd name="T61" fmla="*/ 2147483647 h 4036"/>
                <a:gd name="T62" fmla="*/ 2147483647 w 5608"/>
                <a:gd name="T63" fmla="*/ 2147483647 h 4036"/>
                <a:gd name="T64" fmla="*/ 2147483647 w 5608"/>
                <a:gd name="T65" fmla="*/ 2147483647 h 4036"/>
                <a:gd name="T66" fmla="*/ 2147483647 w 5608"/>
                <a:gd name="T67" fmla="*/ 2147483647 h 4036"/>
                <a:gd name="T68" fmla="*/ 2147483647 w 5608"/>
                <a:gd name="T69" fmla="*/ 2147483647 h 4036"/>
                <a:gd name="T70" fmla="*/ 2147483647 w 5608"/>
                <a:gd name="T71" fmla="*/ 2147483647 h 4036"/>
                <a:gd name="T72" fmla="*/ 2147483647 w 5608"/>
                <a:gd name="T73" fmla="*/ 2147483647 h 4036"/>
                <a:gd name="T74" fmla="*/ 2147483647 w 5608"/>
                <a:gd name="T75" fmla="*/ 2147483647 h 4036"/>
                <a:gd name="T76" fmla="*/ 2147483647 w 5608"/>
                <a:gd name="T77" fmla="*/ 2147483647 h 4036"/>
                <a:gd name="T78" fmla="*/ 2147483647 w 5608"/>
                <a:gd name="T79" fmla="*/ 2147483647 h 4036"/>
                <a:gd name="T80" fmla="*/ 2147483647 w 5608"/>
                <a:gd name="T81" fmla="*/ 2147483647 h 4036"/>
                <a:gd name="T82" fmla="*/ 2147483647 w 5608"/>
                <a:gd name="T83" fmla="*/ 2147483647 h 4036"/>
                <a:gd name="T84" fmla="*/ 2147483647 w 5608"/>
                <a:gd name="T85" fmla="*/ 2147483647 h 4036"/>
                <a:gd name="T86" fmla="*/ 2147483647 w 5608"/>
                <a:gd name="T87" fmla="*/ 2147483647 h 4036"/>
                <a:gd name="T88" fmla="*/ 2147483647 w 5608"/>
                <a:gd name="T89" fmla="*/ 2147483647 h 4036"/>
                <a:gd name="T90" fmla="*/ 2147483647 w 5608"/>
                <a:gd name="T91" fmla="*/ 2147483647 h 4036"/>
                <a:gd name="T92" fmla="*/ 2147483647 w 5608"/>
                <a:gd name="T93" fmla="*/ 2147483647 h 4036"/>
                <a:gd name="T94" fmla="*/ 2147483647 w 5608"/>
                <a:gd name="T95" fmla="*/ 2147483647 h 4036"/>
                <a:gd name="T96" fmla="*/ 2147483647 w 5608"/>
                <a:gd name="T97" fmla="*/ 2147483647 h 4036"/>
                <a:gd name="T98" fmla="*/ 2147483647 w 5608"/>
                <a:gd name="T99" fmla="*/ 2147483647 h 4036"/>
                <a:gd name="T100" fmla="*/ 2147483647 w 5608"/>
                <a:gd name="T101" fmla="*/ 2147483647 h 4036"/>
                <a:gd name="T102" fmla="*/ 2147483647 w 5608"/>
                <a:gd name="T103" fmla="*/ 2147483647 h 4036"/>
                <a:gd name="T104" fmla="*/ 2147483647 w 5608"/>
                <a:gd name="T105" fmla="*/ 2147483647 h 40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608"/>
                <a:gd name="T160" fmla="*/ 0 h 4036"/>
                <a:gd name="T161" fmla="*/ 5608 w 5608"/>
                <a:gd name="T162" fmla="*/ 4036 h 4036"/>
                <a:gd name="connsiteX0" fmla="*/ 5615 w 9995"/>
                <a:gd name="connsiteY0" fmla="*/ 0 h 10000"/>
                <a:gd name="connsiteX1" fmla="*/ 5615 w 9995"/>
                <a:gd name="connsiteY1" fmla="*/ 0 h 10000"/>
                <a:gd name="connsiteX2" fmla="*/ 5606 w 9995"/>
                <a:gd name="connsiteY2" fmla="*/ 99 h 10000"/>
                <a:gd name="connsiteX3" fmla="*/ 5592 w 9995"/>
                <a:gd name="connsiteY3" fmla="*/ 201 h 10000"/>
                <a:gd name="connsiteX4" fmla="*/ 5580 w 9995"/>
                <a:gd name="connsiteY4" fmla="*/ 300 h 10000"/>
                <a:gd name="connsiteX5" fmla="*/ 5565 w 9995"/>
                <a:gd name="connsiteY5" fmla="*/ 394 h 10000"/>
                <a:gd name="connsiteX6" fmla="*/ 5547 w 9995"/>
                <a:gd name="connsiteY6" fmla="*/ 491 h 10000"/>
                <a:gd name="connsiteX7" fmla="*/ 5528 w 9995"/>
                <a:gd name="connsiteY7" fmla="*/ 587 h 10000"/>
                <a:gd name="connsiteX8" fmla="*/ 5508 w 9995"/>
                <a:gd name="connsiteY8" fmla="*/ 684 h 10000"/>
                <a:gd name="connsiteX9" fmla="*/ 5487 w 9995"/>
                <a:gd name="connsiteY9" fmla="*/ 778 h 10000"/>
                <a:gd name="connsiteX10" fmla="*/ 5465 w 9995"/>
                <a:gd name="connsiteY10" fmla="*/ 870 h 10000"/>
                <a:gd name="connsiteX11" fmla="*/ 5439 w 9995"/>
                <a:gd name="connsiteY11" fmla="*/ 961 h 10000"/>
                <a:gd name="connsiteX12" fmla="*/ 5415 w 9995"/>
                <a:gd name="connsiteY12" fmla="*/ 1053 h 10000"/>
                <a:gd name="connsiteX13" fmla="*/ 5387 w 9995"/>
                <a:gd name="connsiteY13" fmla="*/ 1145 h 10000"/>
                <a:gd name="connsiteX14" fmla="*/ 5358 w 9995"/>
                <a:gd name="connsiteY14" fmla="*/ 1231 h 10000"/>
                <a:gd name="connsiteX15" fmla="*/ 5328 w 9995"/>
                <a:gd name="connsiteY15" fmla="*/ 1318 h 10000"/>
                <a:gd name="connsiteX16" fmla="*/ 5298 w 9995"/>
                <a:gd name="connsiteY16" fmla="*/ 1405 h 10000"/>
                <a:gd name="connsiteX17" fmla="*/ 5266 w 9995"/>
                <a:gd name="connsiteY17" fmla="*/ 1494 h 10000"/>
                <a:gd name="connsiteX18" fmla="*/ 5232 w 9995"/>
                <a:gd name="connsiteY18" fmla="*/ 1578 h 10000"/>
                <a:gd name="connsiteX19" fmla="*/ 5196 w 9995"/>
                <a:gd name="connsiteY19" fmla="*/ 1663 h 10000"/>
                <a:gd name="connsiteX20" fmla="*/ 5160 w 9995"/>
                <a:gd name="connsiteY20" fmla="*/ 1742 h 10000"/>
                <a:gd name="connsiteX21" fmla="*/ 5121 w 9995"/>
                <a:gd name="connsiteY21" fmla="*/ 1824 h 10000"/>
                <a:gd name="connsiteX22" fmla="*/ 5082 w 9995"/>
                <a:gd name="connsiteY22" fmla="*/ 1903 h 10000"/>
                <a:gd name="connsiteX23" fmla="*/ 5043 w 9995"/>
                <a:gd name="connsiteY23" fmla="*/ 1985 h 10000"/>
                <a:gd name="connsiteX24" fmla="*/ 5002 w 9995"/>
                <a:gd name="connsiteY24" fmla="*/ 2059 h 10000"/>
                <a:gd name="connsiteX25" fmla="*/ 4959 w 9995"/>
                <a:gd name="connsiteY25" fmla="*/ 2133 h 10000"/>
                <a:gd name="connsiteX26" fmla="*/ 4914 w 9995"/>
                <a:gd name="connsiteY26" fmla="*/ 2210 h 10000"/>
                <a:gd name="connsiteX27" fmla="*/ 4870 w 9995"/>
                <a:gd name="connsiteY27" fmla="*/ 2282 h 10000"/>
                <a:gd name="connsiteX28" fmla="*/ 4823 w 9995"/>
                <a:gd name="connsiteY28" fmla="*/ 2354 h 10000"/>
                <a:gd name="connsiteX29" fmla="*/ 4777 w 9995"/>
                <a:gd name="connsiteY29" fmla="*/ 2426 h 10000"/>
                <a:gd name="connsiteX30" fmla="*/ 4729 w 9995"/>
                <a:gd name="connsiteY30" fmla="*/ 2495 h 10000"/>
                <a:gd name="connsiteX31" fmla="*/ 4679 w 9995"/>
                <a:gd name="connsiteY31" fmla="*/ 2562 h 10000"/>
                <a:gd name="connsiteX32" fmla="*/ 4629 w 9995"/>
                <a:gd name="connsiteY32" fmla="*/ 2626 h 10000"/>
                <a:gd name="connsiteX33" fmla="*/ 4577 w 9995"/>
                <a:gd name="connsiteY33" fmla="*/ 2691 h 10000"/>
                <a:gd name="connsiteX34" fmla="*/ 4526 w 9995"/>
                <a:gd name="connsiteY34" fmla="*/ 2753 h 10000"/>
                <a:gd name="connsiteX35" fmla="*/ 4470 w 9995"/>
                <a:gd name="connsiteY35" fmla="*/ 2817 h 10000"/>
                <a:gd name="connsiteX36" fmla="*/ 4417 w 9995"/>
                <a:gd name="connsiteY36" fmla="*/ 2874 h 10000"/>
                <a:gd name="connsiteX37" fmla="*/ 4362 w 9995"/>
                <a:gd name="connsiteY37" fmla="*/ 2934 h 10000"/>
                <a:gd name="connsiteX38" fmla="*/ 4305 w 9995"/>
                <a:gd name="connsiteY38" fmla="*/ 2988 h 10000"/>
                <a:gd name="connsiteX39" fmla="*/ 4248 w 9995"/>
                <a:gd name="connsiteY39" fmla="*/ 3043 h 10000"/>
                <a:gd name="connsiteX40" fmla="*/ 4190 w 9995"/>
                <a:gd name="connsiteY40" fmla="*/ 3097 h 10000"/>
                <a:gd name="connsiteX41" fmla="*/ 4132 w 9995"/>
                <a:gd name="connsiteY41" fmla="*/ 3149 h 10000"/>
                <a:gd name="connsiteX42" fmla="*/ 4071 w 9995"/>
                <a:gd name="connsiteY42" fmla="*/ 3196 h 10000"/>
                <a:gd name="connsiteX43" fmla="*/ 4010 w 9995"/>
                <a:gd name="connsiteY43" fmla="*/ 3243 h 10000"/>
                <a:gd name="connsiteX44" fmla="*/ 3950 w 9995"/>
                <a:gd name="connsiteY44" fmla="*/ 3290 h 10000"/>
                <a:gd name="connsiteX45" fmla="*/ 3887 w 9995"/>
                <a:gd name="connsiteY45" fmla="*/ 3335 h 10000"/>
                <a:gd name="connsiteX46" fmla="*/ 3823 w 9995"/>
                <a:gd name="connsiteY46" fmla="*/ 3377 h 10000"/>
                <a:gd name="connsiteX47" fmla="*/ 3759 w 9995"/>
                <a:gd name="connsiteY47" fmla="*/ 3417 h 10000"/>
                <a:gd name="connsiteX48" fmla="*/ 3695 w 9995"/>
                <a:gd name="connsiteY48" fmla="*/ 3454 h 10000"/>
                <a:gd name="connsiteX49" fmla="*/ 3629 w 9995"/>
                <a:gd name="connsiteY49" fmla="*/ 3491 h 10000"/>
                <a:gd name="connsiteX50" fmla="*/ 3565 w 9995"/>
                <a:gd name="connsiteY50" fmla="*/ 3523 h 10000"/>
                <a:gd name="connsiteX51" fmla="*/ 3497 w 9995"/>
                <a:gd name="connsiteY51" fmla="*/ 3558 h 10000"/>
                <a:gd name="connsiteX52" fmla="*/ 3429 w 9995"/>
                <a:gd name="connsiteY52" fmla="*/ 3588 h 10000"/>
                <a:gd name="connsiteX53" fmla="*/ 3361 w 9995"/>
                <a:gd name="connsiteY53" fmla="*/ 3615 h 10000"/>
                <a:gd name="connsiteX54" fmla="*/ 3292 w 9995"/>
                <a:gd name="connsiteY54" fmla="*/ 3642 h 10000"/>
                <a:gd name="connsiteX55" fmla="*/ 3222 w 9995"/>
                <a:gd name="connsiteY55" fmla="*/ 3665 h 10000"/>
                <a:gd name="connsiteX56" fmla="*/ 3153 w 9995"/>
                <a:gd name="connsiteY56" fmla="*/ 3687 h 10000"/>
                <a:gd name="connsiteX57" fmla="*/ 3081 w 9995"/>
                <a:gd name="connsiteY57" fmla="*/ 3707 h 10000"/>
                <a:gd name="connsiteX58" fmla="*/ 3012 w 9995"/>
                <a:gd name="connsiteY58" fmla="*/ 3724 h 10000"/>
                <a:gd name="connsiteX59" fmla="*/ 2940 w 9995"/>
                <a:gd name="connsiteY59" fmla="*/ 3739 h 10000"/>
                <a:gd name="connsiteX60" fmla="*/ 2867 w 9995"/>
                <a:gd name="connsiteY60" fmla="*/ 3754 h 10000"/>
                <a:gd name="connsiteX61" fmla="*/ 2796 w 9995"/>
                <a:gd name="connsiteY61" fmla="*/ 3761 h 10000"/>
                <a:gd name="connsiteX62" fmla="*/ 2721 w 9995"/>
                <a:gd name="connsiteY62" fmla="*/ 3771 h 10000"/>
                <a:gd name="connsiteX63" fmla="*/ 2648 w 9995"/>
                <a:gd name="connsiteY63" fmla="*/ 3776 h 10000"/>
                <a:gd name="connsiteX64" fmla="*/ 2575 w 9995"/>
                <a:gd name="connsiteY64" fmla="*/ 3781 h 10000"/>
                <a:gd name="connsiteX65" fmla="*/ 2498 w 9995"/>
                <a:gd name="connsiteY65" fmla="*/ 3781 h 10000"/>
                <a:gd name="connsiteX66" fmla="*/ 2393 w 9995"/>
                <a:gd name="connsiteY66" fmla="*/ 3781 h 10000"/>
                <a:gd name="connsiteX67" fmla="*/ 2284 w 9995"/>
                <a:gd name="connsiteY67" fmla="*/ 3771 h 10000"/>
                <a:gd name="connsiteX68" fmla="*/ 2179 w 9995"/>
                <a:gd name="connsiteY68" fmla="*/ 3759 h 10000"/>
                <a:gd name="connsiteX69" fmla="*/ 2074 w 9995"/>
                <a:gd name="connsiteY69" fmla="*/ 3741 h 10000"/>
                <a:gd name="connsiteX70" fmla="*/ 1970 w 9995"/>
                <a:gd name="connsiteY70" fmla="*/ 3719 h 10000"/>
                <a:gd name="connsiteX71" fmla="*/ 1867 w 9995"/>
                <a:gd name="connsiteY71" fmla="*/ 3692 h 10000"/>
                <a:gd name="connsiteX72" fmla="*/ 1765 w 9995"/>
                <a:gd name="connsiteY72" fmla="*/ 3662 h 10000"/>
                <a:gd name="connsiteX73" fmla="*/ 1665 w 9995"/>
                <a:gd name="connsiteY73" fmla="*/ 3627 h 10000"/>
                <a:gd name="connsiteX74" fmla="*/ 0 w 9995"/>
                <a:gd name="connsiteY74" fmla="*/ 6085 h 10000"/>
                <a:gd name="connsiteX75" fmla="*/ 209 w 9995"/>
                <a:gd name="connsiteY75" fmla="*/ 9512 h 10000"/>
                <a:gd name="connsiteX76" fmla="*/ 344 w 9995"/>
                <a:gd name="connsiteY76" fmla="*/ 9569 h 10000"/>
                <a:gd name="connsiteX77" fmla="*/ 481 w 9995"/>
                <a:gd name="connsiteY77" fmla="*/ 9623 h 10000"/>
                <a:gd name="connsiteX78" fmla="*/ 621 w 9995"/>
                <a:gd name="connsiteY78" fmla="*/ 9673 h 10000"/>
                <a:gd name="connsiteX79" fmla="*/ 758 w 9995"/>
                <a:gd name="connsiteY79" fmla="*/ 9720 h 10000"/>
                <a:gd name="connsiteX80" fmla="*/ 899 w 9995"/>
                <a:gd name="connsiteY80" fmla="*/ 9765 h 10000"/>
                <a:gd name="connsiteX81" fmla="*/ 1040 w 9995"/>
                <a:gd name="connsiteY81" fmla="*/ 9804 h 10000"/>
                <a:gd name="connsiteX82" fmla="*/ 1182 w 9995"/>
                <a:gd name="connsiteY82" fmla="*/ 9839 h 10000"/>
                <a:gd name="connsiteX83" fmla="*/ 1325 w 9995"/>
                <a:gd name="connsiteY83" fmla="*/ 9874 h 10000"/>
                <a:gd name="connsiteX84" fmla="*/ 1471 w 9995"/>
                <a:gd name="connsiteY84" fmla="*/ 9903 h 10000"/>
                <a:gd name="connsiteX85" fmla="*/ 1614 w 9995"/>
                <a:gd name="connsiteY85" fmla="*/ 9926 h 10000"/>
                <a:gd name="connsiteX86" fmla="*/ 1760 w 9995"/>
                <a:gd name="connsiteY86" fmla="*/ 9948 h 10000"/>
                <a:gd name="connsiteX87" fmla="*/ 1906 w 9995"/>
                <a:gd name="connsiteY87" fmla="*/ 9965 h 10000"/>
                <a:gd name="connsiteX88" fmla="*/ 2052 w 9995"/>
                <a:gd name="connsiteY88" fmla="*/ 9980 h 10000"/>
                <a:gd name="connsiteX89" fmla="*/ 2202 w 9995"/>
                <a:gd name="connsiteY89" fmla="*/ 9990 h 10000"/>
                <a:gd name="connsiteX90" fmla="*/ 2350 w 9995"/>
                <a:gd name="connsiteY90" fmla="*/ 9995 h 10000"/>
                <a:gd name="connsiteX91" fmla="*/ 2498 w 9995"/>
                <a:gd name="connsiteY91" fmla="*/ 10000 h 10000"/>
                <a:gd name="connsiteX92" fmla="*/ 2677 w 9995"/>
                <a:gd name="connsiteY92" fmla="*/ 9995 h 10000"/>
                <a:gd name="connsiteX93" fmla="*/ 2850 w 9995"/>
                <a:gd name="connsiteY93" fmla="*/ 9988 h 10000"/>
                <a:gd name="connsiteX94" fmla="*/ 3024 w 9995"/>
                <a:gd name="connsiteY94" fmla="*/ 9975 h 10000"/>
                <a:gd name="connsiteX95" fmla="*/ 3195 w 9995"/>
                <a:gd name="connsiteY95" fmla="*/ 9953 h 10000"/>
                <a:gd name="connsiteX96" fmla="*/ 3368 w 9995"/>
                <a:gd name="connsiteY96" fmla="*/ 9931 h 10000"/>
                <a:gd name="connsiteX97" fmla="*/ 3538 w 9995"/>
                <a:gd name="connsiteY97" fmla="*/ 9898 h 10000"/>
                <a:gd name="connsiteX98" fmla="*/ 3709 w 9995"/>
                <a:gd name="connsiteY98" fmla="*/ 9866 h 10000"/>
                <a:gd name="connsiteX99" fmla="*/ 3877 w 9995"/>
                <a:gd name="connsiteY99" fmla="*/ 9824 h 10000"/>
                <a:gd name="connsiteX100" fmla="*/ 4042 w 9995"/>
                <a:gd name="connsiteY100" fmla="*/ 9779 h 10000"/>
                <a:gd name="connsiteX101" fmla="*/ 4210 w 9995"/>
                <a:gd name="connsiteY101" fmla="*/ 9730 h 10000"/>
                <a:gd name="connsiteX102" fmla="*/ 4372 w 9995"/>
                <a:gd name="connsiteY102" fmla="*/ 9673 h 10000"/>
                <a:gd name="connsiteX103" fmla="*/ 4536 w 9995"/>
                <a:gd name="connsiteY103" fmla="*/ 9616 h 10000"/>
                <a:gd name="connsiteX104" fmla="*/ 4697 w 9995"/>
                <a:gd name="connsiteY104" fmla="*/ 9552 h 10000"/>
                <a:gd name="connsiteX105" fmla="*/ 4857 w 9995"/>
                <a:gd name="connsiteY105" fmla="*/ 9482 h 10000"/>
                <a:gd name="connsiteX106" fmla="*/ 5014 w 9995"/>
                <a:gd name="connsiteY106" fmla="*/ 9405 h 10000"/>
                <a:gd name="connsiteX107" fmla="*/ 5171 w 9995"/>
                <a:gd name="connsiteY107" fmla="*/ 9329 h 10000"/>
                <a:gd name="connsiteX108" fmla="*/ 5326 w 9995"/>
                <a:gd name="connsiteY108" fmla="*/ 9244 h 10000"/>
                <a:gd name="connsiteX109" fmla="*/ 5480 w 9995"/>
                <a:gd name="connsiteY109" fmla="*/ 9158 h 10000"/>
                <a:gd name="connsiteX110" fmla="*/ 5631 w 9995"/>
                <a:gd name="connsiteY110" fmla="*/ 9063 h 10000"/>
                <a:gd name="connsiteX111" fmla="*/ 5781 w 9995"/>
                <a:gd name="connsiteY111" fmla="*/ 8967 h 10000"/>
                <a:gd name="connsiteX112" fmla="*/ 5931 w 9995"/>
                <a:gd name="connsiteY112" fmla="*/ 8865 h 10000"/>
                <a:gd name="connsiteX113" fmla="*/ 6075 w 9995"/>
                <a:gd name="connsiteY113" fmla="*/ 8759 h 10000"/>
                <a:gd name="connsiteX114" fmla="*/ 6221 w 9995"/>
                <a:gd name="connsiteY114" fmla="*/ 8652 h 10000"/>
                <a:gd name="connsiteX115" fmla="*/ 6364 w 9995"/>
                <a:gd name="connsiteY115" fmla="*/ 8536 h 10000"/>
                <a:gd name="connsiteX116" fmla="*/ 6505 w 9995"/>
                <a:gd name="connsiteY116" fmla="*/ 8417 h 10000"/>
                <a:gd name="connsiteX117" fmla="*/ 6642 w 9995"/>
                <a:gd name="connsiteY117" fmla="*/ 8295 h 10000"/>
                <a:gd name="connsiteX118" fmla="*/ 6780 w 9995"/>
                <a:gd name="connsiteY118" fmla="*/ 8169 h 10000"/>
                <a:gd name="connsiteX119" fmla="*/ 6913 w 9995"/>
                <a:gd name="connsiteY119" fmla="*/ 8040 h 10000"/>
                <a:gd name="connsiteX120" fmla="*/ 7045 w 9995"/>
                <a:gd name="connsiteY120" fmla="*/ 7904 h 10000"/>
                <a:gd name="connsiteX121" fmla="*/ 7175 w 9995"/>
                <a:gd name="connsiteY121" fmla="*/ 7768 h 10000"/>
                <a:gd name="connsiteX122" fmla="*/ 7304 w 9995"/>
                <a:gd name="connsiteY122" fmla="*/ 7624 h 10000"/>
                <a:gd name="connsiteX123" fmla="*/ 7429 w 9995"/>
                <a:gd name="connsiteY123" fmla="*/ 7480 h 10000"/>
                <a:gd name="connsiteX124" fmla="*/ 7552 w 9995"/>
                <a:gd name="connsiteY124" fmla="*/ 7329 h 10000"/>
                <a:gd name="connsiteX125" fmla="*/ 7673 w 9995"/>
                <a:gd name="connsiteY125" fmla="*/ 7178 h 10000"/>
                <a:gd name="connsiteX126" fmla="*/ 7792 w 9995"/>
                <a:gd name="connsiteY126" fmla="*/ 7024 h 10000"/>
                <a:gd name="connsiteX127" fmla="*/ 7907 w 9995"/>
                <a:gd name="connsiteY127" fmla="*/ 6861 h 10000"/>
                <a:gd name="connsiteX128" fmla="*/ 8022 w 9995"/>
                <a:gd name="connsiteY128" fmla="*/ 6697 h 10000"/>
                <a:gd name="connsiteX129" fmla="*/ 8133 w 9995"/>
                <a:gd name="connsiteY129" fmla="*/ 6534 h 10000"/>
                <a:gd name="connsiteX130" fmla="*/ 8240 w 9995"/>
                <a:gd name="connsiteY130" fmla="*/ 6365 h 10000"/>
                <a:gd name="connsiteX131" fmla="*/ 8347 w 9995"/>
                <a:gd name="connsiteY131" fmla="*/ 6189 h 10000"/>
                <a:gd name="connsiteX132" fmla="*/ 8450 w 9995"/>
                <a:gd name="connsiteY132" fmla="*/ 6016 h 10000"/>
                <a:gd name="connsiteX133" fmla="*/ 8552 w 9995"/>
                <a:gd name="connsiteY133" fmla="*/ 5835 h 10000"/>
                <a:gd name="connsiteX134" fmla="*/ 8650 w 9995"/>
                <a:gd name="connsiteY134" fmla="*/ 5652 h 10000"/>
                <a:gd name="connsiteX135" fmla="*/ 8745 w 9995"/>
                <a:gd name="connsiteY135" fmla="*/ 5468 h 10000"/>
                <a:gd name="connsiteX136" fmla="*/ 8837 w 9995"/>
                <a:gd name="connsiteY136" fmla="*/ 5278 h 10000"/>
                <a:gd name="connsiteX137" fmla="*/ 8927 w 9995"/>
                <a:gd name="connsiteY137" fmla="*/ 5089 h 10000"/>
                <a:gd name="connsiteX138" fmla="*/ 9014 w 9995"/>
                <a:gd name="connsiteY138" fmla="*/ 4893 h 10000"/>
                <a:gd name="connsiteX139" fmla="*/ 9098 w 9995"/>
                <a:gd name="connsiteY139" fmla="*/ 4698 h 10000"/>
                <a:gd name="connsiteX140" fmla="*/ 9178 w 9995"/>
                <a:gd name="connsiteY140" fmla="*/ 4500 h 10000"/>
                <a:gd name="connsiteX141" fmla="*/ 9256 w 9995"/>
                <a:gd name="connsiteY141" fmla="*/ 4294 h 10000"/>
                <a:gd name="connsiteX142" fmla="*/ 9330 w 9995"/>
                <a:gd name="connsiteY142" fmla="*/ 4091 h 10000"/>
                <a:gd name="connsiteX143" fmla="*/ 9401 w 9995"/>
                <a:gd name="connsiteY143" fmla="*/ 3885 h 10000"/>
                <a:gd name="connsiteX144" fmla="*/ 9470 w 9995"/>
                <a:gd name="connsiteY144" fmla="*/ 3674 h 10000"/>
                <a:gd name="connsiteX145" fmla="*/ 9535 w 9995"/>
                <a:gd name="connsiteY145" fmla="*/ 3464 h 10000"/>
                <a:gd name="connsiteX146" fmla="*/ 9599 w 9995"/>
                <a:gd name="connsiteY146" fmla="*/ 3248 h 10000"/>
                <a:gd name="connsiteX147" fmla="*/ 9656 w 9995"/>
                <a:gd name="connsiteY147" fmla="*/ 3030 h 10000"/>
                <a:gd name="connsiteX148" fmla="*/ 9711 w 9995"/>
                <a:gd name="connsiteY148" fmla="*/ 2815 h 10000"/>
                <a:gd name="connsiteX149" fmla="*/ 9763 w 9995"/>
                <a:gd name="connsiteY149" fmla="*/ 2592 h 10000"/>
                <a:gd name="connsiteX150" fmla="*/ 9813 w 9995"/>
                <a:gd name="connsiteY150" fmla="*/ 2369 h 10000"/>
                <a:gd name="connsiteX151" fmla="*/ 9856 w 9995"/>
                <a:gd name="connsiteY151" fmla="*/ 2143 h 10000"/>
                <a:gd name="connsiteX152" fmla="*/ 9898 w 9995"/>
                <a:gd name="connsiteY152" fmla="*/ 1918 h 10000"/>
                <a:gd name="connsiteX153" fmla="*/ 9936 w 9995"/>
                <a:gd name="connsiteY153" fmla="*/ 1690 h 10000"/>
                <a:gd name="connsiteX154" fmla="*/ 9970 w 9995"/>
                <a:gd name="connsiteY154" fmla="*/ 1457 h 10000"/>
                <a:gd name="connsiteX155" fmla="*/ 9995 w 9995"/>
                <a:gd name="connsiteY155" fmla="*/ 1217 h 10000"/>
                <a:gd name="connsiteX156" fmla="*/ 7611 w 9995"/>
                <a:gd name="connsiteY156" fmla="*/ 1876 h 10000"/>
                <a:gd name="connsiteX157" fmla="*/ 5615 w 9995"/>
                <a:gd name="connsiteY157" fmla="*/ 0 h 10000"/>
                <a:gd name="connsiteX0" fmla="*/ 5618 w 10002"/>
                <a:gd name="connsiteY0" fmla="*/ 0 h 10000"/>
                <a:gd name="connsiteX1" fmla="*/ 5618 w 10002"/>
                <a:gd name="connsiteY1" fmla="*/ 0 h 10000"/>
                <a:gd name="connsiteX2" fmla="*/ 5609 w 10002"/>
                <a:gd name="connsiteY2" fmla="*/ 99 h 10000"/>
                <a:gd name="connsiteX3" fmla="*/ 5595 w 10002"/>
                <a:gd name="connsiteY3" fmla="*/ 201 h 10000"/>
                <a:gd name="connsiteX4" fmla="*/ 5583 w 10002"/>
                <a:gd name="connsiteY4" fmla="*/ 300 h 10000"/>
                <a:gd name="connsiteX5" fmla="*/ 5568 w 10002"/>
                <a:gd name="connsiteY5" fmla="*/ 394 h 10000"/>
                <a:gd name="connsiteX6" fmla="*/ 5550 w 10002"/>
                <a:gd name="connsiteY6" fmla="*/ 491 h 10000"/>
                <a:gd name="connsiteX7" fmla="*/ 5531 w 10002"/>
                <a:gd name="connsiteY7" fmla="*/ 587 h 10000"/>
                <a:gd name="connsiteX8" fmla="*/ 5511 w 10002"/>
                <a:gd name="connsiteY8" fmla="*/ 684 h 10000"/>
                <a:gd name="connsiteX9" fmla="*/ 5490 w 10002"/>
                <a:gd name="connsiteY9" fmla="*/ 778 h 10000"/>
                <a:gd name="connsiteX10" fmla="*/ 5468 w 10002"/>
                <a:gd name="connsiteY10" fmla="*/ 870 h 10000"/>
                <a:gd name="connsiteX11" fmla="*/ 5442 w 10002"/>
                <a:gd name="connsiteY11" fmla="*/ 961 h 10000"/>
                <a:gd name="connsiteX12" fmla="*/ 5418 w 10002"/>
                <a:gd name="connsiteY12" fmla="*/ 1053 h 10000"/>
                <a:gd name="connsiteX13" fmla="*/ 5390 w 10002"/>
                <a:gd name="connsiteY13" fmla="*/ 1145 h 10000"/>
                <a:gd name="connsiteX14" fmla="*/ 5361 w 10002"/>
                <a:gd name="connsiteY14" fmla="*/ 1231 h 10000"/>
                <a:gd name="connsiteX15" fmla="*/ 5331 w 10002"/>
                <a:gd name="connsiteY15" fmla="*/ 1318 h 10000"/>
                <a:gd name="connsiteX16" fmla="*/ 5301 w 10002"/>
                <a:gd name="connsiteY16" fmla="*/ 1405 h 10000"/>
                <a:gd name="connsiteX17" fmla="*/ 5269 w 10002"/>
                <a:gd name="connsiteY17" fmla="*/ 1494 h 10000"/>
                <a:gd name="connsiteX18" fmla="*/ 5235 w 10002"/>
                <a:gd name="connsiteY18" fmla="*/ 1578 h 10000"/>
                <a:gd name="connsiteX19" fmla="*/ 5199 w 10002"/>
                <a:gd name="connsiteY19" fmla="*/ 1663 h 10000"/>
                <a:gd name="connsiteX20" fmla="*/ 5163 w 10002"/>
                <a:gd name="connsiteY20" fmla="*/ 1742 h 10000"/>
                <a:gd name="connsiteX21" fmla="*/ 5124 w 10002"/>
                <a:gd name="connsiteY21" fmla="*/ 1824 h 10000"/>
                <a:gd name="connsiteX22" fmla="*/ 5085 w 10002"/>
                <a:gd name="connsiteY22" fmla="*/ 1903 h 10000"/>
                <a:gd name="connsiteX23" fmla="*/ 5046 w 10002"/>
                <a:gd name="connsiteY23" fmla="*/ 1985 h 10000"/>
                <a:gd name="connsiteX24" fmla="*/ 5005 w 10002"/>
                <a:gd name="connsiteY24" fmla="*/ 2059 h 10000"/>
                <a:gd name="connsiteX25" fmla="*/ 4961 w 10002"/>
                <a:gd name="connsiteY25" fmla="*/ 2133 h 10000"/>
                <a:gd name="connsiteX26" fmla="*/ 4916 w 10002"/>
                <a:gd name="connsiteY26" fmla="*/ 2210 h 10000"/>
                <a:gd name="connsiteX27" fmla="*/ 4872 w 10002"/>
                <a:gd name="connsiteY27" fmla="*/ 2282 h 10000"/>
                <a:gd name="connsiteX28" fmla="*/ 4825 w 10002"/>
                <a:gd name="connsiteY28" fmla="*/ 2354 h 10000"/>
                <a:gd name="connsiteX29" fmla="*/ 4779 w 10002"/>
                <a:gd name="connsiteY29" fmla="*/ 2426 h 10000"/>
                <a:gd name="connsiteX30" fmla="*/ 4731 w 10002"/>
                <a:gd name="connsiteY30" fmla="*/ 2495 h 10000"/>
                <a:gd name="connsiteX31" fmla="*/ 4681 w 10002"/>
                <a:gd name="connsiteY31" fmla="*/ 2562 h 10000"/>
                <a:gd name="connsiteX32" fmla="*/ 4631 w 10002"/>
                <a:gd name="connsiteY32" fmla="*/ 2626 h 10000"/>
                <a:gd name="connsiteX33" fmla="*/ 4579 w 10002"/>
                <a:gd name="connsiteY33" fmla="*/ 2691 h 10000"/>
                <a:gd name="connsiteX34" fmla="*/ 4528 w 10002"/>
                <a:gd name="connsiteY34" fmla="*/ 2753 h 10000"/>
                <a:gd name="connsiteX35" fmla="*/ 4472 w 10002"/>
                <a:gd name="connsiteY35" fmla="*/ 2817 h 10000"/>
                <a:gd name="connsiteX36" fmla="*/ 4419 w 10002"/>
                <a:gd name="connsiteY36" fmla="*/ 2874 h 10000"/>
                <a:gd name="connsiteX37" fmla="*/ 4364 w 10002"/>
                <a:gd name="connsiteY37" fmla="*/ 2934 h 10000"/>
                <a:gd name="connsiteX38" fmla="*/ 4307 w 10002"/>
                <a:gd name="connsiteY38" fmla="*/ 2988 h 10000"/>
                <a:gd name="connsiteX39" fmla="*/ 4250 w 10002"/>
                <a:gd name="connsiteY39" fmla="*/ 3043 h 10000"/>
                <a:gd name="connsiteX40" fmla="*/ 4192 w 10002"/>
                <a:gd name="connsiteY40" fmla="*/ 3097 h 10000"/>
                <a:gd name="connsiteX41" fmla="*/ 4134 w 10002"/>
                <a:gd name="connsiteY41" fmla="*/ 3149 h 10000"/>
                <a:gd name="connsiteX42" fmla="*/ 4073 w 10002"/>
                <a:gd name="connsiteY42" fmla="*/ 3196 h 10000"/>
                <a:gd name="connsiteX43" fmla="*/ 4012 w 10002"/>
                <a:gd name="connsiteY43" fmla="*/ 3243 h 10000"/>
                <a:gd name="connsiteX44" fmla="*/ 3952 w 10002"/>
                <a:gd name="connsiteY44" fmla="*/ 3290 h 10000"/>
                <a:gd name="connsiteX45" fmla="*/ 3889 w 10002"/>
                <a:gd name="connsiteY45" fmla="*/ 3335 h 10000"/>
                <a:gd name="connsiteX46" fmla="*/ 3825 w 10002"/>
                <a:gd name="connsiteY46" fmla="*/ 3377 h 10000"/>
                <a:gd name="connsiteX47" fmla="*/ 3761 w 10002"/>
                <a:gd name="connsiteY47" fmla="*/ 3417 h 10000"/>
                <a:gd name="connsiteX48" fmla="*/ 3697 w 10002"/>
                <a:gd name="connsiteY48" fmla="*/ 3454 h 10000"/>
                <a:gd name="connsiteX49" fmla="*/ 3631 w 10002"/>
                <a:gd name="connsiteY49" fmla="*/ 3491 h 10000"/>
                <a:gd name="connsiteX50" fmla="*/ 3567 w 10002"/>
                <a:gd name="connsiteY50" fmla="*/ 3523 h 10000"/>
                <a:gd name="connsiteX51" fmla="*/ 3499 w 10002"/>
                <a:gd name="connsiteY51" fmla="*/ 3558 h 10000"/>
                <a:gd name="connsiteX52" fmla="*/ 3431 w 10002"/>
                <a:gd name="connsiteY52" fmla="*/ 3588 h 10000"/>
                <a:gd name="connsiteX53" fmla="*/ 3363 w 10002"/>
                <a:gd name="connsiteY53" fmla="*/ 3615 h 10000"/>
                <a:gd name="connsiteX54" fmla="*/ 3294 w 10002"/>
                <a:gd name="connsiteY54" fmla="*/ 3642 h 10000"/>
                <a:gd name="connsiteX55" fmla="*/ 3224 w 10002"/>
                <a:gd name="connsiteY55" fmla="*/ 3665 h 10000"/>
                <a:gd name="connsiteX56" fmla="*/ 3155 w 10002"/>
                <a:gd name="connsiteY56" fmla="*/ 3687 h 10000"/>
                <a:gd name="connsiteX57" fmla="*/ 3083 w 10002"/>
                <a:gd name="connsiteY57" fmla="*/ 3707 h 10000"/>
                <a:gd name="connsiteX58" fmla="*/ 3014 w 10002"/>
                <a:gd name="connsiteY58" fmla="*/ 3724 h 10000"/>
                <a:gd name="connsiteX59" fmla="*/ 2941 w 10002"/>
                <a:gd name="connsiteY59" fmla="*/ 3739 h 10000"/>
                <a:gd name="connsiteX60" fmla="*/ 2868 w 10002"/>
                <a:gd name="connsiteY60" fmla="*/ 3754 h 10000"/>
                <a:gd name="connsiteX61" fmla="*/ 2797 w 10002"/>
                <a:gd name="connsiteY61" fmla="*/ 3761 h 10000"/>
                <a:gd name="connsiteX62" fmla="*/ 2722 w 10002"/>
                <a:gd name="connsiteY62" fmla="*/ 3771 h 10000"/>
                <a:gd name="connsiteX63" fmla="*/ 2649 w 10002"/>
                <a:gd name="connsiteY63" fmla="*/ 3776 h 10000"/>
                <a:gd name="connsiteX64" fmla="*/ 2576 w 10002"/>
                <a:gd name="connsiteY64" fmla="*/ 3781 h 10000"/>
                <a:gd name="connsiteX65" fmla="*/ 2499 w 10002"/>
                <a:gd name="connsiteY65" fmla="*/ 3781 h 10000"/>
                <a:gd name="connsiteX66" fmla="*/ 2394 w 10002"/>
                <a:gd name="connsiteY66" fmla="*/ 3781 h 10000"/>
                <a:gd name="connsiteX67" fmla="*/ 2285 w 10002"/>
                <a:gd name="connsiteY67" fmla="*/ 3771 h 10000"/>
                <a:gd name="connsiteX68" fmla="*/ 2180 w 10002"/>
                <a:gd name="connsiteY68" fmla="*/ 3759 h 10000"/>
                <a:gd name="connsiteX69" fmla="*/ 2075 w 10002"/>
                <a:gd name="connsiteY69" fmla="*/ 3741 h 10000"/>
                <a:gd name="connsiteX70" fmla="*/ 1971 w 10002"/>
                <a:gd name="connsiteY70" fmla="*/ 3719 h 10000"/>
                <a:gd name="connsiteX71" fmla="*/ 1868 w 10002"/>
                <a:gd name="connsiteY71" fmla="*/ 3692 h 10000"/>
                <a:gd name="connsiteX72" fmla="*/ 1766 w 10002"/>
                <a:gd name="connsiteY72" fmla="*/ 3662 h 10000"/>
                <a:gd name="connsiteX73" fmla="*/ 1666 w 10002"/>
                <a:gd name="connsiteY73" fmla="*/ 3627 h 10000"/>
                <a:gd name="connsiteX74" fmla="*/ 0 w 10002"/>
                <a:gd name="connsiteY74" fmla="*/ 6085 h 10000"/>
                <a:gd name="connsiteX75" fmla="*/ 209 w 10002"/>
                <a:gd name="connsiteY75" fmla="*/ 9512 h 10000"/>
                <a:gd name="connsiteX76" fmla="*/ 344 w 10002"/>
                <a:gd name="connsiteY76" fmla="*/ 9569 h 10000"/>
                <a:gd name="connsiteX77" fmla="*/ 481 w 10002"/>
                <a:gd name="connsiteY77" fmla="*/ 9623 h 10000"/>
                <a:gd name="connsiteX78" fmla="*/ 621 w 10002"/>
                <a:gd name="connsiteY78" fmla="*/ 9673 h 10000"/>
                <a:gd name="connsiteX79" fmla="*/ 758 w 10002"/>
                <a:gd name="connsiteY79" fmla="*/ 9720 h 10000"/>
                <a:gd name="connsiteX80" fmla="*/ 899 w 10002"/>
                <a:gd name="connsiteY80" fmla="*/ 9765 h 10000"/>
                <a:gd name="connsiteX81" fmla="*/ 1041 w 10002"/>
                <a:gd name="connsiteY81" fmla="*/ 9804 h 10000"/>
                <a:gd name="connsiteX82" fmla="*/ 1183 w 10002"/>
                <a:gd name="connsiteY82" fmla="*/ 9839 h 10000"/>
                <a:gd name="connsiteX83" fmla="*/ 1326 w 10002"/>
                <a:gd name="connsiteY83" fmla="*/ 9874 h 10000"/>
                <a:gd name="connsiteX84" fmla="*/ 1472 w 10002"/>
                <a:gd name="connsiteY84" fmla="*/ 9903 h 10000"/>
                <a:gd name="connsiteX85" fmla="*/ 1615 w 10002"/>
                <a:gd name="connsiteY85" fmla="*/ 9926 h 10000"/>
                <a:gd name="connsiteX86" fmla="*/ 1761 w 10002"/>
                <a:gd name="connsiteY86" fmla="*/ 9948 h 10000"/>
                <a:gd name="connsiteX87" fmla="*/ 1907 w 10002"/>
                <a:gd name="connsiteY87" fmla="*/ 9965 h 10000"/>
                <a:gd name="connsiteX88" fmla="*/ 2053 w 10002"/>
                <a:gd name="connsiteY88" fmla="*/ 9980 h 10000"/>
                <a:gd name="connsiteX89" fmla="*/ 2203 w 10002"/>
                <a:gd name="connsiteY89" fmla="*/ 9990 h 10000"/>
                <a:gd name="connsiteX90" fmla="*/ 2351 w 10002"/>
                <a:gd name="connsiteY90" fmla="*/ 9995 h 10000"/>
                <a:gd name="connsiteX91" fmla="*/ 2499 w 10002"/>
                <a:gd name="connsiteY91" fmla="*/ 10000 h 10000"/>
                <a:gd name="connsiteX92" fmla="*/ 2678 w 10002"/>
                <a:gd name="connsiteY92" fmla="*/ 9995 h 10000"/>
                <a:gd name="connsiteX93" fmla="*/ 2851 w 10002"/>
                <a:gd name="connsiteY93" fmla="*/ 9988 h 10000"/>
                <a:gd name="connsiteX94" fmla="*/ 3026 w 10002"/>
                <a:gd name="connsiteY94" fmla="*/ 9975 h 10000"/>
                <a:gd name="connsiteX95" fmla="*/ 3197 w 10002"/>
                <a:gd name="connsiteY95" fmla="*/ 9953 h 10000"/>
                <a:gd name="connsiteX96" fmla="*/ 3370 w 10002"/>
                <a:gd name="connsiteY96" fmla="*/ 9931 h 10000"/>
                <a:gd name="connsiteX97" fmla="*/ 3540 w 10002"/>
                <a:gd name="connsiteY97" fmla="*/ 9898 h 10000"/>
                <a:gd name="connsiteX98" fmla="*/ 3711 w 10002"/>
                <a:gd name="connsiteY98" fmla="*/ 9866 h 10000"/>
                <a:gd name="connsiteX99" fmla="*/ 3879 w 10002"/>
                <a:gd name="connsiteY99" fmla="*/ 9824 h 10000"/>
                <a:gd name="connsiteX100" fmla="*/ 4044 w 10002"/>
                <a:gd name="connsiteY100" fmla="*/ 9779 h 10000"/>
                <a:gd name="connsiteX101" fmla="*/ 4212 w 10002"/>
                <a:gd name="connsiteY101" fmla="*/ 9730 h 10000"/>
                <a:gd name="connsiteX102" fmla="*/ 4374 w 10002"/>
                <a:gd name="connsiteY102" fmla="*/ 9673 h 10000"/>
                <a:gd name="connsiteX103" fmla="*/ 4538 w 10002"/>
                <a:gd name="connsiteY103" fmla="*/ 9616 h 10000"/>
                <a:gd name="connsiteX104" fmla="*/ 4699 w 10002"/>
                <a:gd name="connsiteY104" fmla="*/ 9552 h 10000"/>
                <a:gd name="connsiteX105" fmla="*/ 4859 w 10002"/>
                <a:gd name="connsiteY105" fmla="*/ 9482 h 10000"/>
                <a:gd name="connsiteX106" fmla="*/ 5017 w 10002"/>
                <a:gd name="connsiteY106" fmla="*/ 9405 h 10000"/>
                <a:gd name="connsiteX107" fmla="*/ 5174 w 10002"/>
                <a:gd name="connsiteY107" fmla="*/ 9329 h 10000"/>
                <a:gd name="connsiteX108" fmla="*/ 5329 w 10002"/>
                <a:gd name="connsiteY108" fmla="*/ 9244 h 10000"/>
                <a:gd name="connsiteX109" fmla="*/ 5483 w 10002"/>
                <a:gd name="connsiteY109" fmla="*/ 9158 h 10000"/>
                <a:gd name="connsiteX110" fmla="*/ 5634 w 10002"/>
                <a:gd name="connsiteY110" fmla="*/ 9063 h 10000"/>
                <a:gd name="connsiteX111" fmla="*/ 5784 w 10002"/>
                <a:gd name="connsiteY111" fmla="*/ 8967 h 10000"/>
                <a:gd name="connsiteX112" fmla="*/ 5934 w 10002"/>
                <a:gd name="connsiteY112" fmla="*/ 8865 h 10000"/>
                <a:gd name="connsiteX113" fmla="*/ 6078 w 10002"/>
                <a:gd name="connsiteY113" fmla="*/ 8759 h 10000"/>
                <a:gd name="connsiteX114" fmla="*/ 6224 w 10002"/>
                <a:gd name="connsiteY114" fmla="*/ 8652 h 10000"/>
                <a:gd name="connsiteX115" fmla="*/ 6367 w 10002"/>
                <a:gd name="connsiteY115" fmla="*/ 8536 h 10000"/>
                <a:gd name="connsiteX116" fmla="*/ 6508 w 10002"/>
                <a:gd name="connsiteY116" fmla="*/ 8417 h 10000"/>
                <a:gd name="connsiteX117" fmla="*/ 6645 w 10002"/>
                <a:gd name="connsiteY117" fmla="*/ 8295 h 10000"/>
                <a:gd name="connsiteX118" fmla="*/ 6783 w 10002"/>
                <a:gd name="connsiteY118" fmla="*/ 8169 h 10000"/>
                <a:gd name="connsiteX119" fmla="*/ 6916 w 10002"/>
                <a:gd name="connsiteY119" fmla="*/ 8040 h 10000"/>
                <a:gd name="connsiteX120" fmla="*/ 7049 w 10002"/>
                <a:gd name="connsiteY120" fmla="*/ 7904 h 10000"/>
                <a:gd name="connsiteX121" fmla="*/ 7179 w 10002"/>
                <a:gd name="connsiteY121" fmla="*/ 7768 h 10000"/>
                <a:gd name="connsiteX122" fmla="*/ 7308 w 10002"/>
                <a:gd name="connsiteY122" fmla="*/ 7624 h 10000"/>
                <a:gd name="connsiteX123" fmla="*/ 7433 w 10002"/>
                <a:gd name="connsiteY123" fmla="*/ 7480 h 10000"/>
                <a:gd name="connsiteX124" fmla="*/ 7556 w 10002"/>
                <a:gd name="connsiteY124" fmla="*/ 7329 h 10000"/>
                <a:gd name="connsiteX125" fmla="*/ 7677 w 10002"/>
                <a:gd name="connsiteY125" fmla="*/ 7178 h 10000"/>
                <a:gd name="connsiteX126" fmla="*/ 7796 w 10002"/>
                <a:gd name="connsiteY126" fmla="*/ 7024 h 10000"/>
                <a:gd name="connsiteX127" fmla="*/ 7911 w 10002"/>
                <a:gd name="connsiteY127" fmla="*/ 6861 h 10000"/>
                <a:gd name="connsiteX128" fmla="*/ 8026 w 10002"/>
                <a:gd name="connsiteY128" fmla="*/ 6697 h 10000"/>
                <a:gd name="connsiteX129" fmla="*/ 8137 w 10002"/>
                <a:gd name="connsiteY129" fmla="*/ 6534 h 10000"/>
                <a:gd name="connsiteX130" fmla="*/ 8244 w 10002"/>
                <a:gd name="connsiteY130" fmla="*/ 6365 h 10000"/>
                <a:gd name="connsiteX131" fmla="*/ 8351 w 10002"/>
                <a:gd name="connsiteY131" fmla="*/ 6189 h 10000"/>
                <a:gd name="connsiteX132" fmla="*/ 8454 w 10002"/>
                <a:gd name="connsiteY132" fmla="*/ 6016 h 10000"/>
                <a:gd name="connsiteX133" fmla="*/ 8556 w 10002"/>
                <a:gd name="connsiteY133" fmla="*/ 5835 h 10000"/>
                <a:gd name="connsiteX134" fmla="*/ 8654 w 10002"/>
                <a:gd name="connsiteY134" fmla="*/ 5652 h 10000"/>
                <a:gd name="connsiteX135" fmla="*/ 8749 w 10002"/>
                <a:gd name="connsiteY135" fmla="*/ 5468 h 10000"/>
                <a:gd name="connsiteX136" fmla="*/ 8841 w 10002"/>
                <a:gd name="connsiteY136" fmla="*/ 5278 h 10000"/>
                <a:gd name="connsiteX137" fmla="*/ 8931 w 10002"/>
                <a:gd name="connsiteY137" fmla="*/ 5089 h 10000"/>
                <a:gd name="connsiteX138" fmla="*/ 9019 w 10002"/>
                <a:gd name="connsiteY138" fmla="*/ 4893 h 10000"/>
                <a:gd name="connsiteX139" fmla="*/ 9103 w 10002"/>
                <a:gd name="connsiteY139" fmla="*/ 4698 h 10000"/>
                <a:gd name="connsiteX140" fmla="*/ 9183 w 10002"/>
                <a:gd name="connsiteY140" fmla="*/ 4500 h 10000"/>
                <a:gd name="connsiteX141" fmla="*/ 9261 w 10002"/>
                <a:gd name="connsiteY141" fmla="*/ 4294 h 10000"/>
                <a:gd name="connsiteX142" fmla="*/ 9335 w 10002"/>
                <a:gd name="connsiteY142" fmla="*/ 4091 h 10000"/>
                <a:gd name="connsiteX143" fmla="*/ 9406 w 10002"/>
                <a:gd name="connsiteY143" fmla="*/ 3885 h 10000"/>
                <a:gd name="connsiteX144" fmla="*/ 9475 w 10002"/>
                <a:gd name="connsiteY144" fmla="*/ 3674 h 10000"/>
                <a:gd name="connsiteX145" fmla="*/ 9540 w 10002"/>
                <a:gd name="connsiteY145" fmla="*/ 3464 h 10000"/>
                <a:gd name="connsiteX146" fmla="*/ 9604 w 10002"/>
                <a:gd name="connsiteY146" fmla="*/ 3248 h 10000"/>
                <a:gd name="connsiteX147" fmla="*/ 9661 w 10002"/>
                <a:gd name="connsiteY147" fmla="*/ 3030 h 10000"/>
                <a:gd name="connsiteX148" fmla="*/ 9716 w 10002"/>
                <a:gd name="connsiteY148" fmla="*/ 2815 h 10000"/>
                <a:gd name="connsiteX149" fmla="*/ 9768 w 10002"/>
                <a:gd name="connsiteY149" fmla="*/ 2592 h 10000"/>
                <a:gd name="connsiteX150" fmla="*/ 9818 w 10002"/>
                <a:gd name="connsiteY150" fmla="*/ 2369 h 10000"/>
                <a:gd name="connsiteX151" fmla="*/ 9861 w 10002"/>
                <a:gd name="connsiteY151" fmla="*/ 2143 h 10000"/>
                <a:gd name="connsiteX152" fmla="*/ 9903 w 10002"/>
                <a:gd name="connsiteY152" fmla="*/ 1918 h 10000"/>
                <a:gd name="connsiteX153" fmla="*/ 9941 w 10002"/>
                <a:gd name="connsiteY153" fmla="*/ 1690 h 10000"/>
                <a:gd name="connsiteX154" fmla="*/ 9975 w 10002"/>
                <a:gd name="connsiteY154" fmla="*/ 1457 h 10000"/>
                <a:gd name="connsiteX155" fmla="*/ 10002 w 10002"/>
                <a:gd name="connsiteY155" fmla="*/ 1216 h 10000"/>
                <a:gd name="connsiteX156" fmla="*/ 7615 w 10002"/>
                <a:gd name="connsiteY156" fmla="*/ 1876 h 10000"/>
                <a:gd name="connsiteX157" fmla="*/ 5618 w 10002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9 w 10001"/>
                <a:gd name="connsiteY75" fmla="*/ 9512 h 10000"/>
                <a:gd name="connsiteX76" fmla="*/ 344 w 10001"/>
                <a:gd name="connsiteY76" fmla="*/ 9569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9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6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6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6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</a:cxnLst>
              <a:rect l="l" t="t" r="r" b="b"/>
              <a:pathLst>
                <a:path w="10001" h="10000">
                  <a:moveTo>
                    <a:pt x="5618" y="0"/>
                  </a:moveTo>
                  <a:lnTo>
                    <a:pt x="5618" y="0"/>
                  </a:lnTo>
                  <a:lnTo>
                    <a:pt x="5609" y="99"/>
                  </a:lnTo>
                  <a:cubicBezTo>
                    <a:pt x="5604" y="133"/>
                    <a:pt x="5600" y="167"/>
                    <a:pt x="5595" y="201"/>
                  </a:cubicBezTo>
                  <a:lnTo>
                    <a:pt x="5583" y="300"/>
                  </a:lnTo>
                  <a:cubicBezTo>
                    <a:pt x="5578" y="331"/>
                    <a:pt x="5573" y="363"/>
                    <a:pt x="5568" y="394"/>
                  </a:cubicBezTo>
                  <a:cubicBezTo>
                    <a:pt x="5562" y="426"/>
                    <a:pt x="5556" y="459"/>
                    <a:pt x="5550" y="491"/>
                  </a:cubicBezTo>
                  <a:cubicBezTo>
                    <a:pt x="5544" y="523"/>
                    <a:pt x="5537" y="555"/>
                    <a:pt x="5531" y="587"/>
                  </a:cubicBezTo>
                  <a:cubicBezTo>
                    <a:pt x="5524" y="619"/>
                    <a:pt x="5518" y="652"/>
                    <a:pt x="5511" y="684"/>
                  </a:cubicBezTo>
                  <a:cubicBezTo>
                    <a:pt x="5504" y="715"/>
                    <a:pt x="5497" y="747"/>
                    <a:pt x="5490" y="778"/>
                  </a:cubicBezTo>
                  <a:cubicBezTo>
                    <a:pt x="5483" y="809"/>
                    <a:pt x="5475" y="839"/>
                    <a:pt x="5468" y="870"/>
                  </a:cubicBezTo>
                  <a:cubicBezTo>
                    <a:pt x="5459" y="900"/>
                    <a:pt x="5451" y="931"/>
                    <a:pt x="5442" y="961"/>
                  </a:cubicBezTo>
                  <a:cubicBezTo>
                    <a:pt x="5434" y="992"/>
                    <a:pt x="5426" y="1022"/>
                    <a:pt x="5418" y="1053"/>
                  </a:cubicBezTo>
                  <a:cubicBezTo>
                    <a:pt x="5409" y="1084"/>
                    <a:pt x="5399" y="1114"/>
                    <a:pt x="5390" y="1145"/>
                  </a:cubicBezTo>
                  <a:cubicBezTo>
                    <a:pt x="5380" y="1174"/>
                    <a:pt x="5371" y="1202"/>
                    <a:pt x="5361" y="1231"/>
                  </a:cubicBezTo>
                  <a:lnTo>
                    <a:pt x="5331" y="1318"/>
                  </a:lnTo>
                  <a:lnTo>
                    <a:pt x="5301" y="1405"/>
                  </a:lnTo>
                  <a:cubicBezTo>
                    <a:pt x="5290" y="1435"/>
                    <a:pt x="5280" y="1464"/>
                    <a:pt x="5269" y="1494"/>
                  </a:cubicBezTo>
                  <a:cubicBezTo>
                    <a:pt x="5258" y="1522"/>
                    <a:pt x="5246" y="1550"/>
                    <a:pt x="5235" y="1578"/>
                  </a:cubicBezTo>
                  <a:cubicBezTo>
                    <a:pt x="5223" y="1606"/>
                    <a:pt x="5211" y="1635"/>
                    <a:pt x="5199" y="1663"/>
                  </a:cubicBezTo>
                  <a:cubicBezTo>
                    <a:pt x="5187" y="1689"/>
                    <a:pt x="5175" y="1716"/>
                    <a:pt x="5163" y="1742"/>
                  </a:cubicBezTo>
                  <a:cubicBezTo>
                    <a:pt x="5150" y="1769"/>
                    <a:pt x="5137" y="1797"/>
                    <a:pt x="5124" y="1824"/>
                  </a:cubicBezTo>
                  <a:cubicBezTo>
                    <a:pt x="5111" y="1850"/>
                    <a:pt x="5098" y="1877"/>
                    <a:pt x="5085" y="1903"/>
                  </a:cubicBezTo>
                  <a:cubicBezTo>
                    <a:pt x="5072" y="1930"/>
                    <a:pt x="5059" y="1958"/>
                    <a:pt x="5046" y="1985"/>
                  </a:cubicBezTo>
                  <a:cubicBezTo>
                    <a:pt x="5032" y="2010"/>
                    <a:pt x="5019" y="2034"/>
                    <a:pt x="5005" y="2059"/>
                  </a:cubicBezTo>
                  <a:cubicBezTo>
                    <a:pt x="4990" y="2084"/>
                    <a:pt x="4975" y="2108"/>
                    <a:pt x="4961" y="2133"/>
                  </a:cubicBezTo>
                  <a:cubicBezTo>
                    <a:pt x="4946" y="2159"/>
                    <a:pt x="4931" y="2184"/>
                    <a:pt x="4916" y="2210"/>
                  </a:cubicBezTo>
                  <a:cubicBezTo>
                    <a:pt x="4901" y="2234"/>
                    <a:pt x="4887" y="2258"/>
                    <a:pt x="4872" y="2282"/>
                  </a:cubicBezTo>
                  <a:cubicBezTo>
                    <a:pt x="4856" y="2306"/>
                    <a:pt x="4841" y="2330"/>
                    <a:pt x="4825" y="2354"/>
                  </a:cubicBezTo>
                  <a:cubicBezTo>
                    <a:pt x="4810" y="2378"/>
                    <a:pt x="4794" y="2402"/>
                    <a:pt x="4779" y="2426"/>
                  </a:cubicBezTo>
                  <a:lnTo>
                    <a:pt x="4731" y="2495"/>
                  </a:lnTo>
                  <a:cubicBezTo>
                    <a:pt x="4714" y="2517"/>
                    <a:pt x="4698" y="2540"/>
                    <a:pt x="4681" y="2562"/>
                  </a:cubicBezTo>
                  <a:cubicBezTo>
                    <a:pt x="4664" y="2583"/>
                    <a:pt x="4648" y="2605"/>
                    <a:pt x="4631" y="2626"/>
                  </a:cubicBezTo>
                  <a:cubicBezTo>
                    <a:pt x="4614" y="2648"/>
                    <a:pt x="4596" y="2669"/>
                    <a:pt x="4579" y="2691"/>
                  </a:cubicBezTo>
                  <a:cubicBezTo>
                    <a:pt x="4562" y="2712"/>
                    <a:pt x="4545" y="2732"/>
                    <a:pt x="4528" y="2753"/>
                  </a:cubicBezTo>
                  <a:cubicBezTo>
                    <a:pt x="4509" y="2774"/>
                    <a:pt x="4491" y="2796"/>
                    <a:pt x="4472" y="2817"/>
                  </a:cubicBezTo>
                  <a:cubicBezTo>
                    <a:pt x="4454" y="2836"/>
                    <a:pt x="4437" y="2855"/>
                    <a:pt x="4419" y="2874"/>
                  </a:cubicBezTo>
                  <a:cubicBezTo>
                    <a:pt x="4401" y="2894"/>
                    <a:pt x="4382" y="2914"/>
                    <a:pt x="4364" y="2934"/>
                  </a:cubicBezTo>
                  <a:lnTo>
                    <a:pt x="4307" y="2988"/>
                  </a:lnTo>
                  <a:cubicBezTo>
                    <a:pt x="4288" y="3006"/>
                    <a:pt x="4269" y="3025"/>
                    <a:pt x="4250" y="3043"/>
                  </a:cubicBezTo>
                  <a:cubicBezTo>
                    <a:pt x="4231" y="3061"/>
                    <a:pt x="4211" y="3079"/>
                    <a:pt x="4192" y="3097"/>
                  </a:cubicBezTo>
                  <a:lnTo>
                    <a:pt x="4134" y="3149"/>
                  </a:lnTo>
                  <a:cubicBezTo>
                    <a:pt x="4114" y="3165"/>
                    <a:pt x="4093" y="3180"/>
                    <a:pt x="4073" y="3196"/>
                  </a:cubicBezTo>
                  <a:cubicBezTo>
                    <a:pt x="4053" y="3212"/>
                    <a:pt x="4032" y="3227"/>
                    <a:pt x="4012" y="3243"/>
                  </a:cubicBezTo>
                  <a:cubicBezTo>
                    <a:pt x="3992" y="3259"/>
                    <a:pt x="3972" y="3274"/>
                    <a:pt x="3952" y="3290"/>
                  </a:cubicBezTo>
                  <a:lnTo>
                    <a:pt x="3889" y="3335"/>
                  </a:lnTo>
                  <a:cubicBezTo>
                    <a:pt x="3868" y="3349"/>
                    <a:pt x="3846" y="3363"/>
                    <a:pt x="3825" y="3377"/>
                  </a:cubicBezTo>
                  <a:lnTo>
                    <a:pt x="3761" y="3417"/>
                  </a:lnTo>
                  <a:lnTo>
                    <a:pt x="3697" y="3454"/>
                  </a:lnTo>
                  <a:cubicBezTo>
                    <a:pt x="3675" y="3466"/>
                    <a:pt x="3653" y="3479"/>
                    <a:pt x="3631" y="3491"/>
                  </a:cubicBezTo>
                  <a:cubicBezTo>
                    <a:pt x="3610" y="3502"/>
                    <a:pt x="3588" y="3512"/>
                    <a:pt x="3567" y="3523"/>
                  </a:cubicBezTo>
                  <a:lnTo>
                    <a:pt x="3499" y="3558"/>
                  </a:lnTo>
                  <a:lnTo>
                    <a:pt x="3431" y="3588"/>
                  </a:lnTo>
                  <a:lnTo>
                    <a:pt x="3363" y="3615"/>
                  </a:lnTo>
                  <a:lnTo>
                    <a:pt x="3294" y="3642"/>
                  </a:lnTo>
                  <a:cubicBezTo>
                    <a:pt x="3271" y="3650"/>
                    <a:pt x="3247" y="3657"/>
                    <a:pt x="3224" y="3665"/>
                  </a:cubicBezTo>
                  <a:cubicBezTo>
                    <a:pt x="3201" y="3672"/>
                    <a:pt x="3178" y="3680"/>
                    <a:pt x="3155" y="3687"/>
                  </a:cubicBezTo>
                  <a:cubicBezTo>
                    <a:pt x="3131" y="3694"/>
                    <a:pt x="3107" y="3700"/>
                    <a:pt x="3083" y="3707"/>
                  </a:cubicBezTo>
                  <a:cubicBezTo>
                    <a:pt x="3060" y="3713"/>
                    <a:pt x="3037" y="3718"/>
                    <a:pt x="3014" y="3724"/>
                  </a:cubicBezTo>
                  <a:lnTo>
                    <a:pt x="2941" y="3739"/>
                  </a:lnTo>
                  <a:lnTo>
                    <a:pt x="2868" y="3754"/>
                  </a:lnTo>
                  <a:cubicBezTo>
                    <a:pt x="2844" y="3756"/>
                    <a:pt x="2821" y="3759"/>
                    <a:pt x="2797" y="3761"/>
                  </a:cubicBezTo>
                  <a:cubicBezTo>
                    <a:pt x="2772" y="3764"/>
                    <a:pt x="2747" y="3768"/>
                    <a:pt x="2722" y="3771"/>
                  </a:cubicBezTo>
                  <a:cubicBezTo>
                    <a:pt x="2698" y="3773"/>
                    <a:pt x="2673" y="3774"/>
                    <a:pt x="2649" y="3776"/>
                  </a:cubicBezTo>
                  <a:cubicBezTo>
                    <a:pt x="2625" y="3778"/>
                    <a:pt x="2600" y="3779"/>
                    <a:pt x="2576" y="3781"/>
                  </a:cubicBezTo>
                  <a:lnTo>
                    <a:pt x="2499" y="3781"/>
                  </a:lnTo>
                  <a:lnTo>
                    <a:pt x="2394" y="3781"/>
                  </a:lnTo>
                  <a:lnTo>
                    <a:pt x="2285" y="3771"/>
                  </a:lnTo>
                  <a:lnTo>
                    <a:pt x="2180" y="3759"/>
                  </a:lnTo>
                  <a:lnTo>
                    <a:pt x="2075" y="3741"/>
                  </a:lnTo>
                  <a:cubicBezTo>
                    <a:pt x="2040" y="3734"/>
                    <a:pt x="2006" y="3726"/>
                    <a:pt x="1971" y="3719"/>
                  </a:cubicBezTo>
                  <a:lnTo>
                    <a:pt x="1868" y="3692"/>
                  </a:lnTo>
                  <a:lnTo>
                    <a:pt x="1766" y="3662"/>
                  </a:lnTo>
                  <a:cubicBezTo>
                    <a:pt x="1733" y="3650"/>
                    <a:pt x="1699" y="3639"/>
                    <a:pt x="1666" y="3627"/>
                  </a:cubicBezTo>
                  <a:lnTo>
                    <a:pt x="0" y="6085"/>
                  </a:lnTo>
                  <a:cubicBezTo>
                    <a:pt x="70" y="7227"/>
                    <a:pt x="138" y="8352"/>
                    <a:pt x="208" y="9494"/>
                  </a:cubicBezTo>
                  <a:cubicBezTo>
                    <a:pt x="253" y="9518"/>
                    <a:pt x="259" y="9522"/>
                    <a:pt x="345" y="9563"/>
                  </a:cubicBezTo>
                  <a:cubicBezTo>
                    <a:pt x="390" y="9583"/>
                    <a:pt x="411" y="9593"/>
                    <a:pt x="481" y="9623"/>
                  </a:cubicBezTo>
                  <a:lnTo>
                    <a:pt x="621" y="9673"/>
                  </a:lnTo>
                  <a:lnTo>
                    <a:pt x="758" y="9720"/>
                  </a:lnTo>
                  <a:lnTo>
                    <a:pt x="899" y="9765"/>
                  </a:lnTo>
                  <a:lnTo>
                    <a:pt x="1041" y="9804"/>
                  </a:lnTo>
                  <a:lnTo>
                    <a:pt x="1183" y="9839"/>
                  </a:lnTo>
                  <a:lnTo>
                    <a:pt x="1326" y="9874"/>
                  </a:lnTo>
                  <a:lnTo>
                    <a:pt x="1472" y="9903"/>
                  </a:lnTo>
                  <a:lnTo>
                    <a:pt x="1615" y="9926"/>
                  </a:lnTo>
                  <a:lnTo>
                    <a:pt x="1761" y="9948"/>
                  </a:lnTo>
                  <a:lnTo>
                    <a:pt x="1907" y="9965"/>
                  </a:lnTo>
                  <a:lnTo>
                    <a:pt x="2053" y="9980"/>
                  </a:lnTo>
                  <a:lnTo>
                    <a:pt x="2203" y="9990"/>
                  </a:lnTo>
                  <a:lnTo>
                    <a:pt x="2351" y="9995"/>
                  </a:lnTo>
                  <a:lnTo>
                    <a:pt x="2499" y="10000"/>
                  </a:lnTo>
                  <a:lnTo>
                    <a:pt x="2678" y="9995"/>
                  </a:lnTo>
                  <a:lnTo>
                    <a:pt x="2851" y="9988"/>
                  </a:lnTo>
                  <a:lnTo>
                    <a:pt x="3026" y="9975"/>
                  </a:lnTo>
                  <a:lnTo>
                    <a:pt x="3197" y="9953"/>
                  </a:lnTo>
                  <a:lnTo>
                    <a:pt x="3370" y="9931"/>
                  </a:lnTo>
                  <a:lnTo>
                    <a:pt x="3540" y="9898"/>
                  </a:lnTo>
                  <a:lnTo>
                    <a:pt x="3711" y="9866"/>
                  </a:lnTo>
                  <a:lnTo>
                    <a:pt x="3879" y="9824"/>
                  </a:lnTo>
                  <a:lnTo>
                    <a:pt x="4044" y="9779"/>
                  </a:lnTo>
                  <a:lnTo>
                    <a:pt x="4212" y="9730"/>
                  </a:lnTo>
                  <a:lnTo>
                    <a:pt x="4374" y="9673"/>
                  </a:lnTo>
                  <a:lnTo>
                    <a:pt x="4538" y="9616"/>
                  </a:lnTo>
                  <a:lnTo>
                    <a:pt x="4699" y="9552"/>
                  </a:lnTo>
                  <a:lnTo>
                    <a:pt x="4859" y="9482"/>
                  </a:lnTo>
                  <a:lnTo>
                    <a:pt x="5017" y="9405"/>
                  </a:lnTo>
                  <a:lnTo>
                    <a:pt x="5174" y="9329"/>
                  </a:lnTo>
                  <a:lnTo>
                    <a:pt x="5329" y="9244"/>
                  </a:lnTo>
                  <a:cubicBezTo>
                    <a:pt x="5380" y="9215"/>
                    <a:pt x="5432" y="9187"/>
                    <a:pt x="5483" y="9158"/>
                  </a:cubicBezTo>
                  <a:cubicBezTo>
                    <a:pt x="5533" y="9126"/>
                    <a:pt x="5584" y="9095"/>
                    <a:pt x="5634" y="9063"/>
                  </a:cubicBezTo>
                  <a:lnTo>
                    <a:pt x="5784" y="8967"/>
                  </a:lnTo>
                  <a:lnTo>
                    <a:pt x="5934" y="8865"/>
                  </a:lnTo>
                  <a:lnTo>
                    <a:pt x="6078" y="8759"/>
                  </a:lnTo>
                  <a:lnTo>
                    <a:pt x="6224" y="8652"/>
                  </a:lnTo>
                  <a:lnTo>
                    <a:pt x="6367" y="8536"/>
                  </a:lnTo>
                  <a:lnTo>
                    <a:pt x="6508" y="8417"/>
                  </a:lnTo>
                  <a:lnTo>
                    <a:pt x="6645" y="8295"/>
                  </a:lnTo>
                  <a:lnTo>
                    <a:pt x="6783" y="8169"/>
                  </a:lnTo>
                  <a:lnTo>
                    <a:pt x="6916" y="8040"/>
                  </a:lnTo>
                  <a:lnTo>
                    <a:pt x="7049" y="7904"/>
                  </a:lnTo>
                  <a:lnTo>
                    <a:pt x="7179" y="7768"/>
                  </a:lnTo>
                  <a:lnTo>
                    <a:pt x="7308" y="7624"/>
                  </a:lnTo>
                  <a:lnTo>
                    <a:pt x="7433" y="7480"/>
                  </a:lnTo>
                  <a:lnTo>
                    <a:pt x="7556" y="7329"/>
                  </a:lnTo>
                  <a:lnTo>
                    <a:pt x="7677" y="7178"/>
                  </a:lnTo>
                  <a:cubicBezTo>
                    <a:pt x="7717" y="7127"/>
                    <a:pt x="7756" y="7075"/>
                    <a:pt x="7796" y="7024"/>
                  </a:cubicBezTo>
                  <a:lnTo>
                    <a:pt x="7911" y="6861"/>
                  </a:lnTo>
                  <a:cubicBezTo>
                    <a:pt x="7949" y="6806"/>
                    <a:pt x="7988" y="6752"/>
                    <a:pt x="8026" y="6697"/>
                  </a:cubicBezTo>
                  <a:lnTo>
                    <a:pt x="8137" y="6534"/>
                  </a:lnTo>
                  <a:cubicBezTo>
                    <a:pt x="8173" y="6478"/>
                    <a:pt x="8208" y="6421"/>
                    <a:pt x="8244" y="6365"/>
                  </a:cubicBezTo>
                  <a:lnTo>
                    <a:pt x="8351" y="6189"/>
                  </a:lnTo>
                  <a:cubicBezTo>
                    <a:pt x="8385" y="6131"/>
                    <a:pt x="8420" y="6074"/>
                    <a:pt x="8454" y="6016"/>
                  </a:cubicBezTo>
                  <a:lnTo>
                    <a:pt x="8556" y="5835"/>
                  </a:lnTo>
                  <a:cubicBezTo>
                    <a:pt x="8589" y="5774"/>
                    <a:pt x="8621" y="5713"/>
                    <a:pt x="8654" y="5652"/>
                  </a:cubicBezTo>
                  <a:cubicBezTo>
                    <a:pt x="8686" y="5591"/>
                    <a:pt x="8717" y="5529"/>
                    <a:pt x="8749" y="5468"/>
                  </a:cubicBezTo>
                  <a:cubicBezTo>
                    <a:pt x="8780" y="5405"/>
                    <a:pt x="8810" y="5341"/>
                    <a:pt x="8841" y="5278"/>
                  </a:cubicBezTo>
                  <a:lnTo>
                    <a:pt x="8931" y="5089"/>
                  </a:lnTo>
                  <a:cubicBezTo>
                    <a:pt x="8960" y="5024"/>
                    <a:pt x="8989" y="4958"/>
                    <a:pt x="9019" y="4893"/>
                  </a:cubicBezTo>
                  <a:lnTo>
                    <a:pt x="9103" y="4698"/>
                  </a:lnTo>
                  <a:cubicBezTo>
                    <a:pt x="9130" y="4632"/>
                    <a:pt x="9156" y="4566"/>
                    <a:pt x="9183" y="4500"/>
                  </a:cubicBezTo>
                  <a:cubicBezTo>
                    <a:pt x="9209" y="4431"/>
                    <a:pt x="9235" y="4363"/>
                    <a:pt x="9261" y="4294"/>
                  </a:cubicBezTo>
                  <a:cubicBezTo>
                    <a:pt x="9286" y="4226"/>
                    <a:pt x="9310" y="4159"/>
                    <a:pt x="9335" y="4091"/>
                  </a:cubicBezTo>
                  <a:cubicBezTo>
                    <a:pt x="9359" y="4022"/>
                    <a:pt x="9382" y="3954"/>
                    <a:pt x="9406" y="3885"/>
                  </a:cubicBezTo>
                  <a:cubicBezTo>
                    <a:pt x="9429" y="3815"/>
                    <a:pt x="9452" y="3744"/>
                    <a:pt x="9475" y="3674"/>
                  </a:cubicBezTo>
                  <a:cubicBezTo>
                    <a:pt x="9497" y="3604"/>
                    <a:pt x="9518" y="3534"/>
                    <a:pt x="9540" y="3464"/>
                  </a:cubicBezTo>
                  <a:cubicBezTo>
                    <a:pt x="9561" y="3392"/>
                    <a:pt x="9583" y="3320"/>
                    <a:pt x="9604" y="3248"/>
                  </a:cubicBezTo>
                  <a:cubicBezTo>
                    <a:pt x="9623" y="3175"/>
                    <a:pt x="9642" y="3103"/>
                    <a:pt x="9661" y="3030"/>
                  </a:cubicBezTo>
                  <a:cubicBezTo>
                    <a:pt x="9679" y="2958"/>
                    <a:pt x="9698" y="2887"/>
                    <a:pt x="9716" y="2815"/>
                  </a:cubicBezTo>
                  <a:cubicBezTo>
                    <a:pt x="9733" y="2741"/>
                    <a:pt x="9751" y="2666"/>
                    <a:pt x="9768" y="2592"/>
                  </a:cubicBezTo>
                  <a:cubicBezTo>
                    <a:pt x="9785" y="2518"/>
                    <a:pt x="9801" y="2443"/>
                    <a:pt x="9818" y="2369"/>
                  </a:cubicBezTo>
                  <a:cubicBezTo>
                    <a:pt x="9832" y="2294"/>
                    <a:pt x="9847" y="2218"/>
                    <a:pt x="9861" y="2143"/>
                  </a:cubicBezTo>
                  <a:lnTo>
                    <a:pt x="9903" y="1918"/>
                  </a:lnTo>
                  <a:cubicBezTo>
                    <a:pt x="9916" y="1842"/>
                    <a:pt x="9928" y="1766"/>
                    <a:pt x="9941" y="1690"/>
                  </a:cubicBezTo>
                  <a:cubicBezTo>
                    <a:pt x="9952" y="1612"/>
                    <a:pt x="9964" y="1535"/>
                    <a:pt x="9975" y="1457"/>
                  </a:cubicBezTo>
                  <a:cubicBezTo>
                    <a:pt x="9983" y="1377"/>
                    <a:pt x="9993" y="1295"/>
                    <a:pt x="10001" y="1215"/>
                  </a:cubicBezTo>
                  <a:lnTo>
                    <a:pt x="7615" y="1876"/>
                  </a:lnTo>
                  <a:lnTo>
                    <a:pt x="5618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70596" y="234864"/>
            <a:ext cx="8794113" cy="596653"/>
          </a:xfrm>
        </p:spPr>
        <p:txBody>
          <a:bodyPr/>
          <a:lstStyle/>
          <a:p>
            <a:r>
              <a:rPr lang="en-US" dirty="0" smtClean="0"/>
              <a:t>The retail value chain presents a host of opportunities for apps to improve the availability and quality of information</a:t>
            </a:r>
            <a:endParaRPr lang="en-US" dirty="0"/>
          </a:p>
        </p:txBody>
      </p:sp>
      <p:grpSp>
        <p:nvGrpSpPr>
          <p:cNvPr id="4" name="Group 2"/>
          <p:cNvGrpSpPr/>
          <p:nvPr/>
        </p:nvGrpSpPr>
        <p:grpSpPr bwMode="gray">
          <a:xfrm>
            <a:off x="483091" y="3421753"/>
            <a:ext cx="1949189" cy="276999"/>
            <a:chOff x="473445" y="3865477"/>
            <a:chExt cx="1910273" cy="271485"/>
          </a:xfrm>
        </p:grpSpPr>
        <p:sp>
          <p:nvSpPr>
            <p:cNvPr id="77" name="RectangleLegend1"/>
            <p:cNvSpPr>
              <a:spLocks noChangeArrowheads="1"/>
            </p:cNvSpPr>
            <p:nvPr/>
          </p:nvSpPr>
          <p:spPr bwMode="gray">
            <a:xfrm>
              <a:off x="473445" y="3893030"/>
              <a:ext cx="165100" cy="160338"/>
            </a:xfrm>
            <a:prstGeom prst="rect">
              <a:avLst/>
            </a:prstGeom>
            <a:solidFill>
              <a:srgbClr val="27AAE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81" name="Legend1"/>
            <p:cNvSpPr>
              <a:spLocks noChangeArrowheads="1"/>
            </p:cNvSpPr>
            <p:nvPr/>
          </p:nvSpPr>
          <p:spPr bwMode="gray">
            <a:xfrm>
              <a:off x="727445" y="3865477"/>
              <a:ext cx="1656273" cy="2714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dirty="0" smtClean="0">
                  <a:latin typeface="+mn-lt"/>
                </a:rPr>
                <a:t>Demand forecasts</a:t>
              </a:r>
              <a:endParaRPr lang="en-US" dirty="0">
                <a:latin typeface="+mn-lt"/>
              </a:endParaRPr>
            </a:p>
          </p:txBody>
        </p:sp>
      </p:grpSp>
      <p:grpSp>
        <p:nvGrpSpPr>
          <p:cNvPr id="5" name="Group 7"/>
          <p:cNvGrpSpPr/>
          <p:nvPr/>
        </p:nvGrpSpPr>
        <p:grpSpPr bwMode="gray">
          <a:xfrm>
            <a:off x="483090" y="4157785"/>
            <a:ext cx="1408207" cy="276999"/>
            <a:chOff x="473445" y="4464963"/>
            <a:chExt cx="1380092" cy="271485"/>
          </a:xfrm>
        </p:grpSpPr>
        <p:sp>
          <p:nvSpPr>
            <p:cNvPr id="78" name="RectangleLegend2"/>
            <p:cNvSpPr>
              <a:spLocks noChangeArrowheads="1"/>
            </p:cNvSpPr>
            <p:nvPr/>
          </p:nvSpPr>
          <p:spPr bwMode="gray">
            <a:xfrm>
              <a:off x="473445" y="4476076"/>
              <a:ext cx="165100" cy="160338"/>
            </a:xfrm>
            <a:prstGeom prst="rect">
              <a:avLst/>
            </a:prstGeom>
            <a:solidFill>
              <a:srgbClr val="ACC23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82" name="Legend2"/>
            <p:cNvSpPr>
              <a:spLocks noChangeArrowheads="1"/>
            </p:cNvSpPr>
            <p:nvPr/>
          </p:nvSpPr>
          <p:spPr bwMode="gray">
            <a:xfrm>
              <a:off x="727445" y="4464963"/>
              <a:ext cx="1126092" cy="2714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dirty="0" smtClean="0">
                  <a:latin typeface="+mn-lt"/>
                </a:rPr>
                <a:t>Product info</a:t>
              </a:r>
              <a:endParaRPr lang="en-US" dirty="0">
                <a:latin typeface="+mn-lt"/>
              </a:endParaRPr>
            </a:p>
          </p:txBody>
        </p:sp>
      </p:grpSp>
      <p:grpSp>
        <p:nvGrpSpPr>
          <p:cNvPr id="7" name="Group 8"/>
          <p:cNvGrpSpPr/>
          <p:nvPr/>
        </p:nvGrpSpPr>
        <p:grpSpPr bwMode="gray">
          <a:xfrm>
            <a:off x="483090" y="4525802"/>
            <a:ext cx="1904241" cy="276999"/>
            <a:chOff x="473445" y="4736426"/>
            <a:chExt cx="1866222" cy="271485"/>
          </a:xfrm>
        </p:grpSpPr>
        <p:sp>
          <p:nvSpPr>
            <p:cNvPr id="79" name="RectangleLegend3"/>
            <p:cNvSpPr>
              <a:spLocks noChangeArrowheads="1"/>
            </p:cNvSpPr>
            <p:nvPr/>
          </p:nvSpPr>
          <p:spPr bwMode="gray">
            <a:xfrm>
              <a:off x="473445" y="474753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83" name="Legend3"/>
            <p:cNvSpPr>
              <a:spLocks noChangeArrowheads="1"/>
            </p:cNvSpPr>
            <p:nvPr/>
          </p:nvSpPr>
          <p:spPr bwMode="gray">
            <a:xfrm>
              <a:off x="727445" y="4736426"/>
              <a:ext cx="1612222" cy="2714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dirty="0" smtClean="0">
                  <a:latin typeface="+mn-lt"/>
                </a:rPr>
                <a:t>Raw material info</a:t>
              </a:r>
              <a:endParaRPr lang="en-US" dirty="0">
                <a:latin typeface="+mn-lt"/>
              </a:endParaRPr>
            </a:p>
          </p:txBody>
        </p:sp>
      </p:grpSp>
      <p:grpSp>
        <p:nvGrpSpPr>
          <p:cNvPr id="8" name="Group 9"/>
          <p:cNvGrpSpPr/>
          <p:nvPr/>
        </p:nvGrpSpPr>
        <p:grpSpPr bwMode="gray">
          <a:xfrm>
            <a:off x="483091" y="4893817"/>
            <a:ext cx="1899175" cy="276999"/>
            <a:chOff x="473445" y="5007889"/>
            <a:chExt cx="1861258" cy="271485"/>
          </a:xfrm>
        </p:grpSpPr>
        <p:sp>
          <p:nvSpPr>
            <p:cNvPr id="80" name="RectangleLegend4"/>
            <p:cNvSpPr>
              <a:spLocks noChangeArrowheads="1"/>
            </p:cNvSpPr>
            <p:nvPr/>
          </p:nvSpPr>
          <p:spPr bwMode="gray">
            <a:xfrm>
              <a:off x="473445" y="5019001"/>
              <a:ext cx="165100" cy="160338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84" name="Legend4"/>
            <p:cNvSpPr>
              <a:spLocks noChangeArrowheads="1"/>
            </p:cNvSpPr>
            <p:nvPr/>
          </p:nvSpPr>
          <p:spPr bwMode="gray">
            <a:xfrm>
              <a:off x="727445" y="5007889"/>
              <a:ext cx="1607258" cy="2714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dirty="0" smtClean="0">
                  <a:latin typeface="+mn-lt"/>
                </a:rPr>
                <a:t>Product feedback</a:t>
              </a:r>
              <a:endParaRPr lang="en-US" dirty="0">
                <a:latin typeface="+mn-lt"/>
              </a:endParaRPr>
            </a:p>
          </p:txBody>
        </p:sp>
      </p:grpSp>
      <p:sp>
        <p:nvSpPr>
          <p:cNvPr id="87" name="Rectangle 64"/>
          <p:cNvSpPr txBox="1"/>
          <p:nvPr/>
        </p:nvSpPr>
        <p:spPr bwMode="gray">
          <a:xfrm>
            <a:off x="302023" y="3037876"/>
            <a:ext cx="247156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Potential Information flows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88" name="Straight Connector 87"/>
          <p:cNvCxnSpPr/>
          <p:nvPr/>
        </p:nvCxnSpPr>
        <p:spPr bwMode="gray">
          <a:xfrm flipV="1">
            <a:off x="318391" y="3302309"/>
            <a:ext cx="2425873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10"/>
          <p:cNvGrpSpPr/>
          <p:nvPr/>
        </p:nvGrpSpPr>
        <p:grpSpPr bwMode="gray">
          <a:xfrm>
            <a:off x="483090" y="5261833"/>
            <a:ext cx="2074992" cy="276999"/>
            <a:chOff x="473445" y="5290667"/>
            <a:chExt cx="2033564" cy="271485"/>
          </a:xfrm>
        </p:grpSpPr>
        <p:sp>
          <p:nvSpPr>
            <p:cNvPr id="89" name="RectangleLegend4"/>
            <p:cNvSpPr>
              <a:spLocks noChangeArrowheads="1"/>
            </p:cNvSpPr>
            <p:nvPr/>
          </p:nvSpPr>
          <p:spPr bwMode="gray">
            <a:xfrm>
              <a:off x="473445" y="5301779"/>
              <a:ext cx="165100" cy="160338"/>
            </a:xfrm>
            <a:prstGeom prst="rect">
              <a:avLst/>
            </a:prstGeom>
            <a:solidFill>
              <a:srgbClr val="002060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0" name="Legend4"/>
            <p:cNvSpPr>
              <a:spLocks noChangeArrowheads="1"/>
            </p:cNvSpPr>
            <p:nvPr/>
          </p:nvSpPr>
          <p:spPr bwMode="gray">
            <a:xfrm>
              <a:off x="727445" y="5290667"/>
              <a:ext cx="1779564" cy="2714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dirty="0" smtClean="0">
                  <a:latin typeface="+mn-lt"/>
                </a:rPr>
                <a:t>Working conditions</a:t>
              </a:r>
              <a:endParaRPr lang="en-US" dirty="0">
                <a:latin typeface="+mn-lt"/>
              </a:endParaRPr>
            </a:p>
          </p:txBody>
        </p:sp>
      </p:grpSp>
      <p:grpSp>
        <p:nvGrpSpPr>
          <p:cNvPr id="10" name="Group 11"/>
          <p:cNvGrpSpPr/>
          <p:nvPr/>
        </p:nvGrpSpPr>
        <p:grpSpPr bwMode="gray">
          <a:xfrm>
            <a:off x="483090" y="5629846"/>
            <a:ext cx="2006832" cy="553998"/>
            <a:chOff x="473445" y="5573921"/>
            <a:chExt cx="1966765" cy="542970"/>
          </a:xfrm>
        </p:grpSpPr>
        <p:sp>
          <p:nvSpPr>
            <p:cNvPr id="91" name="RectangleLegend4"/>
            <p:cNvSpPr>
              <a:spLocks noChangeArrowheads="1"/>
            </p:cNvSpPr>
            <p:nvPr/>
          </p:nvSpPr>
          <p:spPr bwMode="gray">
            <a:xfrm>
              <a:off x="473445" y="5585033"/>
              <a:ext cx="165100" cy="160338"/>
            </a:xfrm>
            <a:prstGeom prst="rect">
              <a:avLst/>
            </a:prstGeom>
            <a:solidFill>
              <a:schemeClr val="accent1">
                <a:lumMod val="10000"/>
              </a:schemeClr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2" name="Legend4"/>
            <p:cNvSpPr>
              <a:spLocks noChangeArrowheads="1"/>
            </p:cNvSpPr>
            <p:nvPr/>
          </p:nvSpPr>
          <p:spPr bwMode="gray">
            <a:xfrm>
              <a:off x="727445" y="5573921"/>
              <a:ext cx="1712765" cy="5429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dirty="0" smtClean="0">
                  <a:latin typeface="+mn-lt"/>
                </a:rPr>
                <a:t>Best practices, </a:t>
              </a:r>
            </a:p>
            <a:p>
              <a:pPr defTabSz="913526">
                <a:buClr>
                  <a:schemeClr val="tx2"/>
                </a:buClr>
              </a:pPr>
              <a:r>
                <a:rPr lang="en-US" dirty="0">
                  <a:latin typeface="+mn-lt"/>
                </a:rPr>
                <a:t>t</a:t>
              </a:r>
              <a:r>
                <a:rPr lang="en-US" dirty="0" smtClean="0">
                  <a:latin typeface="+mn-lt"/>
                </a:rPr>
                <a:t>echnical guidance</a:t>
              </a:r>
              <a:endParaRPr lang="en-US" dirty="0">
                <a:latin typeface="+mn-lt"/>
              </a:endParaRPr>
            </a:p>
          </p:txBody>
        </p:sp>
      </p:grpSp>
      <p:sp>
        <p:nvSpPr>
          <p:cNvPr id="22" name="Oval 21"/>
          <p:cNvSpPr/>
          <p:nvPr/>
        </p:nvSpPr>
        <p:spPr bwMode="gray">
          <a:xfrm>
            <a:off x="5200122" y="3136431"/>
            <a:ext cx="1363310" cy="94911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48" tIns="46648" rIns="46648" bIns="46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Work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1290025" y="1099333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Raw materials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3733035" y="1096978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ier 2/3 suppliers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6338549" y="1240249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ier 1 suppliers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5236251" y="4744931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tores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7130169" y="3209933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uyer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3312100" y="3209933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nsumers</a:t>
            </a:r>
          </a:p>
        </p:txBody>
      </p:sp>
      <p:grpSp>
        <p:nvGrpSpPr>
          <p:cNvPr id="11" name="Group 6"/>
          <p:cNvGrpSpPr/>
          <p:nvPr/>
        </p:nvGrpSpPr>
        <p:grpSpPr bwMode="gray">
          <a:xfrm>
            <a:off x="483090" y="3789769"/>
            <a:ext cx="2114619" cy="276999"/>
            <a:chOff x="478537" y="4167660"/>
            <a:chExt cx="2072400" cy="271485"/>
          </a:xfrm>
        </p:grpSpPr>
        <p:sp>
          <p:nvSpPr>
            <p:cNvPr id="100" name="RectangleLegend1"/>
            <p:cNvSpPr>
              <a:spLocks noChangeArrowheads="1"/>
            </p:cNvSpPr>
            <p:nvPr/>
          </p:nvSpPr>
          <p:spPr bwMode="gray">
            <a:xfrm>
              <a:off x="478537" y="4178773"/>
              <a:ext cx="165100" cy="160338"/>
            </a:xfrm>
            <a:prstGeom prst="rect">
              <a:avLst/>
            </a:prstGeom>
            <a:solidFill>
              <a:srgbClr val="E4CA0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1" name="Legend1"/>
            <p:cNvSpPr>
              <a:spLocks noChangeArrowheads="1"/>
            </p:cNvSpPr>
            <p:nvPr/>
          </p:nvSpPr>
          <p:spPr bwMode="gray">
            <a:xfrm>
              <a:off x="732537" y="4167660"/>
              <a:ext cx="1818400" cy="2714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dirty="0" smtClean="0">
                  <a:latin typeface="+mn-lt"/>
                </a:rPr>
                <a:t>Production capacity</a:t>
              </a:r>
              <a:endParaRPr lang="en-US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9908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4783228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8" name="Rounded Rectangle 97"/>
          <p:cNvSpPr/>
          <p:nvPr/>
        </p:nvSpPr>
        <p:spPr bwMode="gray">
          <a:xfrm>
            <a:off x="224311" y="2907172"/>
            <a:ext cx="2627764" cy="3312178"/>
          </a:xfrm>
          <a:prstGeom prst="roundRect">
            <a:avLst>
              <a:gd name="adj" fmla="val 8274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8" name="Freeform 3"/>
          <p:cNvSpPr>
            <a:spLocks/>
          </p:cNvSpPr>
          <p:nvPr/>
        </p:nvSpPr>
        <p:spPr bwMode="gray">
          <a:xfrm>
            <a:off x="1117462" y="990403"/>
            <a:ext cx="5020369" cy="1542024"/>
          </a:xfrm>
          <a:custGeom>
            <a:avLst/>
            <a:gdLst>
              <a:gd name="T0" fmla="*/ 0 w 2554"/>
              <a:gd name="T1" fmla="*/ 0 h 890"/>
              <a:gd name="T2" fmla="*/ 2147483647 w 2554"/>
              <a:gd name="T3" fmla="*/ 0 h 890"/>
              <a:gd name="T4" fmla="*/ 2147483647 w 2554"/>
              <a:gd name="T5" fmla="*/ 2147483647 h 890"/>
              <a:gd name="T6" fmla="*/ 2147483647 w 2554"/>
              <a:gd name="T7" fmla="*/ 2147483647 h 890"/>
              <a:gd name="T8" fmla="*/ 0 w 2554"/>
              <a:gd name="T9" fmla="*/ 2147483647 h 890"/>
              <a:gd name="T10" fmla="*/ 0 w 2554"/>
              <a:gd name="T11" fmla="*/ 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554"/>
              <a:gd name="T19" fmla="*/ 0 h 890"/>
              <a:gd name="T20" fmla="*/ 2554 w 2554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554" h="890">
                <a:moveTo>
                  <a:pt x="0" y="0"/>
                </a:moveTo>
                <a:lnTo>
                  <a:pt x="2368" y="0"/>
                </a:lnTo>
                <a:lnTo>
                  <a:pt x="2554" y="457"/>
                </a:lnTo>
                <a:lnTo>
                  <a:pt x="2370" y="889"/>
                </a:lnTo>
                <a:lnTo>
                  <a:pt x="0" y="89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3296" tIns="46648" rIns="93296" bIns="46648">
            <a:noAutofit/>
          </a:bodyPr>
          <a:lstStyle/>
          <a:p>
            <a:endParaRPr lang="en-US" dirty="0"/>
          </a:p>
        </p:txBody>
      </p:sp>
      <p:grpSp>
        <p:nvGrpSpPr>
          <p:cNvPr id="3" name="Group 49"/>
          <p:cNvGrpSpPr>
            <a:grpSpLocks/>
          </p:cNvGrpSpPr>
          <p:nvPr/>
        </p:nvGrpSpPr>
        <p:grpSpPr bwMode="gray">
          <a:xfrm>
            <a:off x="3094956" y="986835"/>
            <a:ext cx="5611479" cy="5252515"/>
            <a:chOff x="-84370714" y="-50229900"/>
            <a:chExt cx="92615078" cy="92947206"/>
          </a:xfrm>
          <a:solidFill>
            <a:schemeClr val="bg2">
              <a:lumMod val="9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64" name="Freeform 5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-38375416" y="-50229900"/>
              <a:ext cx="46619780" cy="57270904"/>
            </a:xfrm>
            <a:custGeom>
              <a:avLst/>
              <a:gdLst>
                <a:gd name="T0" fmla="*/ 2147483647 w 1530"/>
                <a:gd name="T1" fmla="*/ 2147483647 h 1871"/>
                <a:gd name="T2" fmla="*/ 2147483647 w 1530"/>
                <a:gd name="T3" fmla="*/ 2147483647 h 1871"/>
                <a:gd name="T4" fmla="*/ 2147483647 w 1530"/>
                <a:gd name="T5" fmla="*/ 2147483647 h 1871"/>
                <a:gd name="T6" fmla="*/ 2147483647 w 1530"/>
                <a:gd name="T7" fmla="*/ 2147483647 h 1871"/>
                <a:gd name="T8" fmla="*/ 2147483647 w 1530"/>
                <a:gd name="T9" fmla="*/ 2147483647 h 1871"/>
                <a:gd name="T10" fmla="*/ 2147483647 w 1530"/>
                <a:gd name="T11" fmla="*/ 2147483647 h 1871"/>
                <a:gd name="T12" fmla="*/ 2147483647 w 1530"/>
                <a:gd name="T13" fmla="*/ 2147483647 h 1871"/>
                <a:gd name="T14" fmla="*/ 2147483647 w 1530"/>
                <a:gd name="T15" fmla="*/ 2147483647 h 1871"/>
                <a:gd name="T16" fmla="*/ 2147483647 w 1530"/>
                <a:gd name="T17" fmla="*/ 2147483647 h 1871"/>
                <a:gd name="T18" fmla="*/ 2147483647 w 1530"/>
                <a:gd name="T19" fmla="*/ 2147483647 h 1871"/>
                <a:gd name="T20" fmla="*/ 2147483647 w 1530"/>
                <a:gd name="T21" fmla="*/ 2147483647 h 1871"/>
                <a:gd name="T22" fmla="*/ 2147483647 w 1530"/>
                <a:gd name="T23" fmla="*/ 2147483647 h 1871"/>
                <a:gd name="T24" fmla="*/ 2147483647 w 1530"/>
                <a:gd name="T25" fmla="*/ 2147483647 h 1871"/>
                <a:gd name="T26" fmla="*/ 2147483647 w 1530"/>
                <a:gd name="T27" fmla="*/ 2147483647 h 1871"/>
                <a:gd name="T28" fmla="*/ 2147483647 w 1530"/>
                <a:gd name="T29" fmla="*/ 2147483647 h 1871"/>
                <a:gd name="T30" fmla="*/ 2147483647 w 1530"/>
                <a:gd name="T31" fmla="*/ 2147483647 h 1871"/>
                <a:gd name="T32" fmla="*/ 2147483647 w 1530"/>
                <a:gd name="T33" fmla="*/ 2147483647 h 1871"/>
                <a:gd name="T34" fmla="*/ 2147483647 w 1530"/>
                <a:gd name="T35" fmla="*/ 2147483647 h 1871"/>
                <a:gd name="T36" fmla="*/ 2147483647 w 1530"/>
                <a:gd name="T37" fmla="*/ 2147483647 h 1871"/>
                <a:gd name="T38" fmla="*/ 2147483647 w 1530"/>
                <a:gd name="T39" fmla="*/ 2147483647 h 1871"/>
                <a:gd name="T40" fmla="*/ 2147483647 w 1530"/>
                <a:gd name="T41" fmla="*/ 2147483647 h 1871"/>
                <a:gd name="T42" fmla="*/ 2147483647 w 1530"/>
                <a:gd name="T43" fmla="*/ 2147483647 h 1871"/>
                <a:gd name="T44" fmla="*/ 2147483647 w 1530"/>
                <a:gd name="T45" fmla="*/ 2147483647 h 1871"/>
                <a:gd name="T46" fmla="*/ 2147483647 w 1530"/>
                <a:gd name="T47" fmla="*/ 2147483647 h 1871"/>
                <a:gd name="T48" fmla="*/ 2147483647 w 1530"/>
                <a:gd name="T49" fmla="*/ 2147483647 h 1871"/>
                <a:gd name="T50" fmla="*/ 2147483647 w 1530"/>
                <a:gd name="T51" fmla="*/ 2147483647 h 1871"/>
                <a:gd name="T52" fmla="*/ 2147483647 w 1530"/>
                <a:gd name="T53" fmla="*/ 2147483647 h 1871"/>
                <a:gd name="T54" fmla="*/ 2147483647 w 1530"/>
                <a:gd name="T55" fmla="*/ 2147483647 h 1871"/>
                <a:gd name="T56" fmla="*/ 2147483647 w 1530"/>
                <a:gd name="T57" fmla="*/ 2147483647 h 1871"/>
                <a:gd name="T58" fmla="*/ 2147483647 w 1530"/>
                <a:gd name="T59" fmla="*/ 2147483647 h 1871"/>
                <a:gd name="T60" fmla="*/ 2147483647 w 1530"/>
                <a:gd name="T61" fmla="*/ 2147483647 h 1871"/>
                <a:gd name="T62" fmla="*/ 2147483647 w 1530"/>
                <a:gd name="T63" fmla="*/ 2147483647 h 1871"/>
                <a:gd name="T64" fmla="*/ 2147483647 w 1530"/>
                <a:gd name="T65" fmla="*/ 2147483647 h 1871"/>
                <a:gd name="T66" fmla="*/ 2147483647 w 1530"/>
                <a:gd name="T67" fmla="*/ 2147483647 h 1871"/>
                <a:gd name="T68" fmla="*/ 2147483647 w 1530"/>
                <a:gd name="T69" fmla="*/ 2147483647 h 1871"/>
                <a:gd name="T70" fmla="*/ 2147483647 w 1530"/>
                <a:gd name="T71" fmla="*/ 2147483647 h 1871"/>
                <a:gd name="T72" fmla="*/ 2147483647 w 1530"/>
                <a:gd name="T73" fmla="*/ 2147483647 h 1871"/>
                <a:gd name="T74" fmla="*/ 2147483647 w 1530"/>
                <a:gd name="T75" fmla="*/ 2147483647 h 1871"/>
                <a:gd name="T76" fmla="*/ 2147483647 w 1530"/>
                <a:gd name="T77" fmla="*/ 2147483647 h 1871"/>
                <a:gd name="T78" fmla="*/ 2147483647 w 1530"/>
                <a:gd name="T79" fmla="*/ 2147483647 h 1871"/>
                <a:gd name="T80" fmla="*/ 2147483647 w 1530"/>
                <a:gd name="T81" fmla="*/ 2147483647 h 1871"/>
                <a:gd name="T82" fmla="*/ 2147483647 w 1530"/>
                <a:gd name="T83" fmla="*/ 2147483647 h 1871"/>
                <a:gd name="T84" fmla="*/ 2147483647 w 1530"/>
                <a:gd name="T85" fmla="*/ 2147483647 h 1871"/>
                <a:gd name="T86" fmla="*/ 2147483647 w 1530"/>
                <a:gd name="T87" fmla="*/ 2147483647 h 1871"/>
                <a:gd name="T88" fmla="*/ 2147483647 w 1530"/>
                <a:gd name="T89" fmla="*/ 2147483647 h 1871"/>
                <a:gd name="T90" fmla="*/ 2147483647 w 1530"/>
                <a:gd name="T91" fmla="*/ 2147483647 h 1871"/>
                <a:gd name="T92" fmla="*/ 2147483647 w 1530"/>
                <a:gd name="T93" fmla="*/ 2147483647 h 1871"/>
                <a:gd name="T94" fmla="*/ 2147483647 w 1530"/>
                <a:gd name="T95" fmla="*/ 2147483647 h 1871"/>
                <a:gd name="T96" fmla="*/ 2147483647 w 1530"/>
                <a:gd name="T97" fmla="*/ 0 h 1871"/>
                <a:gd name="T98" fmla="*/ 2147483647 w 1530"/>
                <a:gd name="T99" fmla="*/ 2147483647 h 187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530"/>
                <a:gd name="T151" fmla="*/ 0 h 1871"/>
                <a:gd name="T152" fmla="*/ 1530 w 1530"/>
                <a:gd name="T153" fmla="*/ 1871 h 1871"/>
                <a:gd name="connsiteX0" fmla="*/ 26 w 10000"/>
                <a:gd name="connsiteY0" fmla="*/ 4768 h 10000"/>
                <a:gd name="connsiteX1" fmla="*/ 59 w 10000"/>
                <a:gd name="connsiteY1" fmla="*/ 4762 h 10000"/>
                <a:gd name="connsiteX2" fmla="*/ 163 w 10000"/>
                <a:gd name="connsiteY2" fmla="*/ 4762 h 10000"/>
                <a:gd name="connsiteX3" fmla="*/ 268 w 10000"/>
                <a:gd name="connsiteY3" fmla="*/ 4768 h 10000"/>
                <a:gd name="connsiteX4" fmla="*/ 373 w 10000"/>
                <a:gd name="connsiteY4" fmla="*/ 4773 h 10000"/>
                <a:gd name="connsiteX5" fmla="*/ 477 w 10000"/>
                <a:gd name="connsiteY5" fmla="*/ 4778 h 10000"/>
                <a:gd name="connsiteX6" fmla="*/ 582 w 10000"/>
                <a:gd name="connsiteY6" fmla="*/ 4794 h 10000"/>
                <a:gd name="connsiteX7" fmla="*/ 686 w 10000"/>
                <a:gd name="connsiteY7" fmla="*/ 4805 h 10000"/>
                <a:gd name="connsiteX8" fmla="*/ 784 w 10000"/>
                <a:gd name="connsiteY8" fmla="*/ 4816 h 10000"/>
                <a:gd name="connsiteX9" fmla="*/ 882 w 10000"/>
                <a:gd name="connsiteY9" fmla="*/ 4832 h 10000"/>
                <a:gd name="connsiteX10" fmla="*/ 987 w 10000"/>
                <a:gd name="connsiteY10" fmla="*/ 4848 h 10000"/>
                <a:gd name="connsiteX11" fmla="*/ 1085 w 10000"/>
                <a:gd name="connsiteY11" fmla="*/ 4869 h 10000"/>
                <a:gd name="connsiteX12" fmla="*/ 1183 w 10000"/>
                <a:gd name="connsiteY12" fmla="*/ 4890 h 10000"/>
                <a:gd name="connsiteX13" fmla="*/ 1281 w 10000"/>
                <a:gd name="connsiteY13" fmla="*/ 4912 h 10000"/>
                <a:gd name="connsiteX14" fmla="*/ 1373 w 10000"/>
                <a:gd name="connsiteY14" fmla="*/ 4939 h 10000"/>
                <a:gd name="connsiteX15" fmla="*/ 1471 w 10000"/>
                <a:gd name="connsiteY15" fmla="*/ 4965 h 10000"/>
                <a:gd name="connsiteX16" fmla="*/ 1562 w 10000"/>
                <a:gd name="connsiteY16" fmla="*/ 4997 h 10000"/>
                <a:gd name="connsiteX17" fmla="*/ 1654 w 10000"/>
                <a:gd name="connsiteY17" fmla="*/ 5029 h 10000"/>
                <a:gd name="connsiteX18" fmla="*/ 1745 w 10000"/>
                <a:gd name="connsiteY18" fmla="*/ 5061 h 10000"/>
                <a:gd name="connsiteX19" fmla="*/ 1837 w 10000"/>
                <a:gd name="connsiteY19" fmla="*/ 5094 h 10000"/>
                <a:gd name="connsiteX20" fmla="*/ 1928 w 10000"/>
                <a:gd name="connsiteY20" fmla="*/ 5131 h 10000"/>
                <a:gd name="connsiteX21" fmla="*/ 2020 w 10000"/>
                <a:gd name="connsiteY21" fmla="*/ 5168 h 10000"/>
                <a:gd name="connsiteX22" fmla="*/ 2105 w 10000"/>
                <a:gd name="connsiteY22" fmla="*/ 5211 h 10000"/>
                <a:gd name="connsiteX23" fmla="*/ 2190 w 10000"/>
                <a:gd name="connsiteY23" fmla="*/ 5249 h 10000"/>
                <a:gd name="connsiteX24" fmla="*/ 2275 w 10000"/>
                <a:gd name="connsiteY24" fmla="*/ 5291 h 10000"/>
                <a:gd name="connsiteX25" fmla="*/ 2353 w 10000"/>
                <a:gd name="connsiteY25" fmla="*/ 5334 h 10000"/>
                <a:gd name="connsiteX26" fmla="*/ 2438 w 10000"/>
                <a:gd name="connsiteY26" fmla="*/ 5382 h 10000"/>
                <a:gd name="connsiteX27" fmla="*/ 2516 w 10000"/>
                <a:gd name="connsiteY27" fmla="*/ 5430 h 10000"/>
                <a:gd name="connsiteX28" fmla="*/ 2595 w 10000"/>
                <a:gd name="connsiteY28" fmla="*/ 5478 h 10000"/>
                <a:gd name="connsiteX29" fmla="*/ 2673 w 10000"/>
                <a:gd name="connsiteY29" fmla="*/ 5526 h 10000"/>
                <a:gd name="connsiteX30" fmla="*/ 2752 w 10000"/>
                <a:gd name="connsiteY30" fmla="*/ 5580 h 10000"/>
                <a:gd name="connsiteX31" fmla="*/ 2824 w 10000"/>
                <a:gd name="connsiteY31" fmla="*/ 5633 h 10000"/>
                <a:gd name="connsiteX32" fmla="*/ 2895 w 10000"/>
                <a:gd name="connsiteY32" fmla="*/ 5687 h 10000"/>
                <a:gd name="connsiteX33" fmla="*/ 2967 w 10000"/>
                <a:gd name="connsiteY33" fmla="*/ 5746 h 10000"/>
                <a:gd name="connsiteX34" fmla="*/ 3033 w 10000"/>
                <a:gd name="connsiteY34" fmla="*/ 5804 h 10000"/>
                <a:gd name="connsiteX35" fmla="*/ 3105 w 10000"/>
                <a:gd name="connsiteY35" fmla="*/ 5863 h 10000"/>
                <a:gd name="connsiteX36" fmla="*/ 3170 w 10000"/>
                <a:gd name="connsiteY36" fmla="*/ 5922 h 10000"/>
                <a:gd name="connsiteX37" fmla="*/ 3229 w 10000"/>
                <a:gd name="connsiteY37" fmla="*/ 5986 h 10000"/>
                <a:gd name="connsiteX38" fmla="*/ 3294 w 10000"/>
                <a:gd name="connsiteY38" fmla="*/ 6045 h 10000"/>
                <a:gd name="connsiteX39" fmla="*/ 3353 w 10000"/>
                <a:gd name="connsiteY39" fmla="*/ 6109 h 10000"/>
                <a:gd name="connsiteX40" fmla="*/ 3412 w 10000"/>
                <a:gd name="connsiteY40" fmla="*/ 6173 h 10000"/>
                <a:gd name="connsiteX41" fmla="*/ 3471 w 10000"/>
                <a:gd name="connsiteY41" fmla="*/ 6237 h 10000"/>
                <a:gd name="connsiteX42" fmla="*/ 3523 w 10000"/>
                <a:gd name="connsiteY42" fmla="*/ 6307 h 10000"/>
                <a:gd name="connsiteX43" fmla="*/ 3575 w 10000"/>
                <a:gd name="connsiteY43" fmla="*/ 6376 h 10000"/>
                <a:gd name="connsiteX44" fmla="*/ 3627 w 10000"/>
                <a:gd name="connsiteY44" fmla="*/ 6446 h 10000"/>
                <a:gd name="connsiteX45" fmla="*/ 3680 w 10000"/>
                <a:gd name="connsiteY45" fmla="*/ 6515 h 10000"/>
                <a:gd name="connsiteX46" fmla="*/ 3719 w 10000"/>
                <a:gd name="connsiteY46" fmla="*/ 6590 h 10000"/>
                <a:gd name="connsiteX47" fmla="*/ 3771 w 10000"/>
                <a:gd name="connsiteY47" fmla="*/ 6665 h 10000"/>
                <a:gd name="connsiteX48" fmla="*/ 3810 w 10000"/>
                <a:gd name="connsiteY48" fmla="*/ 6734 h 10000"/>
                <a:gd name="connsiteX49" fmla="*/ 3850 w 10000"/>
                <a:gd name="connsiteY49" fmla="*/ 6809 h 10000"/>
                <a:gd name="connsiteX50" fmla="*/ 3889 w 10000"/>
                <a:gd name="connsiteY50" fmla="*/ 6884 h 10000"/>
                <a:gd name="connsiteX51" fmla="*/ 3922 w 10000"/>
                <a:gd name="connsiteY51" fmla="*/ 6959 h 10000"/>
                <a:gd name="connsiteX52" fmla="*/ 3954 w 10000"/>
                <a:gd name="connsiteY52" fmla="*/ 7039 h 10000"/>
                <a:gd name="connsiteX53" fmla="*/ 3987 w 10000"/>
                <a:gd name="connsiteY53" fmla="*/ 7119 h 10000"/>
                <a:gd name="connsiteX54" fmla="*/ 4020 w 10000"/>
                <a:gd name="connsiteY54" fmla="*/ 7194 h 10000"/>
                <a:gd name="connsiteX55" fmla="*/ 4046 w 10000"/>
                <a:gd name="connsiteY55" fmla="*/ 7274 h 10000"/>
                <a:gd name="connsiteX56" fmla="*/ 4065 w 10000"/>
                <a:gd name="connsiteY56" fmla="*/ 7354 h 10000"/>
                <a:gd name="connsiteX57" fmla="*/ 4092 w 10000"/>
                <a:gd name="connsiteY57" fmla="*/ 7440 h 10000"/>
                <a:gd name="connsiteX58" fmla="*/ 4111 w 10000"/>
                <a:gd name="connsiteY58" fmla="*/ 7520 h 10000"/>
                <a:gd name="connsiteX59" fmla="*/ 4131 w 10000"/>
                <a:gd name="connsiteY59" fmla="*/ 7600 h 10000"/>
                <a:gd name="connsiteX60" fmla="*/ 4144 w 10000"/>
                <a:gd name="connsiteY60" fmla="*/ 7686 h 10000"/>
                <a:gd name="connsiteX61" fmla="*/ 4157 w 10000"/>
                <a:gd name="connsiteY61" fmla="*/ 7771 h 10000"/>
                <a:gd name="connsiteX62" fmla="*/ 4163 w 10000"/>
                <a:gd name="connsiteY62" fmla="*/ 7857 h 10000"/>
                <a:gd name="connsiteX63" fmla="*/ 4170 w 10000"/>
                <a:gd name="connsiteY63" fmla="*/ 7942 h 10000"/>
                <a:gd name="connsiteX64" fmla="*/ 4170 w 10000"/>
                <a:gd name="connsiteY64" fmla="*/ 8028 h 10000"/>
                <a:gd name="connsiteX65" fmla="*/ 4176 w 10000"/>
                <a:gd name="connsiteY65" fmla="*/ 8113 h 10000"/>
                <a:gd name="connsiteX66" fmla="*/ 4170 w 10000"/>
                <a:gd name="connsiteY66" fmla="*/ 8226 h 10000"/>
                <a:gd name="connsiteX67" fmla="*/ 4163 w 10000"/>
                <a:gd name="connsiteY67" fmla="*/ 8343 h 10000"/>
                <a:gd name="connsiteX68" fmla="*/ 4157 w 10000"/>
                <a:gd name="connsiteY68" fmla="*/ 8450 h 10000"/>
                <a:gd name="connsiteX69" fmla="*/ 4137 w 10000"/>
                <a:gd name="connsiteY69" fmla="*/ 8562 h 10000"/>
                <a:gd name="connsiteX70" fmla="*/ 6739 w 10000"/>
                <a:gd name="connsiteY70" fmla="*/ 10000 h 10000"/>
                <a:gd name="connsiteX71" fmla="*/ 9850 w 10000"/>
                <a:gd name="connsiteY71" fmla="*/ 9498 h 10000"/>
                <a:gd name="connsiteX72" fmla="*/ 9889 w 10000"/>
                <a:gd name="connsiteY72" fmla="*/ 9332 h 10000"/>
                <a:gd name="connsiteX73" fmla="*/ 9915 w 10000"/>
                <a:gd name="connsiteY73" fmla="*/ 9161 h 10000"/>
                <a:gd name="connsiteX74" fmla="*/ 9941 w 10000"/>
                <a:gd name="connsiteY74" fmla="*/ 8990 h 10000"/>
                <a:gd name="connsiteX75" fmla="*/ 9961 w 10000"/>
                <a:gd name="connsiteY75" fmla="*/ 8813 h 10000"/>
                <a:gd name="connsiteX76" fmla="*/ 9974 w 10000"/>
                <a:gd name="connsiteY76" fmla="*/ 8637 h 10000"/>
                <a:gd name="connsiteX77" fmla="*/ 9987 w 10000"/>
                <a:gd name="connsiteY77" fmla="*/ 8466 h 10000"/>
                <a:gd name="connsiteX78" fmla="*/ 9993 w 10000"/>
                <a:gd name="connsiteY78" fmla="*/ 8290 h 10000"/>
                <a:gd name="connsiteX79" fmla="*/ 10000 w 10000"/>
                <a:gd name="connsiteY79" fmla="*/ 8113 h 10000"/>
                <a:gd name="connsiteX80" fmla="*/ 9993 w 10000"/>
                <a:gd name="connsiteY80" fmla="*/ 7900 h 10000"/>
                <a:gd name="connsiteX81" fmla="*/ 9987 w 10000"/>
                <a:gd name="connsiteY81" fmla="*/ 7696 h 10000"/>
                <a:gd name="connsiteX82" fmla="*/ 9967 w 10000"/>
                <a:gd name="connsiteY82" fmla="*/ 7488 h 10000"/>
                <a:gd name="connsiteX83" fmla="*/ 9948 w 10000"/>
                <a:gd name="connsiteY83" fmla="*/ 7285 h 10000"/>
                <a:gd name="connsiteX84" fmla="*/ 9915 w 10000"/>
                <a:gd name="connsiteY84" fmla="*/ 7076 h 10000"/>
                <a:gd name="connsiteX85" fmla="*/ 9882 w 10000"/>
                <a:gd name="connsiteY85" fmla="*/ 6879 h 10000"/>
                <a:gd name="connsiteX86" fmla="*/ 9843 w 10000"/>
                <a:gd name="connsiteY86" fmla="*/ 6676 h 10000"/>
                <a:gd name="connsiteX87" fmla="*/ 9797 w 10000"/>
                <a:gd name="connsiteY87" fmla="*/ 6478 h 10000"/>
                <a:gd name="connsiteX88" fmla="*/ 9745 w 10000"/>
                <a:gd name="connsiteY88" fmla="*/ 6280 h 10000"/>
                <a:gd name="connsiteX89" fmla="*/ 9686 w 10000"/>
                <a:gd name="connsiteY89" fmla="*/ 6088 h 10000"/>
                <a:gd name="connsiteX90" fmla="*/ 9621 w 10000"/>
                <a:gd name="connsiteY90" fmla="*/ 5890 h 10000"/>
                <a:gd name="connsiteX91" fmla="*/ 9556 w 10000"/>
                <a:gd name="connsiteY91" fmla="*/ 5697 h 10000"/>
                <a:gd name="connsiteX92" fmla="*/ 9477 w 10000"/>
                <a:gd name="connsiteY92" fmla="*/ 5510 h 10000"/>
                <a:gd name="connsiteX93" fmla="*/ 9399 w 10000"/>
                <a:gd name="connsiteY93" fmla="*/ 5323 h 10000"/>
                <a:gd name="connsiteX94" fmla="*/ 9307 w 10000"/>
                <a:gd name="connsiteY94" fmla="*/ 5136 h 10000"/>
                <a:gd name="connsiteX95" fmla="*/ 9216 w 10000"/>
                <a:gd name="connsiteY95" fmla="*/ 4955 h 10000"/>
                <a:gd name="connsiteX96" fmla="*/ 9124 w 10000"/>
                <a:gd name="connsiteY96" fmla="*/ 4773 h 10000"/>
                <a:gd name="connsiteX97" fmla="*/ 9020 w 10000"/>
                <a:gd name="connsiteY97" fmla="*/ 4596 h 10000"/>
                <a:gd name="connsiteX98" fmla="*/ 8915 w 10000"/>
                <a:gd name="connsiteY98" fmla="*/ 4420 h 10000"/>
                <a:gd name="connsiteX99" fmla="*/ 8804 w 10000"/>
                <a:gd name="connsiteY99" fmla="*/ 4244 h 10000"/>
                <a:gd name="connsiteX100" fmla="*/ 8686 w 10000"/>
                <a:gd name="connsiteY100" fmla="*/ 4073 h 10000"/>
                <a:gd name="connsiteX101" fmla="*/ 8562 w 10000"/>
                <a:gd name="connsiteY101" fmla="*/ 3907 h 10000"/>
                <a:gd name="connsiteX102" fmla="*/ 8438 w 10000"/>
                <a:gd name="connsiteY102" fmla="*/ 3741 h 10000"/>
                <a:gd name="connsiteX103" fmla="*/ 8307 w 10000"/>
                <a:gd name="connsiteY103" fmla="*/ 3576 h 10000"/>
                <a:gd name="connsiteX104" fmla="*/ 8170 w 10000"/>
                <a:gd name="connsiteY104" fmla="*/ 3415 h 10000"/>
                <a:gd name="connsiteX105" fmla="*/ 8026 w 10000"/>
                <a:gd name="connsiteY105" fmla="*/ 3260 h 10000"/>
                <a:gd name="connsiteX106" fmla="*/ 7882 w 10000"/>
                <a:gd name="connsiteY106" fmla="*/ 3105 h 10000"/>
                <a:gd name="connsiteX107" fmla="*/ 7732 w 10000"/>
                <a:gd name="connsiteY107" fmla="*/ 2950 h 10000"/>
                <a:gd name="connsiteX108" fmla="*/ 7582 w 10000"/>
                <a:gd name="connsiteY108" fmla="*/ 2806 h 10000"/>
                <a:gd name="connsiteX109" fmla="*/ 7418 w 10000"/>
                <a:gd name="connsiteY109" fmla="*/ 2662 h 10000"/>
                <a:gd name="connsiteX110" fmla="*/ 7261 w 10000"/>
                <a:gd name="connsiteY110" fmla="*/ 2517 h 10000"/>
                <a:gd name="connsiteX111" fmla="*/ 7092 w 10000"/>
                <a:gd name="connsiteY111" fmla="*/ 2373 h 10000"/>
                <a:gd name="connsiteX112" fmla="*/ 6922 w 10000"/>
                <a:gd name="connsiteY112" fmla="*/ 2239 h 10000"/>
                <a:gd name="connsiteX113" fmla="*/ 6752 w 10000"/>
                <a:gd name="connsiteY113" fmla="*/ 2106 h 10000"/>
                <a:gd name="connsiteX114" fmla="*/ 6569 w 10000"/>
                <a:gd name="connsiteY114" fmla="*/ 1978 h 10000"/>
                <a:gd name="connsiteX115" fmla="*/ 6386 w 10000"/>
                <a:gd name="connsiteY115" fmla="*/ 1855 h 10000"/>
                <a:gd name="connsiteX116" fmla="*/ 6203 w 10000"/>
                <a:gd name="connsiteY116" fmla="*/ 1732 h 10000"/>
                <a:gd name="connsiteX117" fmla="*/ 6013 w 10000"/>
                <a:gd name="connsiteY117" fmla="*/ 1614 h 10000"/>
                <a:gd name="connsiteX118" fmla="*/ 5817 w 10000"/>
                <a:gd name="connsiteY118" fmla="*/ 1497 h 10000"/>
                <a:gd name="connsiteX119" fmla="*/ 5621 w 10000"/>
                <a:gd name="connsiteY119" fmla="*/ 1384 h 10000"/>
                <a:gd name="connsiteX120" fmla="*/ 5425 w 10000"/>
                <a:gd name="connsiteY120" fmla="*/ 1277 h 10000"/>
                <a:gd name="connsiteX121" fmla="*/ 5222 w 10000"/>
                <a:gd name="connsiteY121" fmla="*/ 1176 h 10000"/>
                <a:gd name="connsiteX122" fmla="*/ 5020 w 10000"/>
                <a:gd name="connsiteY122" fmla="*/ 1074 h 10000"/>
                <a:gd name="connsiteX123" fmla="*/ 4804 w 10000"/>
                <a:gd name="connsiteY123" fmla="*/ 978 h 10000"/>
                <a:gd name="connsiteX124" fmla="*/ 4595 w 10000"/>
                <a:gd name="connsiteY124" fmla="*/ 887 h 10000"/>
                <a:gd name="connsiteX125" fmla="*/ 4379 w 10000"/>
                <a:gd name="connsiteY125" fmla="*/ 802 h 10000"/>
                <a:gd name="connsiteX126" fmla="*/ 4157 w 10000"/>
                <a:gd name="connsiteY126" fmla="*/ 716 h 10000"/>
                <a:gd name="connsiteX127" fmla="*/ 3941 w 10000"/>
                <a:gd name="connsiteY127" fmla="*/ 636 h 10000"/>
                <a:gd name="connsiteX128" fmla="*/ 3719 w 10000"/>
                <a:gd name="connsiteY128" fmla="*/ 567 h 10000"/>
                <a:gd name="connsiteX129" fmla="*/ 3490 w 10000"/>
                <a:gd name="connsiteY129" fmla="*/ 492 h 10000"/>
                <a:gd name="connsiteX130" fmla="*/ 3261 w 10000"/>
                <a:gd name="connsiteY130" fmla="*/ 428 h 10000"/>
                <a:gd name="connsiteX131" fmla="*/ 3026 w 10000"/>
                <a:gd name="connsiteY131" fmla="*/ 363 h 10000"/>
                <a:gd name="connsiteX132" fmla="*/ 2797 w 10000"/>
                <a:gd name="connsiteY132" fmla="*/ 310 h 10000"/>
                <a:gd name="connsiteX133" fmla="*/ 2556 w 10000"/>
                <a:gd name="connsiteY133" fmla="*/ 257 h 10000"/>
                <a:gd name="connsiteX134" fmla="*/ 2314 w 10000"/>
                <a:gd name="connsiteY134" fmla="*/ 208 h 10000"/>
                <a:gd name="connsiteX135" fmla="*/ 2078 w 10000"/>
                <a:gd name="connsiteY135" fmla="*/ 166 h 10000"/>
                <a:gd name="connsiteX136" fmla="*/ 1837 w 10000"/>
                <a:gd name="connsiteY136" fmla="*/ 128 h 10000"/>
                <a:gd name="connsiteX137" fmla="*/ 1588 w 10000"/>
                <a:gd name="connsiteY137" fmla="*/ 91 h 10000"/>
                <a:gd name="connsiteX138" fmla="*/ 1340 w 10000"/>
                <a:gd name="connsiteY138" fmla="*/ 64 h 10000"/>
                <a:gd name="connsiteX139" fmla="*/ 1092 w 10000"/>
                <a:gd name="connsiteY139" fmla="*/ 43 h 10000"/>
                <a:gd name="connsiteX140" fmla="*/ 843 w 10000"/>
                <a:gd name="connsiteY140" fmla="*/ 27 h 10000"/>
                <a:gd name="connsiteX141" fmla="*/ 588 w 10000"/>
                <a:gd name="connsiteY141" fmla="*/ 11 h 10000"/>
                <a:gd name="connsiteX142" fmla="*/ 333 w 10000"/>
                <a:gd name="connsiteY142" fmla="*/ 5 h 10000"/>
                <a:gd name="connsiteX143" fmla="*/ 78 w 10000"/>
                <a:gd name="connsiteY143" fmla="*/ 0 h 10000"/>
                <a:gd name="connsiteX144" fmla="*/ 0 w 10000"/>
                <a:gd name="connsiteY144" fmla="*/ 5 h 10000"/>
                <a:gd name="connsiteX145" fmla="*/ 1245 w 10000"/>
                <a:gd name="connsiteY145" fmla="*/ 2475 h 10000"/>
                <a:gd name="connsiteX146" fmla="*/ 26 w 10000"/>
                <a:gd name="connsiteY146" fmla="*/ 4768 h 10000"/>
                <a:gd name="connsiteX0" fmla="*/ 26 w 10000"/>
                <a:gd name="connsiteY0" fmla="*/ 4768 h 10000"/>
                <a:gd name="connsiteX1" fmla="*/ 59 w 10000"/>
                <a:gd name="connsiteY1" fmla="*/ 4762 h 10000"/>
                <a:gd name="connsiteX2" fmla="*/ 163 w 10000"/>
                <a:gd name="connsiteY2" fmla="*/ 4762 h 10000"/>
                <a:gd name="connsiteX3" fmla="*/ 268 w 10000"/>
                <a:gd name="connsiteY3" fmla="*/ 4768 h 10000"/>
                <a:gd name="connsiteX4" fmla="*/ 373 w 10000"/>
                <a:gd name="connsiteY4" fmla="*/ 4773 h 10000"/>
                <a:gd name="connsiteX5" fmla="*/ 477 w 10000"/>
                <a:gd name="connsiteY5" fmla="*/ 4778 h 10000"/>
                <a:gd name="connsiteX6" fmla="*/ 582 w 10000"/>
                <a:gd name="connsiteY6" fmla="*/ 4794 h 10000"/>
                <a:gd name="connsiteX7" fmla="*/ 686 w 10000"/>
                <a:gd name="connsiteY7" fmla="*/ 4805 h 10000"/>
                <a:gd name="connsiteX8" fmla="*/ 784 w 10000"/>
                <a:gd name="connsiteY8" fmla="*/ 4816 h 10000"/>
                <a:gd name="connsiteX9" fmla="*/ 882 w 10000"/>
                <a:gd name="connsiteY9" fmla="*/ 4832 h 10000"/>
                <a:gd name="connsiteX10" fmla="*/ 987 w 10000"/>
                <a:gd name="connsiteY10" fmla="*/ 4848 h 10000"/>
                <a:gd name="connsiteX11" fmla="*/ 1085 w 10000"/>
                <a:gd name="connsiteY11" fmla="*/ 4869 h 10000"/>
                <a:gd name="connsiteX12" fmla="*/ 1183 w 10000"/>
                <a:gd name="connsiteY12" fmla="*/ 4890 h 10000"/>
                <a:gd name="connsiteX13" fmla="*/ 1281 w 10000"/>
                <a:gd name="connsiteY13" fmla="*/ 4912 h 10000"/>
                <a:gd name="connsiteX14" fmla="*/ 1373 w 10000"/>
                <a:gd name="connsiteY14" fmla="*/ 4939 h 10000"/>
                <a:gd name="connsiteX15" fmla="*/ 1471 w 10000"/>
                <a:gd name="connsiteY15" fmla="*/ 4965 h 10000"/>
                <a:gd name="connsiteX16" fmla="*/ 1562 w 10000"/>
                <a:gd name="connsiteY16" fmla="*/ 4997 h 10000"/>
                <a:gd name="connsiteX17" fmla="*/ 1654 w 10000"/>
                <a:gd name="connsiteY17" fmla="*/ 5029 h 10000"/>
                <a:gd name="connsiteX18" fmla="*/ 1745 w 10000"/>
                <a:gd name="connsiteY18" fmla="*/ 5061 h 10000"/>
                <a:gd name="connsiteX19" fmla="*/ 1837 w 10000"/>
                <a:gd name="connsiteY19" fmla="*/ 5094 h 10000"/>
                <a:gd name="connsiteX20" fmla="*/ 1928 w 10000"/>
                <a:gd name="connsiteY20" fmla="*/ 5131 h 10000"/>
                <a:gd name="connsiteX21" fmla="*/ 2020 w 10000"/>
                <a:gd name="connsiteY21" fmla="*/ 5168 h 10000"/>
                <a:gd name="connsiteX22" fmla="*/ 2105 w 10000"/>
                <a:gd name="connsiteY22" fmla="*/ 5211 h 10000"/>
                <a:gd name="connsiteX23" fmla="*/ 2190 w 10000"/>
                <a:gd name="connsiteY23" fmla="*/ 5249 h 10000"/>
                <a:gd name="connsiteX24" fmla="*/ 2275 w 10000"/>
                <a:gd name="connsiteY24" fmla="*/ 5291 h 10000"/>
                <a:gd name="connsiteX25" fmla="*/ 2353 w 10000"/>
                <a:gd name="connsiteY25" fmla="*/ 5334 h 10000"/>
                <a:gd name="connsiteX26" fmla="*/ 2438 w 10000"/>
                <a:gd name="connsiteY26" fmla="*/ 5382 h 10000"/>
                <a:gd name="connsiteX27" fmla="*/ 2516 w 10000"/>
                <a:gd name="connsiteY27" fmla="*/ 5430 h 10000"/>
                <a:gd name="connsiteX28" fmla="*/ 2595 w 10000"/>
                <a:gd name="connsiteY28" fmla="*/ 5478 h 10000"/>
                <a:gd name="connsiteX29" fmla="*/ 2673 w 10000"/>
                <a:gd name="connsiteY29" fmla="*/ 5526 h 10000"/>
                <a:gd name="connsiteX30" fmla="*/ 2752 w 10000"/>
                <a:gd name="connsiteY30" fmla="*/ 5580 h 10000"/>
                <a:gd name="connsiteX31" fmla="*/ 2824 w 10000"/>
                <a:gd name="connsiteY31" fmla="*/ 5633 h 10000"/>
                <a:gd name="connsiteX32" fmla="*/ 2895 w 10000"/>
                <a:gd name="connsiteY32" fmla="*/ 5687 h 10000"/>
                <a:gd name="connsiteX33" fmla="*/ 2967 w 10000"/>
                <a:gd name="connsiteY33" fmla="*/ 5746 h 10000"/>
                <a:gd name="connsiteX34" fmla="*/ 3033 w 10000"/>
                <a:gd name="connsiteY34" fmla="*/ 5804 h 10000"/>
                <a:gd name="connsiteX35" fmla="*/ 3105 w 10000"/>
                <a:gd name="connsiteY35" fmla="*/ 5863 h 10000"/>
                <a:gd name="connsiteX36" fmla="*/ 3170 w 10000"/>
                <a:gd name="connsiteY36" fmla="*/ 5922 h 10000"/>
                <a:gd name="connsiteX37" fmla="*/ 3229 w 10000"/>
                <a:gd name="connsiteY37" fmla="*/ 5986 h 10000"/>
                <a:gd name="connsiteX38" fmla="*/ 3294 w 10000"/>
                <a:gd name="connsiteY38" fmla="*/ 6045 h 10000"/>
                <a:gd name="connsiteX39" fmla="*/ 3353 w 10000"/>
                <a:gd name="connsiteY39" fmla="*/ 6109 h 10000"/>
                <a:gd name="connsiteX40" fmla="*/ 3412 w 10000"/>
                <a:gd name="connsiteY40" fmla="*/ 6173 h 10000"/>
                <a:gd name="connsiteX41" fmla="*/ 3471 w 10000"/>
                <a:gd name="connsiteY41" fmla="*/ 6237 h 10000"/>
                <a:gd name="connsiteX42" fmla="*/ 3523 w 10000"/>
                <a:gd name="connsiteY42" fmla="*/ 6307 h 10000"/>
                <a:gd name="connsiteX43" fmla="*/ 3575 w 10000"/>
                <a:gd name="connsiteY43" fmla="*/ 6376 h 10000"/>
                <a:gd name="connsiteX44" fmla="*/ 3627 w 10000"/>
                <a:gd name="connsiteY44" fmla="*/ 6446 h 10000"/>
                <a:gd name="connsiteX45" fmla="*/ 3680 w 10000"/>
                <a:gd name="connsiteY45" fmla="*/ 6515 h 10000"/>
                <a:gd name="connsiteX46" fmla="*/ 3719 w 10000"/>
                <a:gd name="connsiteY46" fmla="*/ 6590 h 10000"/>
                <a:gd name="connsiteX47" fmla="*/ 3771 w 10000"/>
                <a:gd name="connsiteY47" fmla="*/ 6665 h 10000"/>
                <a:gd name="connsiteX48" fmla="*/ 3810 w 10000"/>
                <a:gd name="connsiteY48" fmla="*/ 6734 h 10000"/>
                <a:gd name="connsiteX49" fmla="*/ 3850 w 10000"/>
                <a:gd name="connsiteY49" fmla="*/ 6809 h 10000"/>
                <a:gd name="connsiteX50" fmla="*/ 3889 w 10000"/>
                <a:gd name="connsiteY50" fmla="*/ 6884 h 10000"/>
                <a:gd name="connsiteX51" fmla="*/ 3922 w 10000"/>
                <a:gd name="connsiteY51" fmla="*/ 6959 h 10000"/>
                <a:gd name="connsiteX52" fmla="*/ 3954 w 10000"/>
                <a:gd name="connsiteY52" fmla="*/ 7039 h 10000"/>
                <a:gd name="connsiteX53" fmla="*/ 3987 w 10000"/>
                <a:gd name="connsiteY53" fmla="*/ 7119 h 10000"/>
                <a:gd name="connsiteX54" fmla="*/ 4020 w 10000"/>
                <a:gd name="connsiteY54" fmla="*/ 7194 h 10000"/>
                <a:gd name="connsiteX55" fmla="*/ 4046 w 10000"/>
                <a:gd name="connsiteY55" fmla="*/ 7274 h 10000"/>
                <a:gd name="connsiteX56" fmla="*/ 4065 w 10000"/>
                <a:gd name="connsiteY56" fmla="*/ 7354 h 10000"/>
                <a:gd name="connsiteX57" fmla="*/ 4092 w 10000"/>
                <a:gd name="connsiteY57" fmla="*/ 7440 h 10000"/>
                <a:gd name="connsiteX58" fmla="*/ 4111 w 10000"/>
                <a:gd name="connsiteY58" fmla="*/ 7520 h 10000"/>
                <a:gd name="connsiteX59" fmla="*/ 4131 w 10000"/>
                <a:gd name="connsiteY59" fmla="*/ 7600 h 10000"/>
                <a:gd name="connsiteX60" fmla="*/ 4144 w 10000"/>
                <a:gd name="connsiteY60" fmla="*/ 7686 h 10000"/>
                <a:gd name="connsiteX61" fmla="*/ 4157 w 10000"/>
                <a:gd name="connsiteY61" fmla="*/ 7771 h 10000"/>
                <a:gd name="connsiteX62" fmla="*/ 4163 w 10000"/>
                <a:gd name="connsiteY62" fmla="*/ 7857 h 10000"/>
                <a:gd name="connsiteX63" fmla="*/ 4170 w 10000"/>
                <a:gd name="connsiteY63" fmla="*/ 7942 h 10000"/>
                <a:gd name="connsiteX64" fmla="*/ 4170 w 10000"/>
                <a:gd name="connsiteY64" fmla="*/ 8028 h 10000"/>
                <a:gd name="connsiteX65" fmla="*/ 4176 w 10000"/>
                <a:gd name="connsiteY65" fmla="*/ 8113 h 10000"/>
                <a:gd name="connsiteX66" fmla="*/ 4170 w 10000"/>
                <a:gd name="connsiteY66" fmla="*/ 8226 h 10000"/>
                <a:gd name="connsiteX67" fmla="*/ 4163 w 10000"/>
                <a:gd name="connsiteY67" fmla="*/ 8343 h 10000"/>
                <a:gd name="connsiteX68" fmla="*/ 4157 w 10000"/>
                <a:gd name="connsiteY68" fmla="*/ 8450 h 10000"/>
                <a:gd name="connsiteX69" fmla="*/ 4137 w 10000"/>
                <a:gd name="connsiteY69" fmla="*/ 8562 h 10000"/>
                <a:gd name="connsiteX70" fmla="*/ 6739 w 10000"/>
                <a:gd name="connsiteY70" fmla="*/ 10000 h 10000"/>
                <a:gd name="connsiteX71" fmla="*/ 9850 w 10000"/>
                <a:gd name="connsiteY71" fmla="*/ 9498 h 10000"/>
                <a:gd name="connsiteX72" fmla="*/ 9889 w 10000"/>
                <a:gd name="connsiteY72" fmla="*/ 9332 h 10000"/>
                <a:gd name="connsiteX73" fmla="*/ 9915 w 10000"/>
                <a:gd name="connsiteY73" fmla="*/ 9161 h 10000"/>
                <a:gd name="connsiteX74" fmla="*/ 9941 w 10000"/>
                <a:gd name="connsiteY74" fmla="*/ 8990 h 10000"/>
                <a:gd name="connsiteX75" fmla="*/ 9961 w 10000"/>
                <a:gd name="connsiteY75" fmla="*/ 8813 h 10000"/>
                <a:gd name="connsiteX76" fmla="*/ 9974 w 10000"/>
                <a:gd name="connsiteY76" fmla="*/ 8637 h 10000"/>
                <a:gd name="connsiteX77" fmla="*/ 9987 w 10000"/>
                <a:gd name="connsiteY77" fmla="*/ 8466 h 10000"/>
                <a:gd name="connsiteX78" fmla="*/ 9993 w 10000"/>
                <a:gd name="connsiteY78" fmla="*/ 8290 h 10000"/>
                <a:gd name="connsiteX79" fmla="*/ 10000 w 10000"/>
                <a:gd name="connsiteY79" fmla="*/ 8113 h 10000"/>
                <a:gd name="connsiteX80" fmla="*/ 9993 w 10000"/>
                <a:gd name="connsiteY80" fmla="*/ 7900 h 10000"/>
                <a:gd name="connsiteX81" fmla="*/ 9987 w 10000"/>
                <a:gd name="connsiteY81" fmla="*/ 7696 h 10000"/>
                <a:gd name="connsiteX82" fmla="*/ 9967 w 10000"/>
                <a:gd name="connsiteY82" fmla="*/ 7488 h 10000"/>
                <a:gd name="connsiteX83" fmla="*/ 9948 w 10000"/>
                <a:gd name="connsiteY83" fmla="*/ 7285 h 10000"/>
                <a:gd name="connsiteX84" fmla="*/ 9915 w 10000"/>
                <a:gd name="connsiteY84" fmla="*/ 7076 h 10000"/>
                <a:gd name="connsiteX85" fmla="*/ 9882 w 10000"/>
                <a:gd name="connsiteY85" fmla="*/ 6879 h 10000"/>
                <a:gd name="connsiteX86" fmla="*/ 9843 w 10000"/>
                <a:gd name="connsiteY86" fmla="*/ 6676 h 10000"/>
                <a:gd name="connsiteX87" fmla="*/ 9797 w 10000"/>
                <a:gd name="connsiteY87" fmla="*/ 6478 h 10000"/>
                <a:gd name="connsiteX88" fmla="*/ 9745 w 10000"/>
                <a:gd name="connsiteY88" fmla="*/ 6280 h 10000"/>
                <a:gd name="connsiteX89" fmla="*/ 9686 w 10000"/>
                <a:gd name="connsiteY89" fmla="*/ 6088 h 10000"/>
                <a:gd name="connsiteX90" fmla="*/ 9621 w 10000"/>
                <a:gd name="connsiteY90" fmla="*/ 5890 h 10000"/>
                <a:gd name="connsiteX91" fmla="*/ 9556 w 10000"/>
                <a:gd name="connsiteY91" fmla="*/ 5697 h 10000"/>
                <a:gd name="connsiteX92" fmla="*/ 9477 w 10000"/>
                <a:gd name="connsiteY92" fmla="*/ 5510 h 10000"/>
                <a:gd name="connsiteX93" fmla="*/ 9399 w 10000"/>
                <a:gd name="connsiteY93" fmla="*/ 5323 h 10000"/>
                <a:gd name="connsiteX94" fmla="*/ 9307 w 10000"/>
                <a:gd name="connsiteY94" fmla="*/ 5136 h 10000"/>
                <a:gd name="connsiteX95" fmla="*/ 9216 w 10000"/>
                <a:gd name="connsiteY95" fmla="*/ 4955 h 10000"/>
                <a:gd name="connsiteX96" fmla="*/ 9124 w 10000"/>
                <a:gd name="connsiteY96" fmla="*/ 4773 h 10000"/>
                <a:gd name="connsiteX97" fmla="*/ 9020 w 10000"/>
                <a:gd name="connsiteY97" fmla="*/ 4596 h 10000"/>
                <a:gd name="connsiteX98" fmla="*/ 8915 w 10000"/>
                <a:gd name="connsiteY98" fmla="*/ 4420 h 10000"/>
                <a:gd name="connsiteX99" fmla="*/ 8804 w 10000"/>
                <a:gd name="connsiteY99" fmla="*/ 4244 h 10000"/>
                <a:gd name="connsiteX100" fmla="*/ 8686 w 10000"/>
                <a:gd name="connsiteY100" fmla="*/ 4073 h 10000"/>
                <a:gd name="connsiteX101" fmla="*/ 8562 w 10000"/>
                <a:gd name="connsiteY101" fmla="*/ 3907 h 10000"/>
                <a:gd name="connsiteX102" fmla="*/ 8438 w 10000"/>
                <a:gd name="connsiteY102" fmla="*/ 3741 h 10000"/>
                <a:gd name="connsiteX103" fmla="*/ 8307 w 10000"/>
                <a:gd name="connsiteY103" fmla="*/ 3576 h 10000"/>
                <a:gd name="connsiteX104" fmla="*/ 8170 w 10000"/>
                <a:gd name="connsiteY104" fmla="*/ 3415 h 10000"/>
                <a:gd name="connsiteX105" fmla="*/ 8026 w 10000"/>
                <a:gd name="connsiteY105" fmla="*/ 3260 h 10000"/>
                <a:gd name="connsiteX106" fmla="*/ 7882 w 10000"/>
                <a:gd name="connsiteY106" fmla="*/ 3105 h 10000"/>
                <a:gd name="connsiteX107" fmla="*/ 7732 w 10000"/>
                <a:gd name="connsiteY107" fmla="*/ 2950 h 10000"/>
                <a:gd name="connsiteX108" fmla="*/ 7582 w 10000"/>
                <a:gd name="connsiteY108" fmla="*/ 2806 h 10000"/>
                <a:gd name="connsiteX109" fmla="*/ 7418 w 10000"/>
                <a:gd name="connsiteY109" fmla="*/ 2662 h 10000"/>
                <a:gd name="connsiteX110" fmla="*/ 7261 w 10000"/>
                <a:gd name="connsiteY110" fmla="*/ 2517 h 10000"/>
                <a:gd name="connsiteX111" fmla="*/ 7092 w 10000"/>
                <a:gd name="connsiteY111" fmla="*/ 2373 h 10000"/>
                <a:gd name="connsiteX112" fmla="*/ 6922 w 10000"/>
                <a:gd name="connsiteY112" fmla="*/ 2239 h 10000"/>
                <a:gd name="connsiteX113" fmla="*/ 6752 w 10000"/>
                <a:gd name="connsiteY113" fmla="*/ 2106 h 10000"/>
                <a:gd name="connsiteX114" fmla="*/ 6569 w 10000"/>
                <a:gd name="connsiteY114" fmla="*/ 1978 h 10000"/>
                <a:gd name="connsiteX115" fmla="*/ 6386 w 10000"/>
                <a:gd name="connsiteY115" fmla="*/ 1855 h 10000"/>
                <a:gd name="connsiteX116" fmla="*/ 6203 w 10000"/>
                <a:gd name="connsiteY116" fmla="*/ 1732 h 10000"/>
                <a:gd name="connsiteX117" fmla="*/ 6013 w 10000"/>
                <a:gd name="connsiteY117" fmla="*/ 1614 h 10000"/>
                <a:gd name="connsiteX118" fmla="*/ 5817 w 10000"/>
                <a:gd name="connsiteY118" fmla="*/ 1497 h 10000"/>
                <a:gd name="connsiteX119" fmla="*/ 5621 w 10000"/>
                <a:gd name="connsiteY119" fmla="*/ 1384 h 10000"/>
                <a:gd name="connsiteX120" fmla="*/ 5425 w 10000"/>
                <a:gd name="connsiteY120" fmla="*/ 1277 h 10000"/>
                <a:gd name="connsiteX121" fmla="*/ 5222 w 10000"/>
                <a:gd name="connsiteY121" fmla="*/ 1176 h 10000"/>
                <a:gd name="connsiteX122" fmla="*/ 5020 w 10000"/>
                <a:gd name="connsiteY122" fmla="*/ 1074 h 10000"/>
                <a:gd name="connsiteX123" fmla="*/ 4804 w 10000"/>
                <a:gd name="connsiteY123" fmla="*/ 978 h 10000"/>
                <a:gd name="connsiteX124" fmla="*/ 4595 w 10000"/>
                <a:gd name="connsiteY124" fmla="*/ 887 h 10000"/>
                <a:gd name="connsiteX125" fmla="*/ 4379 w 10000"/>
                <a:gd name="connsiteY125" fmla="*/ 802 h 10000"/>
                <a:gd name="connsiteX126" fmla="*/ 4157 w 10000"/>
                <a:gd name="connsiteY126" fmla="*/ 716 h 10000"/>
                <a:gd name="connsiteX127" fmla="*/ 3941 w 10000"/>
                <a:gd name="connsiteY127" fmla="*/ 636 h 10000"/>
                <a:gd name="connsiteX128" fmla="*/ 3719 w 10000"/>
                <a:gd name="connsiteY128" fmla="*/ 567 h 10000"/>
                <a:gd name="connsiteX129" fmla="*/ 3490 w 10000"/>
                <a:gd name="connsiteY129" fmla="*/ 492 h 10000"/>
                <a:gd name="connsiteX130" fmla="*/ 3261 w 10000"/>
                <a:gd name="connsiteY130" fmla="*/ 428 h 10000"/>
                <a:gd name="connsiteX131" fmla="*/ 3026 w 10000"/>
                <a:gd name="connsiteY131" fmla="*/ 363 h 10000"/>
                <a:gd name="connsiteX132" fmla="*/ 2797 w 10000"/>
                <a:gd name="connsiteY132" fmla="*/ 310 h 10000"/>
                <a:gd name="connsiteX133" fmla="*/ 2556 w 10000"/>
                <a:gd name="connsiteY133" fmla="*/ 257 h 10000"/>
                <a:gd name="connsiteX134" fmla="*/ 2314 w 10000"/>
                <a:gd name="connsiteY134" fmla="*/ 208 h 10000"/>
                <a:gd name="connsiteX135" fmla="*/ 2078 w 10000"/>
                <a:gd name="connsiteY135" fmla="*/ 166 h 10000"/>
                <a:gd name="connsiteX136" fmla="*/ 1837 w 10000"/>
                <a:gd name="connsiteY136" fmla="*/ 128 h 10000"/>
                <a:gd name="connsiteX137" fmla="*/ 1588 w 10000"/>
                <a:gd name="connsiteY137" fmla="*/ 91 h 10000"/>
                <a:gd name="connsiteX138" fmla="*/ 1340 w 10000"/>
                <a:gd name="connsiteY138" fmla="*/ 64 h 10000"/>
                <a:gd name="connsiteX139" fmla="*/ 1092 w 10000"/>
                <a:gd name="connsiteY139" fmla="*/ 43 h 10000"/>
                <a:gd name="connsiteX140" fmla="*/ 843 w 10000"/>
                <a:gd name="connsiteY140" fmla="*/ 27 h 10000"/>
                <a:gd name="connsiteX141" fmla="*/ 588 w 10000"/>
                <a:gd name="connsiteY141" fmla="*/ 11 h 10000"/>
                <a:gd name="connsiteX142" fmla="*/ 333 w 10000"/>
                <a:gd name="connsiteY142" fmla="*/ 5 h 10000"/>
                <a:gd name="connsiteX143" fmla="*/ 78 w 10000"/>
                <a:gd name="connsiteY143" fmla="*/ 0 h 10000"/>
                <a:gd name="connsiteX144" fmla="*/ 0 w 10000"/>
                <a:gd name="connsiteY144" fmla="*/ 5 h 10000"/>
                <a:gd name="connsiteX145" fmla="*/ 1245 w 10000"/>
                <a:gd name="connsiteY145" fmla="*/ 2443 h 10000"/>
                <a:gd name="connsiteX146" fmla="*/ 26 w 10000"/>
                <a:gd name="connsiteY146" fmla="*/ 4768 h 10000"/>
                <a:gd name="connsiteX0" fmla="*/ 26 w 10000"/>
                <a:gd name="connsiteY0" fmla="*/ 4768 h 10000"/>
                <a:gd name="connsiteX1" fmla="*/ 59 w 10000"/>
                <a:gd name="connsiteY1" fmla="*/ 4762 h 10000"/>
                <a:gd name="connsiteX2" fmla="*/ 163 w 10000"/>
                <a:gd name="connsiteY2" fmla="*/ 4762 h 10000"/>
                <a:gd name="connsiteX3" fmla="*/ 268 w 10000"/>
                <a:gd name="connsiteY3" fmla="*/ 4768 h 10000"/>
                <a:gd name="connsiteX4" fmla="*/ 373 w 10000"/>
                <a:gd name="connsiteY4" fmla="*/ 4773 h 10000"/>
                <a:gd name="connsiteX5" fmla="*/ 477 w 10000"/>
                <a:gd name="connsiteY5" fmla="*/ 4778 h 10000"/>
                <a:gd name="connsiteX6" fmla="*/ 582 w 10000"/>
                <a:gd name="connsiteY6" fmla="*/ 4794 h 10000"/>
                <a:gd name="connsiteX7" fmla="*/ 686 w 10000"/>
                <a:gd name="connsiteY7" fmla="*/ 4805 h 10000"/>
                <a:gd name="connsiteX8" fmla="*/ 784 w 10000"/>
                <a:gd name="connsiteY8" fmla="*/ 4816 h 10000"/>
                <a:gd name="connsiteX9" fmla="*/ 882 w 10000"/>
                <a:gd name="connsiteY9" fmla="*/ 4832 h 10000"/>
                <a:gd name="connsiteX10" fmla="*/ 987 w 10000"/>
                <a:gd name="connsiteY10" fmla="*/ 4848 h 10000"/>
                <a:gd name="connsiteX11" fmla="*/ 1085 w 10000"/>
                <a:gd name="connsiteY11" fmla="*/ 4869 h 10000"/>
                <a:gd name="connsiteX12" fmla="*/ 1183 w 10000"/>
                <a:gd name="connsiteY12" fmla="*/ 4890 h 10000"/>
                <a:gd name="connsiteX13" fmla="*/ 1281 w 10000"/>
                <a:gd name="connsiteY13" fmla="*/ 4912 h 10000"/>
                <a:gd name="connsiteX14" fmla="*/ 1373 w 10000"/>
                <a:gd name="connsiteY14" fmla="*/ 4939 h 10000"/>
                <a:gd name="connsiteX15" fmla="*/ 1471 w 10000"/>
                <a:gd name="connsiteY15" fmla="*/ 4965 h 10000"/>
                <a:gd name="connsiteX16" fmla="*/ 1562 w 10000"/>
                <a:gd name="connsiteY16" fmla="*/ 4997 h 10000"/>
                <a:gd name="connsiteX17" fmla="*/ 1654 w 10000"/>
                <a:gd name="connsiteY17" fmla="*/ 5029 h 10000"/>
                <a:gd name="connsiteX18" fmla="*/ 1745 w 10000"/>
                <a:gd name="connsiteY18" fmla="*/ 5061 h 10000"/>
                <a:gd name="connsiteX19" fmla="*/ 1837 w 10000"/>
                <a:gd name="connsiteY19" fmla="*/ 5094 h 10000"/>
                <a:gd name="connsiteX20" fmla="*/ 1928 w 10000"/>
                <a:gd name="connsiteY20" fmla="*/ 5131 h 10000"/>
                <a:gd name="connsiteX21" fmla="*/ 2020 w 10000"/>
                <a:gd name="connsiteY21" fmla="*/ 5168 h 10000"/>
                <a:gd name="connsiteX22" fmla="*/ 2105 w 10000"/>
                <a:gd name="connsiteY22" fmla="*/ 5211 h 10000"/>
                <a:gd name="connsiteX23" fmla="*/ 2190 w 10000"/>
                <a:gd name="connsiteY23" fmla="*/ 5249 h 10000"/>
                <a:gd name="connsiteX24" fmla="*/ 2275 w 10000"/>
                <a:gd name="connsiteY24" fmla="*/ 5291 h 10000"/>
                <a:gd name="connsiteX25" fmla="*/ 2353 w 10000"/>
                <a:gd name="connsiteY25" fmla="*/ 5334 h 10000"/>
                <a:gd name="connsiteX26" fmla="*/ 2438 w 10000"/>
                <a:gd name="connsiteY26" fmla="*/ 5382 h 10000"/>
                <a:gd name="connsiteX27" fmla="*/ 2516 w 10000"/>
                <a:gd name="connsiteY27" fmla="*/ 5430 h 10000"/>
                <a:gd name="connsiteX28" fmla="*/ 2595 w 10000"/>
                <a:gd name="connsiteY28" fmla="*/ 5478 h 10000"/>
                <a:gd name="connsiteX29" fmla="*/ 2673 w 10000"/>
                <a:gd name="connsiteY29" fmla="*/ 5526 h 10000"/>
                <a:gd name="connsiteX30" fmla="*/ 2752 w 10000"/>
                <a:gd name="connsiteY30" fmla="*/ 5580 h 10000"/>
                <a:gd name="connsiteX31" fmla="*/ 2824 w 10000"/>
                <a:gd name="connsiteY31" fmla="*/ 5633 h 10000"/>
                <a:gd name="connsiteX32" fmla="*/ 2895 w 10000"/>
                <a:gd name="connsiteY32" fmla="*/ 5687 h 10000"/>
                <a:gd name="connsiteX33" fmla="*/ 2967 w 10000"/>
                <a:gd name="connsiteY33" fmla="*/ 5746 h 10000"/>
                <a:gd name="connsiteX34" fmla="*/ 3033 w 10000"/>
                <a:gd name="connsiteY34" fmla="*/ 5804 h 10000"/>
                <a:gd name="connsiteX35" fmla="*/ 3105 w 10000"/>
                <a:gd name="connsiteY35" fmla="*/ 5863 h 10000"/>
                <a:gd name="connsiteX36" fmla="*/ 3170 w 10000"/>
                <a:gd name="connsiteY36" fmla="*/ 5922 h 10000"/>
                <a:gd name="connsiteX37" fmla="*/ 3229 w 10000"/>
                <a:gd name="connsiteY37" fmla="*/ 5986 h 10000"/>
                <a:gd name="connsiteX38" fmla="*/ 3294 w 10000"/>
                <a:gd name="connsiteY38" fmla="*/ 6045 h 10000"/>
                <a:gd name="connsiteX39" fmla="*/ 3353 w 10000"/>
                <a:gd name="connsiteY39" fmla="*/ 6109 h 10000"/>
                <a:gd name="connsiteX40" fmla="*/ 3412 w 10000"/>
                <a:gd name="connsiteY40" fmla="*/ 6173 h 10000"/>
                <a:gd name="connsiteX41" fmla="*/ 3471 w 10000"/>
                <a:gd name="connsiteY41" fmla="*/ 6237 h 10000"/>
                <a:gd name="connsiteX42" fmla="*/ 3523 w 10000"/>
                <a:gd name="connsiteY42" fmla="*/ 6307 h 10000"/>
                <a:gd name="connsiteX43" fmla="*/ 3575 w 10000"/>
                <a:gd name="connsiteY43" fmla="*/ 6376 h 10000"/>
                <a:gd name="connsiteX44" fmla="*/ 3627 w 10000"/>
                <a:gd name="connsiteY44" fmla="*/ 6446 h 10000"/>
                <a:gd name="connsiteX45" fmla="*/ 3680 w 10000"/>
                <a:gd name="connsiteY45" fmla="*/ 6515 h 10000"/>
                <a:gd name="connsiteX46" fmla="*/ 3719 w 10000"/>
                <a:gd name="connsiteY46" fmla="*/ 6590 h 10000"/>
                <a:gd name="connsiteX47" fmla="*/ 3771 w 10000"/>
                <a:gd name="connsiteY47" fmla="*/ 6665 h 10000"/>
                <a:gd name="connsiteX48" fmla="*/ 3810 w 10000"/>
                <a:gd name="connsiteY48" fmla="*/ 6734 h 10000"/>
                <a:gd name="connsiteX49" fmla="*/ 3850 w 10000"/>
                <a:gd name="connsiteY49" fmla="*/ 6809 h 10000"/>
                <a:gd name="connsiteX50" fmla="*/ 3889 w 10000"/>
                <a:gd name="connsiteY50" fmla="*/ 6884 h 10000"/>
                <a:gd name="connsiteX51" fmla="*/ 3922 w 10000"/>
                <a:gd name="connsiteY51" fmla="*/ 6959 h 10000"/>
                <a:gd name="connsiteX52" fmla="*/ 3954 w 10000"/>
                <a:gd name="connsiteY52" fmla="*/ 7039 h 10000"/>
                <a:gd name="connsiteX53" fmla="*/ 3987 w 10000"/>
                <a:gd name="connsiteY53" fmla="*/ 7119 h 10000"/>
                <a:gd name="connsiteX54" fmla="*/ 4020 w 10000"/>
                <a:gd name="connsiteY54" fmla="*/ 7194 h 10000"/>
                <a:gd name="connsiteX55" fmla="*/ 4046 w 10000"/>
                <a:gd name="connsiteY55" fmla="*/ 7274 h 10000"/>
                <a:gd name="connsiteX56" fmla="*/ 4065 w 10000"/>
                <a:gd name="connsiteY56" fmla="*/ 7354 h 10000"/>
                <a:gd name="connsiteX57" fmla="*/ 4092 w 10000"/>
                <a:gd name="connsiteY57" fmla="*/ 7440 h 10000"/>
                <a:gd name="connsiteX58" fmla="*/ 4111 w 10000"/>
                <a:gd name="connsiteY58" fmla="*/ 7520 h 10000"/>
                <a:gd name="connsiteX59" fmla="*/ 4131 w 10000"/>
                <a:gd name="connsiteY59" fmla="*/ 7600 h 10000"/>
                <a:gd name="connsiteX60" fmla="*/ 4144 w 10000"/>
                <a:gd name="connsiteY60" fmla="*/ 7686 h 10000"/>
                <a:gd name="connsiteX61" fmla="*/ 4157 w 10000"/>
                <a:gd name="connsiteY61" fmla="*/ 7771 h 10000"/>
                <a:gd name="connsiteX62" fmla="*/ 4163 w 10000"/>
                <a:gd name="connsiteY62" fmla="*/ 7857 h 10000"/>
                <a:gd name="connsiteX63" fmla="*/ 4170 w 10000"/>
                <a:gd name="connsiteY63" fmla="*/ 7942 h 10000"/>
                <a:gd name="connsiteX64" fmla="*/ 4170 w 10000"/>
                <a:gd name="connsiteY64" fmla="*/ 8028 h 10000"/>
                <a:gd name="connsiteX65" fmla="*/ 4176 w 10000"/>
                <a:gd name="connsiteY65" fmla="*/ 8113 h 10000"/>
                <a:gd name="connsiteX66" fmla="*/ 4170 w 10000"/>
                <a:gd name="connsiteY66" fmla="*/ 8226 h 10000"/>
                <a:gd name="connsiteX67" fmla="*/ 4163 w 10000"/>
                <a:gd name="connsiteY67" fmla="*/ 8343 h 10000"/>
                <a:gd name="connsiteX68" fmla="*/ 4157 w 10000"/>
                <a:gd name="connsiteY68" fmla="*/ 8450 h 10000"/>
                <a:gd name="connsiteX69" fmla="*/ 4137 w 10000"/>
                <a:gd name="connsiteY69" fmla="*/ 8562 h 10000"/>
                <a:gd name="connsiteX70" fmla="*/ 6739 w 10000"/>
                <a:gd name="connsiteY70" fmla="*/ 10000 h 10000"/>
                <a:gd name="connsiteX71" fmla="*/ 9850 w 10000"/>
                <a:gd name="connsiteY71" fmla="*/ 9498 h 10000"/>
                <a:gd name="connsiteX72" fmla="*/ 9889 w 10000"/>
                <a:gd name="connsiteY72" fmla="*/ 9332 h 10000"/>
                <a:gd name="connsiteX73" fmla="*/ 9915 w 10000"/>
                <a:gd name="connsiteY73" fmla="*/ 9161 h 10000"/>
                <a:gd name="connsiteX74" fmla="*/ 9941 w 10000"/>
                <a:gd name="connsiteY74" fmla="*/ 8990 h 10000"/>
                <a:gd name="connsiteX75" fmla="*/ 9961 w 10000"/>
                <a:gd name="connsiteY75" fmla="*/ 8813 h 10000"/>
                <a:gd name="connsiteX76" fmla="*/ 9974 w 10000"/>
                <a:gd name="connsiteY76" fmla="*/ 8637 h 10000"/>
                <a:gd name="connsiteX77" fmla="*/ 9987 w 10000"/>
                <a:gd name="connsiteY77" fmla="*/ 8466 h 10000"/>
                <a:gd name="connsiteX78" fmla="*/ 9993 w 10000"/>
                <a:gd name="connsiteY78" fmla="*/ 8290 h 10000"/>
                <a:gd name="connsiteX79" fmla="*/ 10000 w 10000"/>
                <a:gd name="connsiteY79" fmla="*/ 8113 h 10000"/>
                <a:gd name="connsiteX80" fmla="*/ 9993 w 10000"/>
                <a:gd name="connsiteY80" fmla="*/ 7900 h 10000"/>
                <a:gd name="connsiteX81" fmla="*/ 9987 w 10000"/>
                <a:gd name="connsiteY81" fmla="*/ 7696 h 10000"/>
                <a:gd name="connsiteX82" fmla="*/ 9967 w 10000"/>
                <a:gd name="connsiteY82" fmla="*/ 7488 h 10000"/>
                <a:gd name="connsiteX83" fmla="*/ 9948 w 10000"/>
                <a:gd name="connsiteY83" fmla="*/ 7285 h 10000"/>
                <a:gd name="connsiteX84" fmla="*/ 9915 w 10000"/>
                <a:gd name="connsiteY84" fmla="*/ 7076 h 10000"/>
                <a:gd name="connsiteX85" fmla="*/ 9882 w 10000"/>
                <a:gd name="connsiteY85" fmla="*/ 6879 h 10000"/>
                <a:gd name="connsiteX86" fmla="*/ 9843 w 10000"/>
                <a:gd name="connsiteY86" fmla="*/ 6676 h 10000"/>
                <a:gd name="connsiteX87" fmla="*/ 9797 w 10000"/>
                <a:gd name="connsiteY87" fmla="*/ 6478 h 10000"/>
                <a:gd name="connsiteX88" fmla="*/ 9745 w 10000"/>
                <a:gd name="connsiteY88" fmla="*/ 6280 h 10000"/>
                <a:gd name="connsiteX89" fmla="*/ 9686 w 10000"/>
                <a:gd name="connsiteY89" fmla="*/ 6088 h 10000"/>
                <a:gd name="connsiteX90" fmla="*/ 9621 w 10000"/>
                <a:gd name="connsiteY90" fmla="*/ 5890 h 10000"/>
                <a:gd name="connsiteX91" fmla="*/ 9556 w 10000"/>
                <a:gd name="connsiteY91" fmla="*/ 5697 h 10000"/>
                <a:gd name="connsiteX92" fmla="*/ 9477 w 10000"/>
                <a:gd name="connsiteY92" fmla="*/ 5510 h 10000"/>
                <a:gd name="connsiteX93" fmla="*/ 9399 w 10000"/>
                <a:gd name="connsiteY93" fmla="*/ 5323 h 10000"/>
                <a:gd name="connsiteX94" fmla="*/ 9307 w 10000"/>
                <a:gd name="connsiteY94" fmla="*/ 5136 h 10000"/>
                <a:gd name="connsiteX95" fmla="*/ 9216 w 10000"/>
                <a:gd name="connsiteY95" fmla="*/ 4955 h 10000"/>
                <a:gd name="connsiteX96" fmla="*/ 9124 w 10000"/>
                <a:gd name="connsiteY96" fmla="*/ 4773 h 10000"/>
                <a:gd name="connsiteX97" fmla="*/ 9020 w 10000"/>
                <a:gd name="connsiteY97" fmla="*/ 4596 h 10000"/>
                <a:gd name="connsiteX98" fmla="*/ 8915 w 10000"/>
                <a:gd name="connsiteY98" fmla="*/ 4420 h 10000"/>
                <a:gd name="connsiteX99" fmla="*/ 8804 w 10000"/>
                <a:gd name="connsiteY99" fmla="*/ 4244 h 10000"/>
                <a:gd name="connsiteX100" fmla="*/ 8686 w 10000"/>
                <a:gd name="connsiteY100" fmla="*/ 4073 h 10000"/>
                <a:gd name="connsiteX101" fmla="*/ 8562 w 10000"/>
                <a:gd name="connsiteY101" fmla="*/ 3907 h 10000"/>
                <a:gd name="connsiteX102" fmla="*/ 8438 w 10000"/>
                <a:gd name="connsiteY102" fmla="*/ 3741 h 10000"/>
                <a:gd name="connsiteX103" fmla="*/ 8307 w 10000"/>
                <a:gd name="connsiteY103" fmla="*/ 3576 h 10000"/>
                <a:gd name="connsiteX104" fmla="*/ 8170 w 10000"/>
                <a:gd name="connsiteY104" fmla="*/ 3415 h 10000"/>
                <a:gd name="connsiteX105" fmla="*/ 8026 w 10000"/>
                <a:gd name="connsiteY105" fmla="*/ 3260 h 10000"/>
                <a:gd name="connsiteX106" fmla="*/ 7882 w 10000"/>
                <a:gd name="connsiteY106" fmla="*/ 3105 h 10000"/>
                <a:gd name="connsiteX107" fmla="*/ 7732 w 10000"/>
                <a:gd name="connsiteY107" fmla="*/ 2950 h 10000"/>
                <a:gd name="connsiteX108" fmla="*/ 7582 w 10000"/>
                <a:gd name="connsiteY108" fmla="*/ 2806 h 10000"/>
                <a:gd name="connsiteX109" fmla="*/ 7418 w 10000"/>
                <a:gd name="connsiteY109" fmla="*/ 2662 h 10000"/>
                <a:gd name="connsiteX110" fmla="*/ 7261 w 10000"/>
                <a:gd name="connsiteY110" fmla="*/ 2517 h 10000"/>
                <a:gd name="connsiteX111" fmla="*/ 7092 w 10000"/>
                <a:gd name="connsiteY111" fmla="*/ 2373 h 10000"/>
                <a:gd name="connsiteX112" fmla="*/ 6922 w 10000"/>
                <a:gd name="connsiteY112" fmla="*/ 2239 h 10000"/>
                <a:gd name="connsiteX113" fmla="*/ 6752 w 10000"/>
                <a:gd name="connsiteY113" fmla="*/ 2106 h 10000"/>
                <a:gd name="connsiteX114" fmla="*/ 6569 w 10000"/>
                <a:gd name="connsiteY114" fmla="*/ 1978 h 10000"/>
                <a:gd name="connsiteX115" fmla="*/ 6386 w 10000"/>
                <a:gd name="connsiteY115" fmla="*/ 1855 h 10000"/>
                <a:gd name="connsiteX116" fmla="*/ 6203 w 10000"/>
                <a:gd name="connsiteY116" fmla="*/ 1732 h 10000"/>
                <a:gd name="connsiteX117" fmla="*/ 6013 w 10000"/>
                <a:gd name="connsiteY117" fmla="*/ 1614 h 10000"/>
                <a:gd name="connsiteX118" fmla="*/ 5817 w 10000"/>
                <a:gd name="connsiteY118" fmla="*/ 1497 h 10000"/>
                <a:gd name="connsiteX119" fmla="*/ 5621 w 10000"/>
                <a:gd name="connsiteY119" fmla="*/ 1384 h 10000"/>
                <a:gd name="connsiteX120" fmla="*/ 5425 w 10000"/>
                <a:gd name="connsiteY120" fmla="*/ 1277 h 10000"/>
                <a:gd name="connsiteX121" fmla="*/ 5222 w 10000"/>
                <a:gd name="connsiteY121" fmla="*/ 1176 h 10000"/>
                <a:gd name="connsiteX122" fmla="*/ 5020 w 10000"/>
                <a:gd name="connsiteY122" fmla="*/ 1074 h 10000"/>
                <a:gd name="connsiteX123" fmla="*/ 4804 w 10000"/>
                <a:gd name="connsiteY123" fmla="*/ 978 h 10000"/>
                <a:gd name="connsiteX124" fmla="*/ 4595 w 10000"/>
                <a:gd name="connsiteY124" fmla="*/ 887 h 10000"/>
                <a:gd name="connsiteX125" fmla="*/ 4379 w 10000"/>
                <a:gd name="connsiteY125" fmla="*/ 802 h 10000"/>
                <a:gd name="connsiteX126" fmla="*/ 4157 w 10000"/>
                <a:gd name="connsiteY126" fmla="*/ 716 h 10000"/>
                <a:gd name="connsiteX127" fmla="*/ 3941 w 10000"/>
                <a:gd name="connsiteY127" fmla="*/ 636 h 10000"/>
                <a:gd name="connsiteX128" fmla="*/ 3719 w 10000"/>
                <a:gd name="connsiteY128" fmla="*/ 567 h 10000"/>
                <a:gd name="connsiteX129" fmla="*/ 3490 w 10000"/>
                <a:gd name="connsiteY129" fmla="*/ 492 h 10000"/>
                <a:gd name="connsiteX130" fmla="*/ 3261 w 10000"/>
                <a:gd name="connsiteY130" fmla="*/ 428 h 10000"/>
                <a:gd name="connsiteX131" fmla="*/ 3026 w 10000"/>
                <a:gd name="connsiteY131" fmla="*/ 363 h 10000"/>
                <a:gd name="connsiteX132" fmla="*/ 2797 w 10000"/>
                <a:gd name="connsiteY132" fmla="*/ 310 h 10000"/>
                <a:gd name="connsiteX133" fmla="*/ 2556 w 10000"/>
                <a:gd name="connsiteY133" fmla="*/ 257 h 10000"/>
                <a:gd name="connsiteX134" fmla="*/ 2314 w 10000"/>
                <a:gd name="connsiteY134" fmla="*/ 208 h 10000"/>
                <a:gd name="connsiteX135" fmla="*/ 2078 w 10000"/>
                <a:gd name="connsiteY135" fmla="*/ 166 h 10000"/>
                <a:gd name="connsiteX136" fmla="*/ 1837 w 10000"/>
                <a:gd name="connsiteY136" fmla="*/ 128 h 10000"/>
                <a:gd name="connsiteX137" fmla="*/ 1588 w 10000"/>
                <a:gd name="connsiteY137" fmla="*/ 91 h 10000"/>
                <a:gd name="connsiteX138" fmla="*/ 1340 w 10000"/>
                <a:gd name="connsiteY138" fmla="*/ 64 h 10000"/>
                <a:gd name="connsiteX139" fmla="*/ 1092 w 10000"/>
                <a:gd name="connsiteY139" fmla="*/ 43 h 10000"/>
                <a:gd name="connsiteX140" fmla="*/ 843 w 10000"/>
                <a:gd name="connsiteY140" fmla="*/ 27 h 10000"/>
                <a:gd name="connsiteX141" fmla="*/ 588 w 10000"/>
                <a:gd name="connsiteY141" fmla="*/ 11 h 10000"/>
                <a:gd name="connsiteX142" fmla="*/ 333 w 10000"/>
                <a:gd name="connsiteY142" fmla="*/ 5 h 10000"/>
                <a:gd name="connsiteX143" fmla="*/ 78 w 10000"/>
                <a:gd name="connsiteY143" fmla="*/ 0 h 10000"/>
                <a:gd name="connsiteX144" fmla="*/ 0 w 10000"/>
                <a:gd name="connsiteY144" fmla="*/ 5 h 10000"/>
                <a:gd name="connsiteX145" fmla="*/ 1245 w 10000"/>
                <a:gd name="connsiteY145" fmla="*/ 2443 h 10000"/>
                <a:gd name="connsiteX146" fmla="*/ 26 w 10000"/>
                <a:gd name="connsiteY146" fmla="*/ 4768 h 10000"/>
                <a:gd name="connsiteX0" fmla="*/ 0 w 9974"/>
                <a:gd name="connsiteY0" fmla="*/ 4771 h 10003"/>
                <a:gd name="connsiteX1" fmla="*/ 33 w 9974"/>
                <a:gd name="connsiteY1" fmla="*/ 4765 h 10003"/>
                <a:gd name="connsiteX2" fmla="*/ 137 w 9974"/>
                <a:gd name="connsiteY2" fmla="*/ 4765 h 10003"/>
                <a:gd name="connsiteX3" fmla="*/ 242 w 9974"/>
                <a:gd name="connsiteY3" fmla="*/ 4771 h 10003"/>
                <a:gd name="connsiteX4" fmla="*/ 347 w 9974"/>
                <a:gd name="connsiteY4" fmla="*/ 4776 h 10003"/>
                <a:gd name="connsiteX5" fmla="*/ 451 w 9974"/>
                <a:gd name="connsiteY5" fmla="*/ 4781 h 10003"/>
                <a:gd name="connsiteX6" fmla="*/ 556 w 9974"/>
                <a:gd name="connsiteY6" fmla="*/ 4797 h 10003"/>
                <a:gd name="connsiteX7" fmla="*/ 660 w 9974"/>
                <a:gd name="connsiteY7" fmla="*/ 4808 h 10003"/>
                <a:gd name="connsiteX8" fmla="*/ 758 w 9974"/>
                <a:gd name="connsiteY8" fmla="*/ 4819 h 10003"/>
                <a:gd name="connsiteX9" fmla="*/ 856 w 9974"/>
                <a:gd name="connsiteY9" fmla="*/ 4835 h 10003"/>
                <a:gd name="connsiteX10" fmla="*/ 961 w 9974"/>
                <a:gd name="connsiteY10" fmla="*/ 4851 h 10003"/>
                <a:gd name="connsiteX11" fmla="*/ 1059 w 9974"/>
                <a:gd name="connsiteY11" fmla="*/ 4872 h 10003"/>
                <a:gd name="connsiteX12" fmla="*/ 1157 w 9974"/>
                <a:gd name="connsiteY12" fmla="*/ 4893 h 10003"/>
                <a:gd name="connsiteX13" fmla="*/ 1255 w 9974"/>
                <a:gd name="connsiteY13" fmla="*/ 4915 h 10003"/>
                <a:gd name="connsiteX14" fmla="*/ 1347 w 9974"/>
                <a:gd name="connsiteY14" fmla="*/ 4942 h 10003"/>
                <a:gd name="connsiteX15" fmla="*/ 1445 w 9974"/>
                <a:gd name="connsiteY15" fmla="*/ 4968 h 10003"/>
                <a:gd name="connsiteX16" fmla="*/ 1536 w 9974"/>
                <a:gd name="connsiteY16" fmla="*/ 5000 h 10003"/>
                <a:gd name="connsiteX17" fmla="*/ 1628 w 9974"/>
                <a:gd name="connsiteY17" fmla="*/ 5032 h 10003"/>
                <a:gd name="connsiteX18" fmla="*/ 1719 w 9974"/>
                <a:gd name="connsiteY18" fmla="*/ 5064 h 10003"/>
                <a:gd name="connsiteX19" fmla="*/ 1811 w 9974"/>
                <a:gd name="connsiteY19" fmla="*/ 5097 h 10003"/>
                <a:gd name="connsiteX20" fmla="*/ 1902 w 9974"/>
                <a:gd name="connsiteY20" fmla="*/ 5134 h 10003"/>
                <a:gd name="connsiteX21" fmla="*/ 1994 w 9974"/>
                <a:gd name="connsiteY21" fmla="*/ 5171 h 10003"/>
                <a:gd name="connsiteX22" fmla="*/ 2079 w 9974"/>
                <a:gd name="connsiteY22" fmla="*/ 5214 h 10003"/>
                <a:gd name="connsiteX23" fmla="*/ 2164 w 9974"/>
                <a:gd name="connsiteY23" fmla="*/ 5252 h 10003"/>
                <a:gd name="connsiteX24" fmla="*/ 2249 w 9974"/>
                <a:gd name="connsiteY24" fmla="*/ 5294 h 10003"/>
                <a:gd name="connsiteX25" fmla="*/ 2327 w 9974"/>
                <a:gd name="connsiteY25" fmla="*/ 5337 h 10003"/>
                <a:gd name="connsiteX26" fmla="*/ 2412 w 9974"/>
                <a:gd name="connsiteY26" fmla="*/ 5385 h 10003"/>
                <a:gd name="connsiteX27" fmla="*/ 2490 w 9974"/>
                <a:gd name="connsiteY27" fmla="*/ 5433 h 10003"/>
                <a:gd name="connsiteX28" fmla="*/ 2569 w 9974"/>
                <a:gd name="connsiteY28" fmla="*/ 5481 h 10003"/>
                <a:gd name="connsiteX29" fmla="*/ 2647 w 9974"/>
                <a:gd name="connsiteY29" fmla="*/ 5529 h 10003"/>
                <a:gd name="connsiteX30" fmla="*/ 2726 w 9974"/>
                <a:gd name="connsiteY30" fmla="*/ 5583 h 10003"/>
                <a:gd name="connsiteX31" fmla="*/ 2798 w 9974"/>
                <a:gd name="connsiteY31" fmla="*/ 5636 h 10003"/>
                <a:gd name="connsiteX32" fmla="*/ 2869 w 9974"/>
                <a:gd name="connsiteY32" fmla="*/ 5690 h 10003"/>
                <a:gd name="connsiteX33" fmla="*/ 2941 w 9974"/>
                <a:gd name="connsiteY33" fmla="*/ 5749 h 10003"/>
                <a:gd name="connsiteX34" fmla="*/ 3007 w 9974"/>
                <a:gd name="connsiteY34" fmla="*/ 5807 h 10003"/>
                <a:gd name="connsiteX35" fmla="*/ 3079 w 9974"/>
                <a:gd name="connsiteY35" fmla="*/ 5866 h 10003"/>
                <a:gd name="connsiteX36" fmla="*/ 3144 w 9974"/>
                <a:gd name="connsiteY36" fmla="*/ 5925 h 10003"/>
                <a:gd name="connsiteX37" fmla="*/ 3203 w 9974"/>
                <a:gd name="connsiteY37" fmla="*/ 5989 h 10003"/>
                <a:gd name="connsiteX38" fmla="*/ 3268 w 9974"/>
                <a:gd name="connsiteY38" fmla="*/ 6048 h 10003"/>
                <a:gd name="connsiteX39" fmla="*/ 3327 w 9974"/>
                <a:gd name="connsiteY39" fmla="*/ 6112 h 10003"/>
                <a:gd name="connsiteX40" fmla="*/ 3386 w 9974"/>
                <a:gd name="connsiteY40" fmla="*/ 6176 h 10003"/>
                <a:gd name="connsiteX41" fmla="*/ 3445 w 9974"/>
                <a:gd name="connsiteY41" fmla="*/ 6240 h 10003"/>
                <a:gd name="connsiteX42" fmla="*/ 3497 w 9974"/>
                <a:gd name="connsiteY42" fmla="*/ 6310 h 10003"/>
                <a:gd name="connsiteX43" fmla="*/ 3549 w 9974"/>
                <a:gd name="connsiteY43" fmla="*/ 6379 h 10003"/>
                <a:gd name="connsiteX44" fmla="*/ 3601 w 9974"/>
                <a:gd name="connsiteY44" fmla="*/ 6449 h 10003"/>
                <a:gd name="connsiteX45" fmla="*/ 3654 w 9974"/>
                <a:gd name="connsiteY45" fmla="*/ 6518 h 10003"/>
                <a:gd name="connsiteX46" fmla="*/ 3693 w 9974"/>
                <a:gd name="connsiteY46" fmla="*/ 6593 h 10003"/>
                <a:gd name="connsiteX47" fmla="*/ 3745 w 9974"/>
                <a:gd name="connsiteY47" fmla="*/ 6668 h 10003"/>
                <a:gd name="connsiteX48" fmla="*/ 3784 w 9974"/>
                <a:gd name="connsiteY48" fmla="*/ 6737 h 10003"/>
                <a:gd name="connsiteX49" fmla="*/ 3824 w 9974"/>
                <a:gd name="connsiteY49" fmla="*/ 6812 h 10003"/>
                <a:gd name="connsiteX50" fmla="*/ 3863 w 9974"/>
                <a:gd name="connsiteY50" fmla="*/ 6887 h 10003"/>
                <a:gd name="connsiteX51" fmla="*/ 3896 w 9974"/>
                <a:gd name="connsiteY51" fmla="*/ 6962 h 10003"/>
                <a:gd name="connsiteX52" fmla="*/ 3928 w 9974"/>
                <a:gd name="connsiteY52" fmla="*/ 7042 h 10003"/>
                <a:gd name="connsiteX53" fmla="*/ 3961 w 9974"/>
                <a:gd name="connsiteY53" fmla="*/ 7122 h 10003"/>
                <a:gd name="connsiteX54" fmla="*/ 3994 w 9974"/>
                <a:gd name="connsiteY54" fmla="*/ 7197 h 10003"/>
                <a:gd name="connsiteX55" fmla="*/ 4020 w 9974"/>
                <a:gd name="connsiteY55" fmla="*/ 7277 h 10003"/>
                <a:gd name="connsiteX56" fmla="*/ 4039 w 9974"/>
                <a:gd name="connsiteY56" fmla="*/ 7357 h 10003"/>
                <a:gd name="connsiteX57" fmla="*/ 4066 w 9974"/>
                <a:gd name="connsiteY57" fmla="*/ 7443 h 10003"/>
                <a:gd name="connsiteX58" fmla="*/ 4085 w 9974"/>
                <a:gd name="connsiteY58" fmla="*/ 7523 h 10003"/>
                <a:gd name="connsiteX59" fmla="*/ 4105 w 9974"/>
                <a:gd name="connsiteY59" fmla="*/ 7603 h 10003"/>
                <a:gd name="connsiteX60" fmla="*/ 4118 w 9974"/>
                <a:gd name="connsiteY60" fmla="*/ 7689 h 10003"/>
                <a:gd name="connsiteX61" fmla="*/ 4131 w 9974"/>
                <a:gd name="connsiteY61" fmla="*/ 7774 h 10003"/>
                <a:gd name="connsiteX62" fmla="*/ 4137 w 9974"/>
                <a:gd name="connsiteY62" fmla="*/ 7860 h 10003"/>
                <a:gd name="connsiteX63" fmla="*/ 4144 w 9974"/>
                <a:gd name="connsiteY63" fmla="*/ 7945 h 10003"/>
                <a:gd name="connsiteX64" fmla="*/ 4144 w 9974"/>
                <a:gd name="connsiteY64" fmla="*/ 8031 h 10003"/>
                <a:gd name="connsiteX65" fmla="*/ 4150 w 9974"/>
                <a:gd name="connsiteY65" fmla="*/ 8116 h 10003"/>
                <a:gd name="connsiteX66" fmla="*/ 4144 w 9974"/>
                <a:gd name="connsiteY66" fmla="*/ 8229 h 10003"/>
                <a:gd name="connsiteX67" fmla="*/ 4137 w 9974"/>
                <a:gd name="connsiteY67" fmla="*/ 8346 h 10003"/>
                <a:gd name="connsiteX68" fmla="*/ 4131 w 9974"/>
                <a:gd name="connsiteY68" fmla="*/ 8453 h 10003"/>
                <a:gd name="connsiteX69" fmla="*/ 4111 w 9974"/>
                <a:gd name="connsiteY69" fmla="*/ 8565 h 10003"/>
                <a:gd name="connsiteX70" fmla="*/ 6713 w 9974"/>
                <a:gd name="connsiteY70" fmla="*/ 10003 h 10003"/>
                <a:gd name="connsiteX71" fmla="*/ 9824 w 9974"/>
                <a:gd name="connsiteY71" fmla="*/ 9501 h 10003"/>
                <a:gd name="connsiteX72" fmla="*/ 9863 w 9974"/>
                <a:gd name="connsiteY72" fmla="*/ 9335 h 10003"/>
                <a:gd name="connsiteX73" fmla="*/ 9889 w 9974"/>
                <a:gd name="connsiteY73" fmla="*/ 9164 h 10003"/>
                <a:gd name="connsiteX74" fmla="*/ 9915 w 9974"/>
                <a:gd name="connsiteY74" fmla="*/ 8993 h 10003"/>
                <a:gd name="connsiteX75" fmla="*/ 9935 w 9974"/>
                <a:gd name="connsiteY75" fmla="*/ 8816 h 10003"/>
                <a:gd name="connsiteX76" fmla="*/ 9948 w 9974"/>
                <a:gd name="connsiteY76" fmla="*/ 8640 h 10003"/>
                <a:gd name="connsiteX77" fmla="*/ 9961 w 9974"/>
                <a:gd name="connsiteY77" fmla="*/ 8469 h 10003"/>
                <a:gd name="connsiteX78" fmla="*/ 9967 w 9974"/>
                <a:gd name="connsiteY78" fmla="*/ 8293 h 10003"/>
                <a:gd name="connsiteX79" fmla="*/ 9974 w 9974"/>
                <a:gd name="connsiteY79" fmla="*/ 8116 h 10003"/>
                <a:gd name="connsiteX80" fmla="*/ 9967 w 9974"/>
                <a:gd name="connsiteY80" fmla="*/ 7903 h 10003"/>
                <a:gd name="connsiteX81" fmla="*/ 9961 w 9974"/>
                <a:gd name="connsiteY81" fmla="*/ 7699 h 10003"/>
                <a:gd name="connsiteX82" fmla="*/ 9941 w 9974"/>
                <a:gd name="connsiteY82" fmla="*/ 7491 h 10003"/>
                <a:gd name="connsiteX83" fmla="*/ 9922 w 9974"/>
                <a:gd name="connsiteY83" fmla="*/ 7288 h 10003"/>
                <a:gd name="connsiteX84" fmla="*/ 9889 w 9974"/>
                <a:gd name="connsiteY84" fmla="*/ 7079 h 10003"/>
                <a:gd name="connsiteX85" fmla="*/ 9856 w 9974"/>
                <a:gd name="connsiteY85" fmla="*/ 6882 h 10003"/>
                <a:gd name="connsiteX86" fmla="*/ 9817 w 9974"/>
                <a:gd name="connsiteY86" fmla="*/ 6679 h 10003"/>
                <a:gd name="connsiteX87" fmla="*/ 9771 w 9974"/>
                <a:gd name="connsiteY87" fmla="*/ 6481 h 10003"/>
                <a:gd name="connsiteX88" fmla="*/ 9719 w 9974"/>
                <a:gd name="connsiteY88" fmla="*/ 6283 h 10003"/>
                <a:gd name="connsiteX89" fmla="*/ 9660 w 9974"/>
                <a:gd name="connsiteY89" fmla="*/ 6091 h 10003"/>
                <a:gd name="connsiteX90" fmla="*/ 9595 w 9974"/>
                <a:gd name="connsiteY90" fmla="*/ 5893 h 10003"/>
                <a:gd name="connsiteX91" fmla="*/ 9530 w 9974"/>
                <a:gd name="connsiteY91" fmla="*/ 5700 h 10003"/>
                <a:gd name="connsiteX92" fmla="*/ 9451 w 9974"/>
                <a:gd name="connsiteY92" fmla="*/ 5513 h 10003"/>
                <a:gd name="connsiteX93" fmla="*/ 9373 w 9974"/>
                <a:gd name="connsiteY93" fmla="*/ 5326 h 10003"/>
                <a:gd name="connsiteX94" fmla="*/ 9281 w 9974"/>
                <a:gd name="connsiteY94" fmla="*/ 5139 h 10003"/>
                <a:gd name="connsiteX95" fmla="*/ 9190 w 9974"/>
                <a:gd name="connsiteY95" fmla="*/ 4958 h 10003"/>
                <a:gd name="connsiteX96" fmla="*/ 9098 w 9974"/>
                <a:gd name="connsiteY96" fmla="*/ 4776 h 10003"/>
                <a:gd name="connsiteX97" fmla="*/ 8994 w 9974"/>
                <a:gd name="connsiteY97" fmla="*/ 4599 h 10003"/>
                <a:gd name="connsiteX98" fmla="*/ 8889 w 9974"/>
                <a:gd name="connsiteY98" fmla="*/ 4423 h 10003"/>
                <a:gd name="connsiteX99" fmla="*/ 8778 w 9974"/>
                <a:gd name="connsiteY99" fmla="*/ 4247 h 10003"/>
                <a:gd name="connsiteX100" fmla="*/ 8660 w 9974"/>
                <a:gd name="connsiteY100" fmla="*/ 4076 h 10003"/>
                <a:gd name="connsiteX101" fmla="*/ 8536 w 9974"/>
                <a:gd name="connsiteY101" fmla="*/ 3910 h 10003"/>
                <a:gd name="connsiteX102" fmla="*/ 8412 w 9974"/>
                <a:gd name="connsiteY102" fmla="*/ 3744 h 10003"/>
                <a:gd name="connsiteX103" fmla="*/ 8281 w 9974"/>
                <a:gd name="connsiteY103" fmla="*/ 3579 h 10003"/>
                <a:gd name="connsiteX104" fmla="*/ 8144 w 9974"/>
                <a:gd name="connsiteY104" fmla="*/ 3418 h 10003"/>
                <a:gd name="connsiteX105" fmla="*/ 8000 w 9974"/>
                <a:gd name="connsiteY105" fmla="*/ 3263 h 10003"/>
                <a:gd name="connsiteX106" fmla="*/ 7856 w 9974"/>
                <a:gd name="connsiteY106" fmla="*/ 3108 h 10003"/>
                <a:gd name="connsiteX107" fmla="*/ 7706 w 9974"/>
                <a:gd name="connsiteY107" fmla="*/ 2953 h 10003"/>
                <a:gd name="connsiteX108" fmla="*/ 7556 w 9974"/>
                <a:gd name="connsiteY108" fmla="*/ 2809 h 10003"/>
                <a:gd name="connsiteX109" fmla="*/ 7392 w 9974"/>
                <a:gd name="connsiteY109" fmla="*/ 2665 h 10003"/>
                <a:gd name="connsiteX110" fmla="*/ 7235 w 9974"/>
                <a:gd name="connsiteY110" fmla="*/ 2520 h 10003"/>
                <a:gd name="connsiteX111" fmla="*/ 7066 w 9974"/>
                <a:gd name="connsiteY111" fmla="*/ 2376 h 10003"/>
                <a:gd name="connsiteX112" fmla="*/ 6896 w 9974"/>
                <a:gd name="connsiteY112" fmla="*/ 2242 h 10003"/>
                <a:gd name="connsiteX113" fmla="*/ 6726 w 9974"/>
                <a:gd name="connsiteY113" fmla="*/ 2109 h 10003"/>
                <a:gd name="connsiteX114" fmla="*/ 6543 w 9974"/>
                <a:gd name="connsiteY114" fmla="*/ 1981 h 10003"/>
                <a:gd name="connsiteX115" fmla="*/ 6360 w 9974"/>
                <a:gd name="connsiteY115" fmla="*/ 1858 h 10003"/>
                <a:gd name="connsiteX116" fmla="*/ 6177 w 9974"/>
                <a:gd name="connsiteY116" fmla="*/ 1735 h 10003"/>
                <a:gd name="connsiteX117" fmla="*/ 5987 w 9974"/>
                <a:gd name="connsiteY117" fmla="*/ 1617 h 10003"/>
                <a:gd name="connsiteX118" fmla="*/ 5791 w 9974"/>
                <a:gd name="connsiteY118" fmla="*/ 1500 h 10003"/>
                <a:gd name="connsiteX119" fmla="*/ 5595 w 9974"/>
                <a:gd name="connsiteY119" fmla="*/ 1387 h 10003"/>
                <a:gd name="connsiteX120" fmla="*/ 5399 w 9974"/>
                <a:gd name="connsiteY120" fmla="*/ 1280 h 10003"/>
                <a:gd name="connsiteX121" fmla="*/ 5196 w 9974"/>
                <a:gd name="connsiteY121" fmla="*/ 1179 h 10003"/>
                <a:gd name="connsiteX122" fmla="*/ 4994 w 9974"/>
                <a:gd name="connsiteY122" fmla="*/ 1077 h 10003"/>
                <a:gd name="connsiteX123" fmla="*/ 4778 w 9974"/>
                <a:gd name="connsiteY123" fmla="*/ 981 h 10003"/>
                <a:gd name="connsiteX124" fmla="*/ 4569 w 9974"/>
                <a:gd name="connsiteY124" fmla="*/ 890 h 10003"/>
                <a:gd name="connsiteX125" fmla="*/ 4353 w 9974"/>
                <a:gd name="connsiteY125" fmla="*/ 805 h 10003"/>
                <a:gd name="connsiteX126" fmla="*/ 4131 w 9974"/>
                <a:gd name="connsiteY126" fmla="*/ 719 h 10003"/>
                <a:gd name="connsiteX127" fmla="*/ 3915 w 9974"/>
                <a:gd name="connsiteY127" fmla="*/ 639 h 10003"/>
                <a:gd name="connsiteX128" fmla="*/ 3693 w 9974"/>
                <a:gd name="connsiteY128" fmla="*/ 570 h 10003"/>
                <a:gd name="connsiteX129" fmla="*/ 3464 w 9974"/>
                <a:gd name="connsiteY129" fmla="*/ 495 h 10003"/>
                <a:gd name="connsiteX130" fmla="*/ 3235 w 9974"/>
                <a:gd name="connsiteY130" fmla="*/ 431 h 10003"/>
                <a:gd name="connsiteX131" fmla="*/ 3000 w 9974"/>
                <a:gd name="connsiteY131" fmla="*/ 366 h 10003"/>
                <a:gd name="connsiteX132" fmla="*/ 2771 w 9974"/>
                <a:gd name="connsiteY132" fmla="*/ 313 h 10003"/>
                <a:gd name="connsiteX133" fmla="*/ 2530 w 9974"/>
                <a:gd name="connsiteY133" fmla="*/ 260 h 10003"/>
                <a:gd name="connsiteX134" fmla="*/ 2288 w 9974"/>
                <a:gd name="connsiteY134" fmla="*/ 211 h 10003"/>
                <a:gd name="connsiteX135" fmla="*/ 2052 w 9974"/>
                <a:gd name="connsiteY135" fmla="*/ 169 h 10003"/>
                <a:gd name="connsiteX136" fmla="*/ 1811 w 9974"/>
                <a:gd name="connsiteY136" fmla="*/ 131 h 10003"/>
                <a:gd name="connsiteX137" fmla="*/ 1562 w 9974"/>
                <a:gd name="connsiteY137" fmla="*/ 94 h 10003"/>
                <a:gd name="connsiteX138" fmla="*/ 1314 w 9974"/>
                <a:gd name="connsiteY138" fmla="*/ 67 h 10003"/>
                <a:gd name="connsiteX139" fmla="*/ 1066 w 9974"/>
                <a:gd name="connsiteY139" fmla="*/ 46 h 10003"/>
                <a:gd name="connsiteX140" fmla="*/ 817 w 9974"/>
                <a:gd name="connsiteY140" fmla="*/ 30 h 10003"/>
                <a:gd name="connsiteX141" fmla="*/ 562 w 9974"/>
                <a:gd name="connsiteY141" fmla="*/ 14 h 10003"/>
                <a:gd name="connsiteX142" fmla="*/ 307 w 9974"/>
                <a:gd name="connsiteY142" fmla="*/ 8 h 10003"/>
                <a:gd name="connsiteX143" fmla="*/ 52 w 9974"/>
                <a:gd name="connsiteY143" fmla="*/ 3 h 10003"/>
                <a:gd name="connsiteX144" fmla="*/ 13 w 9974"/>
                <a:gd name="connsiteY144" fmla="*/ 0 h 10003"/>
                <a:gd name="connsiteX145" fmla="*/ 1219 w 9974"/>
                <a:gd name="connsiteY145" fmla="*/ 2446 h 10003"/>
                <a:gd name="connsiteX146" fmla="*/ 0 w 9974"/>
                <a:gd name="connsiteY146" fmla="*/ 4771 h 10003"/>
                <a:gd name="connsiteX0" fmla="*/ 0 w 9990"/>
                <a:gd name="connsiteY0" fmla="*/ 4770 h 10000"/>
                <a:gd name="connsiteX1" fmla="*/ 23 w 9990"/>
                <a:gd name="connsiteY1" fmla="*/ 4764 h 10000"/>
                <a:gd name="connsiteX2" fmla="*/ 127 w 9990"/>
                <a:gd name="connsiteY2" fmla="*/ 4764 h 10000"/>
                <a:gd name="connsiteX3" fmla="*/ 233 w 9990"/>
                <a:gd name="connsiteY3" fmla="*/ 4770 h 10000"/>
                <a:gd name="connsiteX4" fmla="*/ 338 w 9990"/>
                <a:gd name="connsiteY4" fmla="*/ 4775 h 10000"/>
                <a:gd name="connsiteX5" fmla="*/ 442 w 9990"/>
                <a:gd name="connsiteY5" fmla="*/ 4780 h 10000"/>
                <a:gd name="connsiteX6" fmla="*/ 547 w 9990"/>
                <a:gd name="connsiteY6" fmla="*/ 4796 h 10000"/>
                <a:gd name="connsiteX7" fmla="*/ 652 w 9990"/>
                <a:gd name="connsiteY7" fmla="*/ 4807 h 10000"/>
                <a:gd name="connsiteX8" fmla="*/ 750 w 9990"/>
                <a:gd name="connsiteY8" fmla="*/ 4818 h 10000"/>
                <a:gd name="connsiteX9" fmla="*/ 848 w 9990"/>
                <a:gd name="connsiteY9" fmla="*/ 4834 h 10000"/>
                <a:gd name="connsiteX10" fmla="*/ 954 w 9990"/>
                <a:gd name="connsiteY10" fmla="*/ 4850 h 10000"/>
                <a:gd name="connsiteX11" fmla="*/ 1052 w 9990"/>
                <a:gd name="connsiteY11" fmla="*/ 4871 h 10000"/>
                <a:gd name="connsiteX12" fmla="*/ 1150 w 9990"/>
                <a:gd name="connsiteY12" fmla="*/ 4892 h 10000"/>
                <a:gd name="connsiteX13" fmla="*/ 1248 w 9990"/>
                <a:gd name="connsiteY13" fmla="*/ 4914 h 10000"/>
                <a:gd name="connsiteX14" fmla="*/ 1341 w 9990"/>
                <a:gd name="connsiteY14" fmla="*/ 4941 h 10000"/>
                <a:gd name="connsiteX15" fmla="*/ 1439 w 9990"/>
                <a:gd name="connsiteY15" fmla="*/ 4967 h 10000"/>
                <a:gd name="connsiteX16" fmla="*/ 1530 w 9990"/>
                <a:gd name="connsiteY16" fmla="*/ 4999 h 10000"/>
                <a:gd name="connsiteX17" fmla="*/ 1622 w 9990"/>
                <a:gd name="connsiteY17" fmla="*/ 5030 h 10000"/>
                <a:gd name="connsiteX18" fmla="*/ 1713 w 9990"/>
                <a:gd name="connsiteY18" fmla="*/ 5062 h 10000"/>
                <a:gd name="connsiteX19" fmla="*/ 1806 w 9990"/>
                <a:gd name="connsiteY19" fmla="*/ 5095 h 10000"/>
                <a:gd name="connsiteX20" fmla="*/ 1897 w 9990"/>
                <a:gd name="connsiteY20" fmla="*/ 5132 h 10000"/>
                <a:gd name="connsiteX21" fmla="*/ 1989 w 9990"/>
                <a:gd name="connsiteY21" fmla="*/ 5169 h 10000"/>
                <a:gd name="connsiteX22" fmla="*/ 2074 w 9990"/>
                <a:gd name="connsiteY22" fmla="*/ 5212 h 10000"/>
                <a:gd name="connsiteX23" fmla="*/ 2160 w 9990"/>
                <a:gd name="connsiteY23" fmla="*/ 5250 h 10000"/>
                <a:gd name="connsiteX24" fmla="*/ 2245 w 9990"/>
                <a:gd name="connsiteY24" fmla="*/ 5292 h 10000"/>
                <a:gd name="connsiteX25" fmla="*/ 2323 w 9990"/>
                <a:gd name="connsiteY25" fmla="*/ 5335 h 10000"/>
                <a:gd name="connsiteX26" fmla="*/ 2408 w 9990"/>
                <a:gd name="connsiteY26" fmla="*/ 5383 h 10000"/>
                <a:gd name="connsiteX27" fmla="*/ 2486 w 9990"/>
                <a:gd name="connsiteY27" fmla="*/ 5431 h 10000"/>
                <a:gd name="connsiteX28" fmla="*/ 2566 w 9990"/>
                <a:gd name="connsiteY28" fmla="*/ 5479 h 10000"/>
                <a:gd name="connsiteX29" fmla="*/ 2644 w 9990"/>
                <a:gd name="connsiteY29" fmla="*/ 5527 h 10000"/>
                <a:gd name="connsiteX30" fmla="*/ 2723 w 9990"/>
                <a:gd name="connsiteY30" fmla="*/ 5581 h 10000"/>
                <a:gd name="connsiteX31" fmla="*/ 2795 w 9990"/>
                <a:gd name="connsiteY31" fmla="*/ 5634 h 10000"/>
                <a:gd name="connsiteX32" fmla="*/ 2866 w 9990"/>
                <a:gd name="connsiteY32" fmla="*/ 5688 h 10000"/>
                <a:gd name="connsiteX33" fmla="*/ 2939 w 9990"/>
                <a:gd name="connsiteY33" fmla="*/ 5747 h 10000"/>
                <a:gd name="connsiteX34" fmla="*/ 3005 w 9990"/>
                <a:gd name="connsiteY34" fmla="*/ 5805 h 10000"/>
                <a:gd name="connsiteX35" fmla="*/ 3077 w 9990"/>
                <a:gd name="connsiteY35" fmla="*/ 5864 h 10000"/>
                <a:gd name="connsiteX36" fmla="*/ 3142 w 9990"/>
                <a:gd name="connsiteY36" fmla="*/ 5923 h 10000"/>
                <a:gd name="connsiteX37" fmla="*/ 3201 w 9990"/>
                <a:gd name="connsiteY37" fmla="*/ 5987 h 10000"/>
                <a:gd name="connsiteX38" fmla="*/ 3267 w 9990"/>
                <a:gd name="connsiteY38" fmla="*/ 6046 h 10000"/>
                <a:gd name="connsiteX39" fmla="*/ 3326 w 9990"/>
                <a:gd name="connsiteY39" fmla="*/ 6110 h 10000"/>
                <a:gd name="connsiteX40" fmla="*/ 3385 w 9990"/>
                <a:gd name="connsiteY40" fmla="*/ 6174 h 10000"/>
                <a:gd name="connsiteX41" fmla="*/ 3444 w 9990"/>
                <a:gd name="connsiteY41" fmla="*/ 6238 h 10000"/>
                <a:gd name="connsiteX42" fmla="*/ 3496 w 9990"/>
                <a:gd name="connsiteY42" fmla="*/ 6308 h 10000"/>
                <a:gd name="connsiteX43" fmla="*/ 3548 w 9990"/>
                <a:gd name="connsiteY43" fmla="*/ 6377 h 10000"/>
                <a:gd name="connsiteX44" fmla="*/ 3600 w 9990"/>
                <a:gd name="connsiteY44" fmla="*/ 6447 h 10000"/>
                <a:gd name="connsiteX45" fmla="*/ 3654 w 9990"/>
                <a:gd name="connsiteY45" fmla="*/ 6516 h 10000"/>
                <a:gd name="connsiteX46" fmla="*/ 3693 w 9990"/>
                <a:gd name="connsiteY46" fmla="*/ 6591 h 10000"/>
                <a:gd name="connsiteX47" fmla="*/ 3745 w 9990"/>
                <a:gd name="connsiteY47" fmla="*/ 6666 h 10000"/>
                <a:gd name="connsiteX48" fmla="*/ 3784 w 9990"/>
                <a:gd name="connsiteY48" fmla="*/ 6735 h 10000"/>
                <a:gd name="connsiteX49" fmla="*/ 3824 w 9990"/>
                <a:gd name="connsiteY49" fmla="*/ 6810 h 10000"/>
                <a:gd name="connsiteX50" fmla="*/ 3863 w 9990"/>
                <a:gd name="connsiteY50" fmla="*/ 6885 h 10000"/>
                <a:gd name="connsiteX51" fmla="*/ 3896 w 9990"/>
                <a:gd name="connsiteY51" fmla="*/ 6960 h 10000"/>
                <a:gd name="connsiteX52" fmla="*/ 3928 w 9990"/>
                <a:gd name="connsiteY52" fmla="*/ 7040 h 10000"/>
                <a:gd name="connsiteX53" fmla="*/ 3961 w 9990"/>
                <a:gd name="connsiteY53" fmla="*/ 7120 h 10000"/>
                <a:gd name="connsiteX54" fmla="*/ 3994 w 9990"/>
                <a:gd name="connsiteY54" fmla="*/ 7195 h 10000"/>
                <a:gd name="connsiteX55" fmla="*/ 4020 w 9990"/>
                <a:gd name="connsiteY55" fmla="*/ 7275 h 10000"/>
                <a:gd name="connsiteX56" fmla="*/ 4040 w 9990"/>
                <a:gd name="connsiteY56" fmla="*/ 7355 h 10000"/>
                <a:gd name="connsiteX57" fmla="*/ 4067 w 9990"/>
                <a:gd name="connsiteY57" fmla="*/ 7441 h 10000"/>
                <a:gd name="connsiteX58" fmla="*/ 4086 w 9990"/>
                <a:gd name="connsiteY58" fmla="*/ 7521 h 10000"/>
                <a:gd name="connsiteX59" fmla="*/ 4106 w 9990"/>
                <a:gd name="connsiteY59" fmla="*/ 7601 h 10000"/>
                <a:gd name="connsiteX60" fmla="*/ 4119 w 9990"/>
                <a:gd name="connsiteY60" fmla="*/ 7687 h 10000"/>
                <a:gd name="connsiteX61" fmla="*/ 4132 w 9990"/>
                <a:gd name="connsiteY61" fmla="*/ 7772 h 10000"/>
                <a:gd name="connsiteX62" fmla="*/ 4138 w 9990"/>
                <a:gd name="connsiteY62" fmla="*/ 7858 h 10000"/>
                <a:gd name="connsiteX63" fmla="*/ 4145 w 9990"/>
                <a:gd name="connsiteY63" fmla="*/ 7943 h 10000"/>
                <a:gd name="connsiteX64" fmla="*/ 4145 w 9990"/>
                <a:gd name="connsiteY64" fmla="*/ 8029 h 10000"/>
                <a:gd name="connsiteX65" fmla="*/ 4151 w 9990"/>
                <a:gd name="connsiteY65" fmla="*/ 8114 h 10000"/>
                <a:gd name="connsiteX66" fmla="*/ 4145 w 9990"/>
                <a:gd name="connsiteY66" fmla="*/ 8227 h 10000"/>
                <a:gd name="connsiteX67" fmla="*/ 4138 w 9990"/>
                <a:gd name="connsiteY67" fmla="*/ 8343 h 10000"/>
                <a:gd name="connsiteX68" fmla="*/ 4132 w 9990"/>
                <a:gd name="connsiteY68" fmla="*/ 8450 h 10000"/>
                <a:gd name="connsiteX69" fmla="*/ 4112 w 9990"/>
                <a:gd name="connsiteY69" fmla="*/ 8562 h 10000"/>
                <a:gd name="connsiteX70" fmla="*/ 6720 w 9990"/>
                <a:gd name="connsiteY70" fmla="*/ 10000 h 10000"/>
                <a:gd name="connsiteX71" fmla="*/ 9840 w 9990"/>
                <a:gd name="connsiteY71" fmla="*/ 9498 h 10000"/>
                <a:gd name="connsiteX72" fmla="*/ 9879 w 9990"/>
                <a:gd name="connsiteY72" fmla="*/ 9332 h 10000"/>
                <a:gd name="connsiteX73" fmla="*/ 9905 w 9990"/>
                <a:gd name="connsiteY73" fmla="*/ 9161 h 10000"/>
                <a:gd name="connsiteX74" fmla="*/ 9931 w 9990"/>
                <a:gd name="connsiteY74" fmla="*/ 8990 h 10000"/>
                <a:gd name="connsiteX75" fmla="*/ 9951 w 9990"/>
                <a:gd name="connsiteY75" fmla="*/ 8813 h 10000"/>
                <a:gd name="connsiteX76" fmla="*/ 9964 w 9990"/>
                <a:gd name="connsiteY76" fmla="*/ 8637 h 10000"/>
                <a:gd name="connsiteX77" fmla="*/ 9977 w 9990"/>
                <a:gd name="connsiteY77" fmla="*/ 8466 h 10000"/>
                <a:gd name="connsiteX78" fmla="*/ 9983 w 9990"/>
                <a:gd name="connsiteY78" fmla="*/ 8291 h 10000"/>
                <a:gd name="connsiteX79" fmla="*/ 9990 w 9990"/>
                <a:gd name="connsiteY79" fmla="*/ 8114 h 10000"/>
                <a:gd name="connsiteX80" fmla="*/ 9983 w 9990"/>
                <a:gd name="connsiteY80" fmla="*/ 7901 h 10000"/>
                <a:gd name="connsiteX81" fmla="*/ 9977 w 9990"/>
                <a:gd name="connsiteY81" fmla="*/ 7697 h 10000"/>
                <a:gd name="connsiteX82" fmla="*/ 9957 w 9990"/>
                <a:gd name="connsiteY82" fmla="*/ 7489 h 10000"/>
                <a:gd name="connsiteX83" fmla="*/ 9938 w 9990"/>
                <a:gd name="connsiteY83" fmla="*/ 7286 h 10000"/>
                <a:gd name="connsiteX84" fmla="*/ 9905 w 9990"/>
                <a:gd name="connsiteY84" fmla="*/ 7077 h 10000"/>
                <a:gd name="connsiteX85" fmla="*/ 9872 w 9990"/>
                <a:gd name="connsiteY85" fmla="*/ 6880 h 10000"/>
                <a:gd name="connsiteX86" fmla="*/ 9833 w 9990"/>
                <a:gd name="connsiteY86" fmla="*/ 6677 h 10000"/>
                <a:gd name="connsiteX87" fmla="*/ 9786 w 9990"/>
                <a:gd name="connsiteY87" fmla="*/ 6479 h 10000"/>
                <a:gd name="connsiteX88" fmla="*/ 9734 w 9990"/>
                <a:gd name="connsiteY88" fmla="*/ 6281 h 10000"/>
                <a:gd name="connsiteX89" fmla="*/ 9675 w 9990"/>
                <a:gd name="connsiteY89" fmla="*/ 6089 h 10000"/>
                <a:gd name="connsiteX90" fmla="*/ 9610 w 9990"/>
                <a:gd name="connsiteY90" fmla="*/ 5891 h 10000"/>
                <a:gd name="connsiteX91" fmla="*/ 9545 w 9990"/>
                <a:gd name="connsiteY91" fmla="*/ 5698 h 10000"/>
                <a:gd name="connsiteX92" fmla="*/ 9466 w 9990"/>
                <a:gd name="connsiteY92" fmla="*/ 5511 h 10000"/>
                <a:gd name="connsiteX93" fmla="*/ 9387 w 9990"/>
                <a:gd name="connsiteY93" fmla="*/ 5324 h 10000"/>
                <a:gd name="connsiteX94" fmla="*/ 9295 w 9990"/>
                <a:gd name="connsiteY94" fmla="*/ 5137 h 10000"/>
                <a:gd name="connsiteX95" fmla="*/ 9204 w 9990"/>
                <a:gd name="connsiteY95" fmla="*/ 4957 h 10000"/>
                <a:gd name="connsiteX96" fmla="*/ 9112 w 9990"/>
                <a:gd name="connsiteY96" fmla="*/ 4775 h 10000"/>
                <a:gd name="connsiteX97" fmla="*/ 9007 w 9990"/>
                <a:gd name="connsiteY97" fmla="*/ 4598 h 10000"/>
                <a:gd name="connsiteX98" fmla="*/ 8902 w 9990"/>
                <a:gd name="connsiteY98" fmla="*/ 4422 h 10000"/>
                <a:gd name="connsiteX99" fmla="*/ 8791 w 9990"/>
                <a:gd name="connsiteY99" fmla="*/ 4246 h 10000"/>
                <a:gd name="connsiteX100" fmla="*/ 8673 w 9990"/>
                <a:gd name="connsiteY100" fmla="*/ 4075 h 10000"/>
                <a:gd name="connsiteX101" fmla="*/ 8548 w 9990"/>
                <a:gd name="connsiteY101" fmla="*/ 3909 h 10000"/>
                <a:gd name="connsiteX102" fmla="*/ 8424 w 9990"/>
                <a:gd name="connsiteY102" fmla="*/ 3743 h 10000"/>
                <a:gd name="connsiteX103" fmla="*/ 8293 w 9990"/>
                <a:gd name="connsiteY103" fmla="*/ 3578 h 10000"/>
                <a:gd name="connsiteX104" fmla="*/ 8155 w 9990"/>
                <a:gd name="connsiteY104" fmla="*/ 3417 h 10000"/>
                <a:gd name="connsiteX105" fmla="*/ 8011 w 9990"/>
                <a:gd name="connsiteY105" fmla="*/ 3262 h 10000"/>
                <a:gd name="connsiteX106" fmla="*/ 7866 w 9990"/>
                <a:gd name="connsiteY106" fmla="*/ 3107 h 10000"/>
                <a:gd name="connsiteX107" fmla="*/ 7716 w 9990"/>
                <a:gd name="connsiteY107" fmla="*/ 2952 h 10000"/>
                <a:gd name="connsiteX108" fmla="*/ 7566 w 9990"/>
                <a:gd name="connsiteY108" fmla="*/ 2808 h 10000"/>
                <a:gd name="connsiteX109" fmla="*/ 7401 w 9990"/>
                <a:gd name="connsiteY109" fmla="*/ 2664 h 10000"/>
                <a:gd name="connsiteX110" fmla="*/ 7244 w 9990"/>
                <a:gd name="connsiteY110" fmla="*/ 2519 h 10000"/>
                <a:gd name="connsiteX111" fmla="*/ 7074 w 9990"/>
                <a:gd name="connsiteY111" fmla="*/ 2375 h 10000"/>
                <a:gd name="connsiteX112" fmla="*/ 6904 w 9990"/>
                <a:gd name="connsiteY112" fmla="*/ 2241 h 10000"/>
                <a:gd name="connsiteX113" fmla="*/ 6734 w 9990"/>
                <a:gd name="connsiteY113" fmla="*/ 2108 h 10000"/>
                <a:gd name="connsiteX114" fmla="*/ 6550 w 9990"/>
                <a:gd name="connsiteY114" fmla="*/ 1980 h 10000"/>
                <a:gd name="connsiteX115" fmla="*/ 6367 w 9990"/>
                <a:gd name="connsiteY115" fmla="*/ 1857 h 10000"/>
                <a:gd name="connsiteX116" fmla="*/ 6183 w 9990"/>
                <a:gd name="connsiteY116" fmla="*/ 1734 h 10000"/>
                <a:gd name="connsiteX117" fmla="*/ 5993 w 9990"/>
                <a:gd name="connsiteY117" fmla="*/ 1617 h 10000"/>
                <a:gd name="connsiteX118" fmla="*/ 5796 w 9990"/>
                <a:gd name="connsiteY118" fmla="*/ 1500 h 10000"/>
                <a:gd name="connsiteX119" fmla="*/ 5600 w 9990"/>
                <a:gd name="connsiteY119" fmla="*/ 1387 h 10000"/>
                <a:gd name="connsiteX120" fmla="*/ 5403 w 9990"/>
                <a:gd name="connsiteY120" fmla="*/ 1280 h 10000"/>
                <a:gd name="connsiteX121" fmla="*/ 5200 w 9990"/>
                <a:gd name="connsiteY121" fmla="*/ 1179 h 10000"/>
                <a:gd name="connsiteX122" fmla="*/ 4997 w 9990"/>
                <a:gd name="connsiteY122" fmla="*/ 1077 h 10000"/>
                <a:gd name="connsiteX123" fmla="*/ 4780 w 9990"/>
                <a:gd name="connsiteY123" fmla="*/ 981 h 10000"/>
                <a:gd name="connsiteX124" fmla="*/ 4571 w 9990"/>
                <a:gd name="connsiteY124" fmla="*/ 890 h 10000"/>
                <a:gd name="connsiteX125" fmla="*/ 4354 w 9990"/>
                <a:gd name="connsiteY125" fmla="*/ 805 h 10000"/>
                <a:gd name="connsiteX126" fmla="*/ 4132 w 9990"/>
                <a:gd name="connsiteY126" fmla="*/ 719 h 10000"/>
                <a:gd name="connsiteX127" fmla="*/ 3915 w 9990"/>
                <a:gd name="connsiteY127" fmla="*/ 639 h 10000"/>
                <a:gd name="connsiteX128" fmla="*/ 3693 w 9990"/>
                <a:gd name="connsiteY128" fmla="*/ 570 h 10000"/>
                <a:gd name="connsiteX129" fmla="*/ 3463 w 9990"/>
                <a:gd name="connsiteY129" fmla="*/ 495 h 10000"/>
                <a:gd name="connsiteX130" fmla="*/ 3233 w 9990"/>
                <a:gd name="connsiteY130" fmla="*/ 431 h 10000"/>
                <a:gd name="connsiteX131" fmla="*/ 2998 w 9990"/>
                <a:gd name="connsiteY131" fmla="*/ 366 h 10000"/>
                <a:gd name="connsiteX132" fmla="*/ 2768 w 9990"/>
                <a:gd name="connsiteY132" fmla="*/ 313 h 10000"/>
                <a:gd name="connsiteX133" fmla="*/ 2527 w 9990"/>
                <a:gd name="connsiteY133" fmla="*/ 260 h 10000"/>
                <a:gd name="connsiteX134" fmla="*/ 2284 w 9990"/>
                <a:gd name="connsiteY134" fmla="*/ 211 h 10000"/>
                <a:gd name="connsiteX135" fmla="*/ 2047 w 9990"/>
                <a:gd name="connsiteY135" fmla="*/ 169 h 10000"/>
                <a:gd name="connsiteX136" fmla="*/ 1806 w 9990"/>
                <a:gd name="connsiteY136" fmla="*/ 131 h 10000"/>
                <a:gd name="connsiteX137" fmla="*/ 1556 w 9990"/>
                <a:gd name="connsiteY137" fmla="*/ 94 h 10000"/>
                <a:gd name="connsiteX138" fmla="*/ 1307 w 9990"/>
                <a:gd name="connsiteY138" fmla="*/ 67 h 10000"/>
                <a:gd name="connsiteX139" fmla="*/ 1059 w 9990"/>
                <a:gd name="connsiteY139" fmla="*/ 46 h 10000"/>
                <a:gd name="connsiteX140" fmla="*/ 809 w 9990"/>
                <a:gd name="connsiteY140" fmla="*/ 30 h 10000"/>
                <a:gd name="connsiteX141" fmla="*/ 553 w 9990"/>
                <a:gd name="connsiteY141" fmla="*/ 14 h 10000"/>
                <a:gd name="connsiteX142" fmla="*/ 298 w 9990"/>
                <a:gd name="connsiteY142" fmla="*/ 8 h 10000"/>
                <a:gd name="connsiteX143" fmla="*/ 42 w 9990"/>
                <a:gd name="connsiteY143" fmla="*/ 3 h 10000"/>
                <a:gd name="connsiteX144" fmla="*/ 3 w 9990"/>
                <a:gd name="connsiteY144" fmla="*/ 0 h 10000"/>
                <a:gd name="connsiteX145" fmla="*/ 1212 w 9990"/>
                <a:gd name="connsiteY145" fmla="*/ 2445 h 10000"/>
                <a:gd name="connsiteX146" fmla="*/ 0 w 9990"/>
                <a:gd name="connsiteY146" fmla="*/ 4770 h 10000"/>
                <a:gd name="connsiteX0" fmla="*/ 7 w 9997"/>
                <a:gd name="connsiteY0" fmla="*/ 4770 h 10000"/>
                <a:gd name="connsiteX1" fmla="*/ 20 w 9997"/>
                <a:gd name="connsiteY1" fmla="*/ 4764 h 10000"/>
                <a:gd name="connsiteX2" fmla="*/ 124 w 9997"/>
                <a:gd name="connsiteY2" fmla="*/ 4764 h 10000"/>
                <a:gd name="connsiteX3" fmla="*/ 230 w 9997"/>
                <a:gd name="connsiteY3" fmla="*/ 4770 h 10000"/>
                <a:gd name="connsiteX4" fmla="*/ 335 w 9997"/>
                <a:gd name="connsiteY4" fmla="*/ 4775 h 10000"/>
                <a:gd name="connsiteX5" fmla="*/ 439 w 9997"/>
                <a:gd name="connsiteY5" fmla="*/ 4780 h 10000"/>
                <a:gd name="connsiteX6" fmla="*/ 545 w 9997"/>
                <a:gd name="connsiteY6" fmla="*/ 4796 h 10000"/>
                <a:gd name="connsiteX7" fmla="*/ 650 w 9997"/>
                <a:gd name="connsiteY7" fmla="*/ 4807 h 10000"/>
                <a:gd name="connsiteX8" fmla="*/ 748 w 9997"/>
                <a:gd name="connsiteY8" fmla="*/ 4818 h 10000"/>
                <a:gd name="connsiteX9" fmla="*/ 846 w 9997"/>
                <a:gd name="connsiteY9" fmla="*/ 4834 h 10000"/>
                <a:gd name="connsiteX10" fmla="*/ 952 w 9997"/>
                <a:gd name="connsiteY10" fmla="*/ 4850 h 10000"/>
                <a:gd name="connsiteX11" fmla="*/ 1050 w 9997"/>
                <a:gd name="connsiteY11" fmla="*/ 4871 h 10000"/>
                <a:gd name="connsiteX12" fmla="*/ 1148 w 9997"/>
                <a:gd name="connsiteY12" fmla="*/ 4892 h 10000"/>
                <a:gd name="connsiteX13" fmla="*/ 1246 w 9997"/>
                <a:gd name="connsiteY13" fmla="*/ 4914 h 10000"/>
                <a:gd name="connsiteX14" fmla="*/ 1339 w 9997"/>
                <a:gd name="connsiteY14" fmla="*/ 4941 h 10000"/>
                <a:gd name="connsiteX15" fmla="*/ 1437 w 9997"/>
                <a:gd name="connsiteY15" fmla="*/ 4967 h 10000"/>
                <a:gd name="connsiteX16" fmla="*/ 1529 w 9997"/>
                <a:gd name="connsiteY16" fmla="*/ 4999 h 10000"/>
                <a:gd name="connsiteX17" fmla="*/ 1621 w 9997"/>
                <a:gd name="connsiteY17" fmla="*/ 5030 h 10000"/>
                <a:gd name="connsiteX18" fmla="*/ 1712 w 9997"/>
                <a:gd name="connsiteY18" fmla="*/ 5062 h 10000"/>
                <a:gd name="connsiteX19" fmla="*/ 1805 w 9997"/>
                <a:gd name="connsiteY19" fmla="*/ 5095 h 10000"/>
                <a:gd name="connsiteX20" fmla="*/ 1896 w 9997"/>
                <a:gd name="connsiteY20" fmla="*/ 5132 h 10000"/>
                <a:gd name="connsiteX21" fmla="*/ 1988 w 9997"/>
                <a:gd name="connsiteY21" fmla="*/ 5169 h 10000"/>
                <a:gd name="connsiteX22" fmla="*/ 2073 w 9997"/>
                <a:gd name="connsiteY22" fmla="*/ 5212 h 10000"/>
                <a:gd name="connsiteX23" fmla="*/ 2159 w 9997"/>
                <a:gd name="connsiteY23" fmla="*/ 5250 h 10000"/>
                <a:gd name="connsiteX24" fmla="*/ 2244 w 9997"/>
                <a:gd name="connsiteY24" fmla="*/ 5292 h 10000"/>
                <a:gd name="connsiteX25" fmla="*/ 2322 w 9997"/>
                <a:gd name="connsiteY25" fmla="*/ 5335 h 10000"/>
                <a:gd name="connsiteX26" fmla="*/ 2407 w 9997"/>
                <a:gd name="connsiteY26" fmla="*/ 5383 h 10000"/>
                <a:gd name="connsiteX27" fmla="*/ 2485 w 9997"/>
                <a:gd name="connsiteY27" fmla="*/ 5431 h 10000"/>
                <a:gd name="connsiteX28" fmla="*/ 2566 w 9997"/>
                <a:gd name="connsiteY28" fmla="*/ 5479 h 10000"/>
                <a:gd name="connsiteX29" fmla="*/ 2644 w 9997"/>
                <a:gd name="connsiteY29" fmla="*/ 5527 h 10000"/>
                <a:gd name="connsiteX30" fmla="*/ 2723 w 9997"/>
                <a:gd name="connsiteY30" fmla="*/ 5581 h 10000"/>
                <a:gd name="connsiteX31" fmla="*/ 2795 w 9997"/>
                <a:gd name="connsiteY31" fmla="*/ 5634 h 10000"/>
                <a:gd name="connsiteX32" fmla="*/ 2866 w 9997"/>
                <a:gd name="connsiteY32" fmla="*/ 5688 h 10000"/>
                <a:gd name="connsiteX33" fmla="*/ 2939 w 9997"/>
                <a:gd name="connsiteY33" fmla="*/ 5747 h 10000"/>
                <a:gd name="connsiteX34" fmla="*/ 3005 w 9997"/>
                <a:gd name="connsiteY34" fmla="*/ 5805 h 10000"/>
                <a:gd name="connsiteX35" fmla="*/ 3077 w 9997"/>
                <a:gd name="connsiteY35" fmla="*/ 5864 h 10000"/>
                <a:gd name="connsiteX36" fmla="*/ 3142 w 9997"/>
                <a:gd name="connsiteY36" fmla="*/ 5923 h 10000"/>
                <a:gd name="connsiteX37" fmla="*/ 3201 w 9997"/>
                <a:gd name="connsiteY37" fmla="*/ 5987 h 10000"/>
                <a:gd name="connsiteX38" fmla="*/ 3267 w 9997"/>
                <a:gd name="connsiteY38" fmla="*/ 6046 h 10000"/>
                <a:gd name="connsiteX39" fmla="*/ 3326 w 9997"/>
                <a:gd name="connsiteY39" fmla="*/ 6110 h 10000"/>
                <a:gd name="connsiteX40" fmla="*/ 3385 w 9997"/>
                <a:gd name="connsiteY40" fmla="*/ 6174 h 10000"/>
                <a:gd name="connsiteX41" fmla="*/ 3444 w 9997"/>
                <a:gd name="connsiteY41" fmla="*/ 6238 h 10000"/>
                <a:gd name="connsiteX42" fmla="*/ 3496 w 9997"/>
                <a:gd name="connsiteY42" fmla="*/ 6308 h 10000"/>
                <a:gd name="connsiteX43" fmla="*/ 3549 w 9997"/>
                <a:gd name="connsiteY43" fmla="*/ 6377 h 10000"/>
                <a:gd name="connsiteX44" fmla="*/ 3601 w 9997"/>
                <a:gd name="connsiteY44" fmla="*/ 6447 h 10000"/>
                <a:gd name="connsiteX45" fmla="*/ 3655 w 9997"/>
                <a:gd name="connsiteY45" fmla="*/ 6516 h 10000"/>
                <a:gd name="connsiteX46" fmla="*/ 3694 w 9997"/>
                <a:gd name="connsiteY46" fmla="*/ 6591 h 10000"/>
                <a:gd name="connsiteX47" fmla="*/ 3746 w 9997"/>
                <a:gd name="connsiteY47" fmla="*/ 6666 h 10000"/>
                <a:gd name="connsiteX48" fmla="*/ 3785 w 9997"/>
                <a:gd name="connsiteY48" fmla="*/ 6735 h 10000"/>
                <a:gd name="connsiteX49" fmla="*/ 3825 w 9997"/>
                <a:gd name="connsiteY49" fmla="*/ 6810 h 10000"/>
                <a:gd name="connsiteX50" fmla="*/ 3864 w 9997"/>
                <a:gd name="connsiteY50" fmla="*/ 6885 h 10000"/>
                <a:gd name="connsiteX51" fmla="*/ 3897 w 9997"/>
                <a:gd name="connsiteY51" fmla="*/ 6960 h 10000"/>
                <a:gd name="connsiteX52" fmla="*/ 3929 w 9997"/>
                <a:gd name="connsiteY52" fmla="*/ 7040 h 10000"/>
                <a:gd name="connsiteX53" fmla="*/ 3962 w 9997"/>
                <a:gd name="connsiteY53" fmla="*/ 7120 h 10000"/>
                <a:gd name="connsiteX54" fmla="*/ 3995 w 9997"/>
                <a:gd name="connsiteY54" fmla="*/ 7195 h 10000"/>
                <a:gd name="connsiteX55" fmla="*/ 4021 w 9997"/>
                <a:gd name="connsiteY55" fmla="*/ 7275 h 10000"/>
                <a:gd name="connsiteX56" fmla="*/ 4041 w 9997"/>
                <a:gd name="connsiteY56" fmla="*/ 7355 h 10000"/>
                <a:gd name="connsiteX57" fmla="*/ 4068 w 9997"/>
                <a:gd name="connsiteY57" fmla="*/ 7441 h 10000"/>
                <a:gd name="connsiteX58" fmla="*/ 4087 w 9997"/>
                <a:gd name="connsiteY58" fmla="*/ 7521 h 10000"/>
                <a:gd name="connsiteX59" fmla="*/ 4107 w 9997"/>
                <a:gd name="connsiteY59" fmla="*/ 7601 h 10000"/>
                <a:gd name="connsiteX60" fmla="*/ 4120 w 9997"/>
                <a:gd name="connsiteY60" fmla="*/ 7687 h 10000"/>
                <a:gd name="connsiteX61" fmla="*/ 4133 w 9997"/>
                <a:gd name="connsiteY61" fmla="*/ 7772 h 10000"/>
                <a:gd name="connsiteX62" fmla="*/ 4139 w 9997"/>
                <a:gd name="connsiteY62" fmla="*/ 7858 h 10000"/>
                <a:gd name="connsiteX63" fmla="*/ 4146 w 9997"/>
                <a:gd name="connsiteY63" fmla="*/ 7943 h 10000"/>
                <a:gd name="connsiteX64" fmla="*/ 4146 w 9997"/>
                <a:gd name="connsiteY64" fmla="*/ 8029 h 10000"/>
                <a:gd name="connsiteX65" fmla="*/ 4152 w 9997"/>
                <a:gd name="connsiteY65" fmla="*/ 8114 h 10000"/>
                <a:gd name="connsiteX66" fmla="*/ 4146 w 9997"/>
                <a:gd name="connsiteY66" fmla="*/ 8227 h 10000"/>
                <a:gd name="connsiteX67" fmla="*/ 4139 w 9997"/>
                <a:gd name="connsiteY67" fmla="*/ 8343 h 10000"/>
                <a:gd name="connsiteX68" fmla="*/ 4133 w 9997"/>
                <a:gd name="connsiteY68" fmla="*/ 8450 h 10000"/>
                <a:gd name="connsiteX69" fmla="*/ 4113 w 9997"/>
                <a:gd name="connsiteY69" fmla="*/ 8562 h 10000"/>
                <a:gd name="connsiteX70" fmla="*/ 6724 w 9997"/>
                <a:gd name="connsiteY70" fmla="*/ 10000 h 10000"/>
                <a:gd name="connsiteX71" fmla="*/ 9847 w 9997"/>
                <a:gd name="connsiteY71" fmla="*/ 9498 h 10000"/>
                <a:gd name="connsiteX72" fmla="*/ 9886 w 9997"/>
                <a:gd name="connsiteY72" fmla="*/ 9332 h 10000"/>
                <a:gd name="connsiteX73" fmla="*/ 9912 w 9997"/>
                <a:gd name="connsiteY73" fmla="*/ 9161 h 10000"/>
                <a:gd name="connsiteX74" fmla="*/ 9938 w 9997"/>
                <a:gd name="connsiteY74" fmla="*/ 8990 h 10000"/>
                <a:gd name="connsiteX75" fmla="*/ 9958 w 9997"/>
                <a:gd name="connsiteY75" fmla="*/ 8813 h 10000"/>
                <a:gd name="connsiteX76" fmla="*/ 9971 w 9997"/>
                <a:gd name="connsiteY76" fmla="*/ 8637 h 10000"/>
                <a:gd name="connsiteX77" fmla="*/ 9984 w 9997"/>
                <a:gd name="connsiteY77" fmla="*/ 8466 h 10000"/>
                <a:gd name="connsiteX78" fmla="*/ 9990 w 9997"/>
                <a:gd name="connsiteY78" fmla="*/ 8291 h 10000"/>
                <a:gd name="connsiteX79" fmla="*/ 9997 w 9997"/>
                <a:gd name="connsiteY79" fmla="*/ 8114 h 10000"/>
                <a:gd name="connsiteX80" fmla="*/ 9990 w 9997"/>
                <a:gd name="connsiteY80" fmla="*/ 7901 h 10000"/>
                <a:gd name="connsiteX81" fmla="*/ 9984 w 9997"/>
                <a:gd name="connsiteY81" fmla="*/ 7697 h 10000"/>
                <a:gd name="connsiteX82" fmla="*/ 9964 w 9997"/>
                <a:gd name="connsiteY82" fmla="*/ 7489 h 10000"/>
                <a:gd name="connsiteX83" fmla="*/ 9945 w 9997"/>
                <a:gd name="connsiteY83" fmla="*/ 7286 h 10000"/>
                <a:gd name="connsiteX84" fmla="*/ 9912 w 9997"/>
                <a:gd name="connsiteY84" fmla="*/ 7077 h 10000"/>
                <a:gd name="connsiteX85" fmla="*/ 9879 w 9997"/>
                <a:gd name="connsiteY85" fmla="*/ 6880 h 10000"/>
                <a:gd name="connsiteX86" fmla="*/ 9840 w 9997"/>
                <a:gd name="connsiteY86" fmla="*/ 6677 h 10000"/>
                <a:gd name="connsiteX87" fmla="*/ 9793 w 9997"/>
                <a:gd name="connsiteY87" fmla="*/ 6479 h 10000"/>
                <a:gd name="connsiteX88" fmla="*/ 9741 w 9997"/>
                <a:gd name="connsiteY88" fmla="*/ 6281 h 10000"/>
                <a:gd name="connsiteX89" fmla="*/ 9682 w 9997"/>
                <a:gd name="connsiteY89" fmla="*/ 6089 h 10000"/>
                <a:gd name="connsiteX90" fmla="*/ 9617 w 9997"/>
                <a:gd name="connsiteY90" fmla="*/ 5891 h 10000"/>
                <a:gd name="connsiteX91" fmla="*/ 9552 w 9997"/>
                <a:gd name="connsiteY91" fmla="*/ 5698 h 10000"/>
                <a:gd name="connsiteX92" fmla="*/ 9472 w 9997"/>
                <a:gd name="connsiteY92" fmla="*/ 5511 h 10000"/>
                <a:gd name="connsiteX93" fmla="*/ 9393 w 9997"/>
                <a:gd name="connsiteY93" fmla="*/ 5324 h 10000"/>
                <a:gd name="connsiteX94" fmla="*/ 9301 w 9997"/>
                <a:gd name="connsiteY94" fmla="*/ 5137 h 10000"/>
                <a:gd name="connsiteX95" fmla="*/ 9210 w 9997"/>
                <a:gd name="connsiteY95" fmla="*/ 4957 h 10000"/>
                <a:gd name="connsiteX96" fmla="*/ 9118 w 9997"/>
                <a:gd name="connsiteY96" fmla="*/ 4775 h 10000"/>
                <a:gd name="connsiteX97" fmla="*/ 9013 w 9997"/>
                <a:gd name="connsiteY97" fmla="*/ 4598 h 10000"/>
                <a:gd name="connsiteX98" fmla="*/ 8908 w 9997"/>
                <a:gd name="connsiteY98" fmla="*/ 4422 h 10000"/>
                <a:gd name="connsiteX99" fmla="*/ 8797 w 9997"/>
                <a:gd name="connsiteY99" fmla="*/ 4246 h 10000"/>
                <a:gd name="connsiteX100" fmla="*/ 8679 w 9997"/>
                <a:gd name="connsiteY100" fmla="*/ 4075 h 10000"/>
                <a:gd name="connsiteX101" fmla="*/ 8554 w 9997"/>
                <a:gd name="connsiteY101" fmla="*/ 3909 h 10000"/>
                <a:gd name="connsiteX102" fmla="*/ 8429 w 9997"/>
                <a:gd name="connsiteY102" fmla="*/ 3743 h 10000"/>
                <a:gd name="connsiteX103" fmla="*/ 8298 w 9997"/>
                <a:gd name="connsiteY103" fmla="*/ 3578 h 10000"/>
                <a:gd name="connsiteX104" fmla="*/ 8160 w 9997"/>
                <a:gd name="connsiteY104" fmla="*/ 3417 h 10000"/>
                <a:gd name="connsiteX105" fmla="*/ 8016 w 9997"/>
                <a:gd name="connsiteY105" fmla="*/ 3262 h 10000"/>
                <a:gd name="connsiteX106" fmla="*/ 7871 w 9997"/>
                <a:gd name="connsiteY106" fmla="*/ 3107 h 10000"/>
                <a:gd name="connsiteX107" fmla="*/ 7721 w 9997"/>
                <a:gd name="connsiteY107" fmla="*/ 2952 h 10000"/>
                <a:gd name="connsiteX108" fmla="*/ 7571 w 9997"/>
                <a:gd name="connsiteY108" fmla="*/ 2808 h 10000"/>
                <a:gd name="connsiteX109" fmla="*/ 7405 w 9997"/>
                <a:gd name="connsiteY109" fmla="*/ 2664 h 10000"/>
                <a:gd name="connsiteX110" fmla="*/ 7248 w 9997"/>
                <a:gd name="connsiteY110" fmla="*/ 2519 h 10000"/>
                <a:gd name="connsiteX111" fmla="*/ 7078 w 9997"/>
                <a:gd name="connsiteY111" fmla="*/ 2375 h 10000"/>
                <a:gd name="connsiteX112" fmla="*/ 6908 w 9997"/>
                <a:gd name="connsiteY112" fmla="*/ 2241 h 10000"/>
                <a:gd name="connsiteX113" fmla="*/ 6738 w 9997"/>
                <a:gd name="connsiteY113" fmla="*/ 2108 h 10000"/>
                <a:gd name="connsiteX114" fmla="*/ 6554 w 9997"/>
                <a:gd name="connsiteY114" fmla="*/ 1980 h 10000"/>
                <a:gd name="connsiteX115" fmla="*/ 6370 w 9997"/>
                <a:gd name="connsiteY115" fmla="*/ 1857 h 10000"/>
                <a:gd name="connsiteX116" fmla="*/ 6186 w 9997"/>
                <a:gd name="connsiteY116" fmla="*/ 1734 h 10000"/>
                <a:gd name="connsiteX117" fmla="*/ 5996 w 9997"/>
                <a:gd name="connsiteY117" fmla="*/ 1617 h 10000"/>
                <a:gd name="connsiteX118" fmla="*/ 5799 w 9997"/>
                <a:gd name="connsiteY118" fmla="*/ 1500 h 10000"/>
                <a:gd name="connsiteX119" fmla="*/ 5603 w 9997"/>
                <a:gd name="connsiteY119" fmla="*/ 1387 h 10000"/>
                <a:gd name="connsiteX120" fmla="*/ 5405 w 9997"/>
                <a:gd name="connsiteY120" fmla="*/ 1280 h 10000"/>
                <a:gd name="connsiteX121" fmla="*/ 5202 w 9997"/>
                <a:gd name="connsiteY121" fmla="*/ 1179 h 10000"/>
                <a:gd name="connsiteX122" fmla="*/ 4999 w 9997"/>
                <a:gd name="connsiteY122" fmla="*/ 1077 h 10000"/>
                <a:gd name="connsiteX123" fmla="*/ 4782 w 9997"/>
                <a:gd name="connsiteY123" fmla="*/ 981 h 10000"/>
                <a:gd name="connsiteX124" fmla="*/ 4573 w 9997"/>
                <a:gd name="connsiteY124" fmla="*/ 890 h 10000"/>
                <a:gd name="connsiteX125" fmla="*/ 4355 w 9997"/>
                <a:gd name="connsiteY125" fmla="*/ 805 h 10000"/>
                <a:gd name="connsiteX126" fmla="*/ 4133 w 9997"/>
                <a:gd name="connsiteY126" fmla="*/ 719 h 10000"/>
                <a:gd name="connsiteX127" fmla="*/ 3916 w 9997"/>
                <a:gd name="connsiteY127" fmla="*/ 639 h 10000"/>
                <a:gd name="connsiteX128" fmla="*/ 3694 w 9997"/>
                <a:gd name="connsiteY128" fmla="*/ 570 h 10000"/>
                <a:gd name="connsiteX129" fmla="*/ 3463 w 9997"/>
                <a:gd name="connsiteY129" fmla="*/ 495 h 10000"/>
                <a:gd name="connsiteX130" fmla="*/ 3233 w 9997"/>
                <a:gd name="connsiteY130" fmla="*/ 431 h 10000"/>
                <a:gd name="connsiteX131" fmla="*/ 2998 w 9997"/>
                <a:gd name="connsiteY131" fmla="*/ 366 h 10000"/>
                <a:gd name="connsiteX132" fmla="*/ 2768 w 9997"/>
                <a:gd name="connsiteY132" fmla="*/ 313 h 10000"/>
                <a:gd name="connsiteX133" fmla="*/ 2527 w 9997"/>
                <a:gd name="connsiteY133" fmla="*/ 260 h 10000"/>
                <a:gd name="connsiteX134" fmla="*/ 2283 w 9997"/>
                <a:gd name="connsiteY134" fmla="*/ 211 h 10000"/>
                <a:gd name="connsiteX135" fmla="*/ 2046 w 9997"/>
                <a:gd name="connsiteY135" fmla="*/ 169 h 10000"/>
                <a:gd name="connsiteX136" fmla="*/ 1805 w 9997"/>
                <a:gd name="connsiteY136" fmla="*/ 131 h 10000"/>
                <a:gd name="connsiteX137" fmla="*/ 1555 w 9997"/>
                <a:gd name="connsiteY137" fmla="*/ 94 h 10000"/>
                <a:gd name="connsiteX138" fmla="*/ 1305 w 9997"/>
                <a:gd name="connsiteY138" fmla="*/ 67 h 10000"/>
                <a:gd name="connsiteX139" fmla="*/ 1057 w 9997"/>
                <a:gd name="connsiteY139" fmla="*/ 46 h 10000"/>
                <a:gd name="connsiteX140" fmla="*/ 807 w 9997"/>
                <a:gd name="connsiteY140" fmla="*/ 30 h 10000"/>
                <a:gd name="connsiteX141" fmla="*/ 551 w 9997"/>
                <a:gd name="connsiteY141" fmla="*/ 14 h 10000"/>
                <a:gd name="connsiteX142" fmla="*/ 295 w 9997"/>
                <a:gd name="connsiteY142" fmla="*/ 8 h 10000"/>
                <a:gd name="connsiteX143" fmla="*/ 39 w 9997"/>
                <a:gd name="connsiteY143" fmla="*/ 3 h 10000"/>
                <a:gd name="connsiteX144" fmla="*/ 0 w 9997"/>
                <a:gd name="connsiteY144" fmla="*/ 0 h 10000"/>
                <a:gd name="connsiteX145" fmla="*/ 1210 w 9997"/>
                <a:gd name="connsiteY145" fmla="*/ 2445 h 10000"/>
                <a:gd name="connsiteX146" fmla="*/ 7 w 9997"/>
                <a:gd name="connsiteY146" fmla="*/ 477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</a:cxnLst>
              <a:rect l="l" t="t" r="r" b="b"/>
              <a:pathLst>
                <a:path w="9997" h="10000">
                  <a:moveTo>
                    <a:pt x="7" y="4770"/>
                  </a:moveTo>
                  <a:cubicBezTo>
                    <a:pt x="15" y="4768"/>
                    <a:pt x="12" y="4766"/>
                    <a:pt x="20" y="4764"/>
                  </a:cubicBezTo>
                  <a:lnTo>
                    <a:pt x="124" y="4764"/>
                  </a:lnTo>
                  <a:lnTo>
                    <a:pt x="230" y="4770"/>
                  </a:lnTo>
                  <a:lnTo>
                    <a:pt x="335" y="4775"/>
                  </a:lnTo>
                  <a:lnTo>
                    <a:pt x="439" y="4780"/>
                  </a:lnTo>
                  <a:lnTo>
                    <a:pt x="545" y="4796"/>
                  </a:lnTo>
                  <a:lnTo>
                    <a:pt x="650" y="4807"/>
                  </a:lnTo>
                  <a:lnTo>
                    <a:pt x="748" y="4818"/>
                  </a:lnTo>
                  <a:cubicBezTo>
                    <a:pt x="781" y="4823"/>
                    <a:pt x="813" y="4829"/>
                    <a:pt x="846" y="4834"/>
                  </a:cubicBezTo>
                  <a:lnTo>
                    <a:pt x="952" y="4850"/>
                  </a:lnTo>
                  <a:lnTo>
                    <a:pt x="1050" y="4871"/>
                  </a:lnTo>
                  <a:lnTo>
                    <a:pt x="1148" y="4892"/>
                  </a:lnTo>
                  <a:cubicBezTo>
                    <a:pt x="1181" y="4899"/>
                    <a:pt x="1213" y="4907"/>
                    <a:pt x="1246" y="4914"/>
                  </a:cubicBezTo>
                  <a:lnTo>
                    <a:pt x="1339" y="4941"/>
                  </a:lnTo>
                  <a:lnTo>
                    <a:pt x="1437" y="4967"/>
                  </a:lnTo>
                  <a:cubicBezTo>
                    <a:pt x="1467" y="4978"/>
                    <a:pt x="1499" y="4988"/>
                    <a:pt x="1529" y="4999"/>
                  </a:cubicBezTo>
                  <a:cubicBezTo>
                    <a:pt x="1560" y="5009"/>
                    <a:pt x="1590" y="5020"/>
                    <a:pt x="1621" y="5030"/>
                  </a:cubicBezTo>
                  <a:cubicBezTo>
                    <a:pt x="1651" y="5041"/>
                    <a:pt x="1682" y="5051"/>
                    <a:pt x="1712" y="5062"/>
                  </a:cubicBezTo>
                  <a:lnTo>
                    <a:pt x="1805" y="5095"/>
                  </a:lnTo>
                  <a:lnTo>
                    <a:pt x="1896" y="5132"/>
                  </a:lnTo>
                  <a:cubicBezTo>
                    <a:pt x="1927" y="5144"/>
                    <a:pt x="1957" y="5157"/>
                    <a:pt x="1988" y="5169"/>
                  </a:cubicBezTo>
                  <a:lnTo>
                    <a:pt x="2073" y="5212"/>
                  </a:lnTo>
                  <a:cubicBezTo>
                    <a:pt x="2101" y="5225"/>
                    <a:pt x="2131" y="5237"/>
                    <a:pt x="2159" y="5250"/>
                  </a:cubicBezTo>
                  <a:lnTo>
                    <a:pt x="2244" y="5292"/>
                  </a:lnTo>
                  <a:cubicBezTo>
                    <a:pt x="2270" y="5306"/>
                    <a:pt x="2296" y="5321"/>
                    <a:pt x="2322" y="5335"/>
                  </a:cubicBezTo>
                  <a:lnTo>
                    <a:pt x="2407" y="5383"/>
                  </a:lnTo>
                  <a:lnTo>
                    <a:pt x="2485" y="5431"/>
                  </a:lnTo>
                  <a:lnTo>
                    <a:pt x="2566" y="5479"/>
                  </a:lnTo>
                  <a:lnTo>
                    <a:pt x="2644" y="5527"/>
                  </a:lnTo>
                  <a:lnTo>
                    <a:pt x="2723" y="5581"/>
                  </a:lnTo>
                  <a:cubicBezTo>
                    <a:pt x="2747" y="5599"/>
                    <a:pt x="2771" y="5616"/>
                    <a:pt x="2795" y="5634"/>
                  </a:cubicBezTo>
                  <a:cubicBezTo>
                    <a:pt x="2819" y="5652"/>
                    <a:pt x="2842" y="5670"/>
                    <a:pt x="2866" y="5688"/>
                  </a:cubicBezTo>
                  <a:cubicBezTo>
                    <a:pt x="2891" y="5708"/>
                    <a:pt x="2915" y="5727"/>
                    <a:pt x="2939" y="5747"/>
                  </a:cubicBezTo>
                  <a:cubicBezTo>
                    <a:pt x="2961" y="5766"/>
                    <a:pt x="2983" y="5786"/>
                    <a:pt x="3005" y="5805"/>
                  </a:cubicBezTo>
                  <a:cubicBezTo>
                    <a:pt x="3029" y="5825"/>
                    <a:pt x="3053" y="5844"/>
                    <a:pt x="3077" y="5864"/>
                  </a:cubicBezTo>
                  <a:lnTo>
                    <a:pt x="3142" y="5923"/>
                  </a:lnTo>
                  <a:cubicBezTo>
                    <a:pt x="3162" y="5944"/>
                    <a:pt x="3181" y="5966"/>
                    <a:pt x="3201" y="5987"/>
                  </a:cubicBezTo>
                  <a:cubicBezTo>
                    <a:pt x="3223" y="6007"/>
                    <a:pt x="3245" y="6026"/>
                    <a:pt x="3267" y="6046"/>
                  </a:cubicBezTo>
                  <a:cubicBezTo>
                    <a:pt x="3287" y="6067"/>
                    <a:pt x="3306" y="6089"/>
                    <a:pt x="3326" y="6110"/>
                  </a:cubicBezTo>
                  <a:cubicBezTo>
                    <a:pt x="3346" y="6131"/>
                    <a:pt x="3365" y="6153"/>
                    <a:pt x="3385" y="6174"/>
                  </a:cubicBezTo>
                  <a:cubicBezTo>
                    <a:pt x="3405" y="6195"/>
                    <a:pt x="3424" y="6217"/>
                    <a:pt x="3444" y="6238"/>
                  </a:cubicBezTo>
                  <a:lnTo>
                    <a:pt x="3496" y="6308"/>
                  </a:lnTo>
                  <a:cubicBezTo>
                    <a:pt x="3514" y="6331"/>
                    <a:pt x="3532" y="6354"/>
                    <a:pt x="3549" y="6377"/>
                  </a:cubicBezTo>
                  <a:lnTo>
                    <a:pt x="3601" y="6447"/>
                  </a:lnTo>
                  <a:cubicBezTo>
                    <a:pt x="3619" y="6470"/>
                    <a:pt x="3636" y="6493"/>
                    <a:pt x="3655" y="6516"/>
                  </a:cubicBezTo>
                  <a:lnTo>
                    <a:pt x="3694" y="6591"/>
                  </a:lnTo>
                  <a:cubicBezTo>
                    <a:pt x="3711" y="6616"/>
                    <a:pt x="3729" y="6641"/>
                    <a:pt x="3746" y="6666"/>
                  </a:cubicBezTo>
                  <a:lnTo>
                    <a:pt x="3785" y="6735"/>
                  </a:lnTo>
                  <a:cubicBezTo>
                    <a:pt x="3798" y="6760"/>
                    <a:pt x="3812" y="6785"/>
                    <a:pt x="3825" y="6810"/>
                  </a:cubicBezTo>
                  <a:lnTo>
                    <a:pt x="3864" y="6885"/>
                  </a:lnTo>
                  <a:lnTo>
                    <a:pt x="3897" y="6960"/>
                  </a:lnTo>
                  <a:cubicBezTo>
                    <a:pt x="3908" y="6987"/>
                    <a:pt x="3918" y="7013"/>
                    <a:pt x="3929" y="7040"/>
                  </a:cubicBezTo>
                  <a:cubicBezTo>
                    <a:pt x="3940" y="7067"/>
                    <a:pt x="3951" y="7093"/>
                    <a:pt x="3962" y="7120"/>
                  </a:cubicBezTo>
                  <a:lnTo>
                    <a:pt x="3995" y="7195"/>
                  </a:lnTo>
                  <a:cubicBezTo>
                    <a:pt x="4004" y="7222"/>
                    <a:pt x="4012" y="7248"/>
                    <a:pt x="4021" y="7275"/>
                  </a:cubicBezTo>
                  <a:cubicBezTo>
                    <a:pt x="4027" y="7302"/>
                    <a:pt x="4035" y="7328"/>
                    <a:pt x="4041" y="7355"/>
                  </a:cubicBezTo>
                  <a:cubicBezTo>
                    <a:pt x="4050" y="7384"/>
                    <a:pt x="4059" y="7412"/>
                    <a:pt x="4068" y="7441"/>
                  </a:cubicBezTo>
                  <a:cubicBezTo>
                    <a:pt x="4074" y="7468"/>
                    <a:pt x="4081" y="7494"/>
                    <a:pt x="4087" y="7521"/>
                  </a:cubicBezTo>
                  <a:cubicBezTo>
                    <a:pt x="4094" y="7548"/>
                    <a:pt x="4100" y="7574"/>
                    <a:pt x="4107" y="7601"/>
                  </a:cubicBezTo>
                  <a:cubicBezTo>
                    <a:pt x="4111" y="7630"/>
                    <a:pt x="4116" y="7658"/>
                    <a:pt x="4120" y="7687"/>
                  </a:cubicBezTo>
                  <a:cubicBezTo>
                    <a:pt x="4124" y="7715"/>
                    <a:pt x="4129" y="7744"/>
                    <a:pt x="4133" y="7772"/>
                  </a:cubicBezTo>
                  <a:cubicBezTo>
                    <a:pt x="4135" y="7801"/>
                    <a:pt x="4137" y="7829"/>
                    <a:pt x="4139" y="7858"/>
                  </a:cubicBezTo>
                  <a:cubicBezTo>
                    <a:pt x="4141" y="7886"/>
                    <a:pt x="4144" y="7915"/>
                    <a:pt x="4146" y="7943"/>
                  </a:cubicBezTo>
                  <a:lnTo>
                    <a:pt x="4146" y="8029"/>
                  </a:lnTo>
                  <a:cubicBezTo>
                    <a:pt x="4148" y="8057"/>
                    <a:pt x="4150" y="8086"/>
                    <a:pt x="4152" y="8114"/>
                  </a:cubicBezTo>
                  <a:cubicBezTo>
                    <a:pt x="4150" y="8152"/>
                    <a:pt x="4148" y="8189"/>
                    <a:pt x="4146" y="8227"/>
                  </a:cubicBezTo>
                  <a:cubicBezTo>
                    <a:pt x="4144" y="8266"/>
                    <a:pt x="4141" y="8305"/>
                    <a:pt x="4139" y="8343"/>
                  </a:cubicBezTo>
                  <a:cubicBezTo>
                    <a:pt x="4137" y="8379"/>
                    <a:pt x="4135" y="8414"/>
                    <a:pt x="4133" y="8450"/>
                  </a:cubicBezTo>
                  <a:cubicBezTo>
                    <a:pt x="4126" y="8487"/>
                    <a:pt x="4120" y="8525"/>
                    <a:pt x="4113" y="8562"/>
                  </a:cubicBezTo>
                  <a:lnTo>
                    <a:pt x="6724" y="10000"/>
                  </a:lnTo>
                  <a:lnTo>
                    <a:pt x="9847" y="9498"/>
                  </a:lnTo>
                  <a:cubicBezTo>
                    <a:pt x="9860" y="9443"/>
                    <a:pt x="9873" y="9387"/>
                    <a:pt x="9886" y="9332"/>
                  </a:cubicBezTo>
                  <a:cubicBezTo>
                    <a:pt x="9895" y="9275"/>
                    <a:pt x="9903" y="9218"/>
                    <a:pt x="9912" y="9161"/>
                  </a:cubicBezTo>
                  <a:cubicBezTo>
                    <a:pt x="9921" y="9104"/>
                    <a:pt x="9929" y="9047"/>
                    <a:pt x="9938" y="8990"/>
                  </a:cubicBezTo>
                  <a:cubicBezTo>
                    <a:pt x="9945" y="8931"/>
                    <a:pt x="9951" y="8872"/>
                    <a:pt x="9958" y="8813"/>
                  </a:cubicBezTo>
                  <a:cubicBezTo>
                    <a:pt x="9962" y="8754"/>
                    <a:pt x="9967" y="8696"/>
                    <a:pt x="9971" y="8637"/>
                  </a:cubicBezTo>
                  <a:cubicBezTo>
                    <a:pt x="9975" y="8580"/>
                    <a:pt x="9980" y="8523"/>
                    <a:pt x="9984" y="8466"/>
                  </a:cubicBezTo>
                  <a:cubicBezTo>
                    <a:pt x="9986" y="8407"/>
                    <a:pt x="9988" y="8349"/>
                    <a:pt x="9990" y="8291"/>
                  </a:cubicBezTo>
                  <a:cubicBezTo>
                    <a:pt x="9992" y="8232"/>
                    <a:pt x="9995" y="8173"/>
                    <a:pt x="9997" y="8114"/>
                  </a:cubicBezTo>
                  <a:cubicBezTo>
                    <a:pt x="9995" y="8043"/>
                    <a:pt x="9992" y="7972"/>
                    <a:pt x="9990" y="7901"/>
                  </a:cubicBezTo>
                  <a:lnTo>
                    <a:pt x="9984" y="7697"/>
                  </a:lnTo>
                  <a:cubicBezTo>
                    <a:pt x="9977" y="7628"/>
                    <a:pt x="9971" y="7558"/>
                    <a:pt x="9964" y="7489"/>
                  </a:cubicBezTo>
                  <a:cubicBezTo>
                    <a:pt x="9958" y="7421"/>
                    <a:pt x="9951" y="7354"/>
                    <a:pt x="9945" y="7286"/>
                  </a:cubicBezTo>
                  <a:cubicBezTo>
                    <a:pt x="9934" y="7216"/>
                    <a:pt x="9923" y="7147"/>
                    <a:pt x="9912" y="7077"/>
                  </a:cubicBezTo>
                  <a:cubicBezTo>
                    <a:pt x="9901" y="7011"/>
                    <a:pt x="9890" y="6946"/>
                    <a:pt x="9879" y="6880"/>
                  </a:cubicBezTo>
                  <a:cubicBezTo>
                    <a:pt x="9866" y="6812"/>
                    <a:pt x="9853" y="6745"/>
                    <a:pt x="9840" y="6677"/>
                  </a:cubicBezTo>
                  <a:cubicBezTo>
                    <a:pt x="9825" y="6611"/>
                    <a:pt x="9809" y="6545"/>
                    <a:pt x="9793" y="6479"/>
                  </a:cubicBezTo>
                  <a:cubicBezTo>
                    <a:pt x="9776" y="6413"/>
                    <a:pt x="9758" y="6347"/>
                    <a:pt x="9741" y="6281"/>
                  </a:cubicBezTo>
                  <a:cubicBezTo>
                    <a:pt x="9721" y="6217"/>
                    <a:pt x="9702" y="6153"/>
                    <a:pt x="9682" y="6089"/>
                  </a:cubicBezTo>
                  <a:cubicBezTo>
                    <a:pt x="9660" y="6023"/>
                    <a:pt x="9639" y="5957"/>
                    <a:pt x="9617" y="5891"/>
                  </a:cubicBezTo>
                  <a:cubicBezTo>
                    <a:pt x="9595" y="5827"/>
                    <a:pt x="9574" y="5762"/>
                    <a:pt x="9552" y="5698"/>
                  </a:cubicBezTo>
                  <a:cubicBezTo>
                    <a:pt x="9526" y="5636"/>
                    <a:pt x="9499" y="5573"/>
                    <a:pt x="9472" y="5511"/>
                  </a:cubicBezTo>
                  <a:cubicBezTo>
                    <a:pt x="9446" y="5449"/>
                    <a:pt x="9420" y="5386"/>
                    <a:pt x="9393" y="5324"/>
                  </a:cubicBezTo>
                  <a:cubicBezTo>
                    <a:pt x="9362" y="5262"/>
                    <a:pt x="9332" y="5199"/>
                    <a:pt x="9301" y="5137"/>
                  </a:cubicBezTo>
                  <a:cubicBezTo>
                    <a:pt x="9271" y="5077"/>
                    <a:pt x="9240" y="5016"/>
                    <a:pt x="9210" y="4957"/>
                  </a:cubicBezTo>
                  <a:cubicBezTo>
                    <a:pt x="9179" y="4896"/>
                    <a:pt x="9149" y="4836"/>
                    <a:pt x="9118" y="4775"/>
                  </a:cubicBezTo>
                  <a:cubicBezTo>
                    <a:pt x="9083" y="4716"/>
                    <a:pt x="9049" y="4657"/>
                    <a:pt x="9013" y="4598"/>
                  </a:cubicBezTo>
                  <a:lnTo>
                    <a:pt x="8908" y="4422"/>
                  </a:lnTo>
                  <a:lnTo>
                    <a:pt x="8797" y="4246"/>
                  </a:lnTo>
                  <a:cubicBezTo>
                    <a:pt x="8758" y="4189"/>
                    <a:pt x="8718" y="4132"/>
                    <a:pt x="8679" y="4075"/>
                  </a:cubicBezTo>
                  <a:cubicBezTo>
                    <a:pt x="8637" y="4020"/>
                    <a:pt x="8596" y="3964"/>
                    <a:pt x="8554" y="3909"/>
                  </a:cubicBezTo>
                  <a:cubicBezTo>
                    <a:pt x="8512" y="3854"/>
                    <a:pt x="8471" y="3798"/>
                    <a:pt x="8429" y="3743"/>
                  </a:cubicBezTo>
                  <a:lnTo>
                    <a:pt x="8298" y="3578"/>
                  </a:lnTo>
                  <a:lnTo>
                    <a:pt x="8160" y="3417"/>
                  </a:lnTo>
                  <a:lnTo>
                    <a:pt x="8016" y="3262"/>
                  </a:lnTo>
                  <a:cubicBezTo>
                    <a:pt x="7968" y="3210"/>
                    <a:pt x="7919" y="3159"/>
                    <a:pt x="7871" y="3107"/>
                  </a:cubicBezTo>
                  <a:lnTo>
                    <a:pt x="7721" y="2952"/>
                  </a:lnTo>
                  <a:lnTo>
                    <a:pt x="7571" y="2808"/>
                  </a:lnTo>
                  <a:lnTo>
                    <a:pt x="7405" y="2664"/>
                  </a:lnTo>
                  <a:lnTo>
                    <a:pt x="7248" y="2519"/>
                  </a:lnTo>
                  <a:lnTo>
                    <a:pt x="7078" y="2375"/>
                  </a:lnTo>
                  <a:lnTo>
                    <a:pt x="6908" y="2241"/>
                  </a:lnTo>
                  <a:cubicBezTo>
                    <a:pt x="6851" y="2197"/>
                    <a:pt x="6795" y="2152"/>
                    <a:pt x="6738" y="2108"/>
                  </a:cubicBezTo>
                  <a:lnTo>
                    <a:pt x="6554" y="1980"/>
                  </a:lnTo>
                  <a:lnTo>
                    <a:pt x="6370" y="1857"/>
                  </a:lnTo>
                  <a:lnTo>
                    <a:pt x="6186" y="1734"/>
                  </a:lnTo>
                  <a:lnTo>
                    <a:pt x="5996" y="1617"/>
                  </a:lnTo>
                  <a:lnTo>
                    <a:pt x="5799" y="1500"/>
                  </a:lnTo>
                  <a:lnTo>
                    <a:pt x="5603" y="1387"/>
                  </a:lnTo>
                  <a:lnTo>
                    <a:pt x="5405" y="1280"/>
                  </a:lnTo>
                  <a:lnTo>
                    <a:pt x="5202" y="1179"/>
                  </a:lnTo>
                  <a:lnTo>
                    <a:pt x="4999" y="1077"/>
                  </a:lnTo>
                  <a:lnTo>
                    <a:pt x="4782" y="981"/>
                  </a:lnTo>
                  <a:lnTo>
                    <a:pt x="4573" y="890"/>
                  </a:lnTo>
                  <a:lnTo>
                    <a:pt x="4355" y="805"/>
                  </a:lnTo>
                  <a:lnTo>
                    <a:pt x="4133" y="719"/>
                  </a:lnTo>
                  <a:lnTo>
                    <a:pt x="3916" y="639"/>
                  </a:lnTo>
                  <a:lnTo>
                    <a:pt x="3694" y="570"/>
                  </a:lnTo>
                  <a:lnTo>
                    <a:pt x="3463" y="495"/>
                  </a:lnTo>
                  <a:lnTo>
                    <a:pt x="3233" y="431"/>
                  </a:lnTo>
                  <a:lnTo>
                    <a:pt x="2998" y="366"/>
                  </a:lnTo>
                  <a:lnTo>
                    <a:pt x="2768" y="313"/>
                  </a:lnTo>
                  <a:lnTo>
                    <a:pt x="2527" y="260"/>
                  </a:lnTo>
                  <a:lnTo>
                    <a:pt x="2283" y="211"/>
                  </a:lnTo>
                  <a:lnTo>
                    <a:pt x="2046" y="169"/>
                  </a:lnTo>
                  <a:lnTo>
                    <a:pt x="1805" y="131"/>
                  </a:lnTo>
                  <a:lnTo>
                    <a:pt x="1555" y="94"/>
                  </a:lnTo>
                  <a:lnTo>
                    <a:pt x="1305" y="67"/>
                  </a:lnTo>
                  <a:lnTo>
                    <a:pt x="1057" y="46"/>
                  </a:lnTo>
                  <a:lnTo>
                    <a:pt x="807" y="30"/>
                  </a:lnTo>
                  <a:lnTo>
                    <a:pt x="551" y="14"/>
                  </a:lnTo>
                  <a:lnTo>
                    <a:pt x="295" y="8"/>
                  </a:lnTo>
                  <a:lnTo>
                    <a:pt x="39" y="3"/>
                  </a:lnTo>
                  <a:cubicBezTo>
                    <a:pt x="13" y="5"/>
                    <a:pt x="26" y="-2"/>
                    <a:pt x="0" y="0"/>
                  </a:cubicBezTo>
                  <a:lnTo>
                    <a:pt x="1210" y="2445"/>
                  </a:lnTo>
                  <a:lnTo>
                    <a:pt x="7" y="477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/>
            </a:p>
          </p:txBody>
        </p:sp>
        <p:sp>
          <p:nvSpPr>
            <p:cNvPr id="65" name="Freeform 4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-84370714" y="-26265662"/>
              <a:ext cx="41346518" cy="66837563"/>
            </a:xfrm>
            <a:custGeom>
              <a:avLst/>
              <a:gdLst>
                <a:gd name="T0" fmla="*/ 2147483647 w 1349"/>
                <a:gd name="T1" fmla="*/ 2147483647 h 2182"/>
                <a:gd name="T2" fmla="*/ 2147483647 w 1349"/>
                <a:gd name="T3" fmla="*/ 2147483647 h 2182"/>
                <a:gd name="T4" fmla="*/ 2147483647 w 1349"/>
                <a:gd name="T5" fmla="*/ 2147483647 h 2182"/>
                <a:gd name="T6" fmla="*/ 2147483647 w 1349"/>
                <a:gd name="T7" fmla="*/ 2147483647 h 2182"/>
                <a:gd name="T8" fmla="*/ 2147483647 w 1349"/>
                <a:gd name="T9" fmla="*/ 2147483647 h 2182"/>
                <a:gd name="T10" fmla="*/ 2147483647 w 1349"/>
                <a:gd name="T11" fmla="*/ 2147483647 h 2182"/>
                <a:gd name="T12" fmla="*/ 2147483647 w 1349"/>
                <a:gd name="T13" fmla="*/ 2147483647 h 2182"/>
                <a:gd name="T14" fmla="*/ 2147483647 w 1349"/>
                <a:gd name="T15" fmla="*/ 2147483647 h 2182"/>
                <a:gd name="T16" fmla="*/ 2147483647 w 1349"/>
                <a:gd name="T17" fmla="*/ 2147483647 h 2182"/>
                <a:gd name="T18" fmla="*/ 2147483647 w 1349"/>
                <a:gd name="T19" fmla="*/ 2147483647 h 2182"/>
                <a:gd name="T20" fmla="*/ 2147483647 w 1349"/>
                <a:gd name="T21" fmla="*/ 2147483647 h 2182"/>
                <a:gd name="T22" fmla="*/ 2147483647 w 1349"/>
                <a:gd name="T23" fmla="*/ 2147483647 h 2182"/>
                <a:gd name="T24" fmla="*/ 2147483647 w 1349"/>
                <a:gd name="T25" fmla="*/ 2147483647 h 2182"/>
                <a:gd name="T26" fmla="*/ 2147483647 w 1349"/>
                <a:gd name="T27" fmla="*/ 2147483647 h 2182"/>
                <a:gd name="T28" fmla="*/ 2147483647 w 1349"/>
                <a:gd name="T29" fmla="*/ 2147483647 h 2182"/>
                <a:gd name="T30" fmla="*/ 2147483647 w 1349"/>
                <a:gd name="T31" fmla="*/ 2147483647 h 2182"/>
                <a:gd name="T32" fmla="*/ 2147483647 w 1349"/>
                <a:gd name="T33" fmla="*/ 2147483647 h 2182"/>
                <a:gd name="T34" fmla="*/ 2147483647 w 1349"/>
                <a:gd name="T35" fmla="*/ 2147483647 h 2182"/>
                <a:gd name="T36" fmla="*/ 2147483647 w 1349"/>
                <a:gd name="T37" fmla="*/ 2147483647 h 2182"/>
                <a:gd name="T38" fmla="*/ 2147483647 w 1349"/>
                <a:gd name="T39" fmla="*/ 2147483647 h 2182"/>
                <a:gd name="T40" fmla="*/ 2147483647 w 1349"/>
                <a:gd name="T41" fmla="*/ 2147483647 h 2182"/>
                <a:gd name="T42" fmla="*/ 2147483647 w 1349"/>
                <a:gd name="T43" fmla="*/ 2147483647 h 2182"/>
                <a:gd name="T44" fmla="*/ 2147483647 w 1349"/>
                <a:gd name="T45" fmla="*/ 2147483647 h 2182"/>
                <a:gd name="T46" fmla="*/ 2147483647 w 1349"/>
                <a:gd name="T47" fmla="*/ 2147483647 h 2182"/>
                <a:gd name="T48" fmla="*/ 2147483647 w 1349"/>
                <a:gd name="T49" fmla="*/ 2147483647 h 2182"/>
                <a:gd name="T50" fmla="*/ 2147483647 w 1349"/>
                <a:gd name="T51" fmla="*/ 2147483647 h 2182"/>
                <a:gd name="T52" fmla="*/ 2147483647 w 1349"/>
                <a:gd name="T53" fmla="*/ 2147483647 h 2182"/>
                <a:gd name="T54" fmla="*/ 2147483647 w 1349"/>
                <a:gd name="T55" fmla="*/ 2147483647 h 2182"/>
                <a:gd name="T56" fmla="*/ 2147483647 w 1349"/>
                <a:gd name="T57" fmla="*/ 2147483647 h 2182"/>
                <a:gd name="T58" fmla="*/ 2147483647 w 1349"/>
                <a:gd name="T59" fmla="*/ 2147483647 h 2182"/>
                <a:gd name="T60" fmla="*/ 2147483647 w 1349"/>
                <a:gd name="T61" fmla="*/ 2147483647 h 2182"/>
                <a:gd name="T62" fmla="*/ 2147483647 w 1349"/>
                <a:gd name="T63" fmla="*/ 2147483647 h 2182"/>
                <a:gd name="T64" fmla="*/ 2147483647 w 1349"/>
                <a:gd name="T65" fmla="*/ 2147483647 h 2182"/>
                <a:gd name="T66" fmla="*/ 2147483647 w 1349"/>
                <a:gd name="T67" fmla="*/ 2147483647 h 2182"/>
                <a:gd name="T68" fmla="*/ 2147483647 w 1349"/>
                <a:gd name="T69" fmla="*/ 2147483647 h 2182"/>
                <a:gd name="T70" fmla="*/ 2147483647 w 1349"/>
                <a:gd name="T71" fmla="*/ 2147483647 h 2182"/>
                <a:gd name="T72" fmla="*/ 2147483647 w 1349"/>
                <a:gd name="T73" fmla="*/ 2147483647 h 2182"/>
                <a:gd name="T74" fmla="*/ 0 w 1349"/>
                <a:gd name="T75" fmla="*/ 2147483647 h 2182"/>
                <a:gd name="T76" fmla="*/ 2147483647 w 1349"/>
                <a:gd name="T77" fmla="*/ 2147483647 h 2182"/>
                <a:gd name="T78" fmla="*/ 2147483647 w 1349"/>
                <a:gd name="T79" fmla="*/ 2147483647 h 2182"/>
                <a:gd name="T80" fmla="*/ 2147483647 w 1349"/>
                <a:gd name="T81" fmla="*/ 2147483647 h 2182"/>
                <a:gd name="T82" fmla="*/ 2147483647 w 1349"/>
                <a:gd name="T83" fmla="*/ 2147483647 h 2182"/>
                <a:gd name="T84" fmla="*/ 2147483647 w 1349"/>
                <a:gd name="T85" fmla="*/ 2147483647 h 2182"/>
                <a:gd name="T86" fmla="*/ 2147483647 w 1349"/>
                <a:gd name="T87" fmla="*/ 2147483647 h 2182"/>
                <a:gd name="T88" fmla="*/ 2147483647 w 1349"/>
                <a:gd name="T89" fmla="*/ 2147483647 h 2182"/>
                <a:gd name="T90" fmla="*/ 2147483647 w 1349"/>
                <a:gd name="T91" fmla="*/ 2147483647 h 2182"/>
                <a:gd name="T92" fmla="*/ 2147483647 w 1349"/>
                <a:gd name="T93" fmla="*/ 2147483647 h 2182"/>
                <a:gd name="T94" fmla="*/ 2147483647 w 1349"/>
                <a:gd name="T95" fmla="*/ 2147483647 h 2182"/>
                <a:gd name="T96" fmla="*/ 2147483647 w 1349"/>
                <a:gd name="T97" fmla="*/ 2147483647 h 2182"/>
                <a:gd name="T98" fmla="*/ 2147483647 w 1349"/>
                <a:gd name="T99" fmla="*/ 2147483647 h 2182"/>
                <a:gd name="T100" fmla="*/ 2147483647 w 1349"/>
                <a:gd name="T101" fmla="*/ 2147483647 h 2182"/>
                <a:gd name="T102" fmla="*/ 2147483647 w 1349"/>
                <a:gd name="T103" fmla="*/ 2147483647 h 2182"/>
                <a:gd name="T104" fmla="*/ 2147483647 w 1349"/>
                <a:gd name="T105" fmla="*/ 2147483647 h 2182"/>
                <a:gd name="T106" fmla="*/ 2147483647 w 1349"/>
                <a:gd name="T107" fmla="*/ 2147483647 h 2182"/>
                <a:gd name="T108" fmla="*/ 2147483647 w 1349"/>
                <a:gd name="T109" fmla="*/ 2147483647 h 2182"/>
                <a:gd name="T110" fmla="*/ 2147483647 w 1349"/>
                <a:gd name="T111" fmla="*/ 2147483647 h 2182"/>
                <a:gd name="T112" fmla="*/ 2147483647 w 1349"/>
                <a:gd name="T113" fmla="*/ 2147483647 h 2182"/>
                <a:gd name="T114" fmla="*/ 2147483647 w 1349"/>
                <a:gd name="T115" fmla="*/ 2147483647 h 2182"/>
                <a:gd name="T116" fmla="*/ 2147483647 w 1349"/>
                <a:gd name="T117" fmla="*/ 2147483647 h 2182"/>
                <a:gd name="T118" fmla="*/ 2147483647 w 1349"/>
                <a:gd name="T119" fmla="*/ 2147483647 h 218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49"/>
                <a:gd name="T181" fmla="*/ 0 h 2182"/>
                <a:gd name="T182" fmla="*/ 1349 w 1349"/>
                <a:gd name="T183" fmla="*/ 2182 h 2182"/>
                <a:gd name="connsiteX0" fmla="*/ 10000 w 10000"/>
                <a:gd name="connsiteY0" fmla="*/ 6141 h 10000"/>
                <a:gd name="connsiteX1" fmla="*/ 10000 w 10000"/>
                <a:gd name="connsiteY1" fmla="*/ 6141 h 10000"/>
                <a:gd name="connsiteX2" fmla="*/ 9911 w 10000"/>
                <a:gd name="connsiteY2" fmla="*/ 6127 h 10000"/>
                <a:gd name="connsiteX3" fmla="*/ 9815 w 10000"/>
                <a:gd name="connsiteY3" fmla="*/ 6109 h 10000"/>
                <a:gd name="connsiteX4" fmla="*/ 9726 w 10000"/>
                <a:gd name="connsiteY4" fmla="*/ 6091 h 10000"/>
                <a:gd name="connsiteX5" fmla="*/ 9637 w 10000"/>
                <a:gd name="connsiteY5" fmla="*/ 6068 h 10000"/>
                <a:gd name="connsiteX6" fmla="*/ 9548 w 10000"/>
                <a:gd name="connsiteY6" fmla="*/ 6049 h 10000"/>
                <a:gd name="connsiteX7" fmla="*/ 9466 w 10000"/>
                <a:gd name="connsiteY7" fmla="*/ 6027 h 10000"/>
                <a:gd name="connsiteX8" fmla="*/ 9377 w 10000"/>
                <a:gd name="connsiteY8" fmla="*/ 6004 h 10000"/>
                <a:gd name="connsiteX9" fmla="*/ 9288 w 10000"/>
                <a:gd name="connsiteY9" fmla="*/ 5981 h 10000"/>
                <a:gd name="connsiteX10" fmla="*/ 9118 w 10000"/>
                <a:gd name="connsiteY10" fmla="*/ 5930 h 10000"/>
                <a:gd name="connsiteX11" fmla="*/ 8955 w 10000"/>
                <a:gd name="connsiteY11" fmla="*/ 5875 h 10000"/>
                <a:gd name="connsiteX12" fmla="*/ 8792 w 10000"/>
                <a:gd name="connsiteY12" fmla="*/ 5816 h 10000"/>
                <a:gd name="connsiteX13" fmla="*/ 8636 w 10000"/>
                <a:gd name="connsiteY13" fmla="*/ 5752 h 10000"/>
                <a:gd name="connsiteX14" fmla="*/ 8480 w 10000"/>
                <a:gd name="connsiteY14" fmla="*/ 5687 h 10000"/>
                <a:gd name="connsiteX15" fmla="*/ 8340 w 10000"/>
                <a:gd name="connsiteY15" fmla="*/ 5619 h 10000"/>
                <a:gd name="connsiteX16" fmla="*/ 8199 w 10000"/>
                <a:gd name="connsiteY16" fmla="*/ 5545 h 10000"/>
                <a:gd name="connsiteX17" fmla="*/ 8058 w 10000"/>
                <a:gd name="connsiteY17" fmla="*/ 5467 h 10000"/>
                <a:gd name="connsiteX18" fmla="*/ 7924 w 10000"/>
                <a:gd name="connsiteY18" fmla="*/ 5385 h 10000"/>
                <a:gd name="connsiteX19" fmla="*/ 7798 w 10000"/>
                <a:gd name="connsiteY19" fmla="*/ 5302 h 10000"/>
                <a:gd name="connsiteX20" fmla="*/ 7672 w 10000"/>
                <a:gd name="connsiteY20" fmla="*/ 5215 h 10000"/>
                <a:gd name="connsiteX21" fmla="*/ 7554 w 10000"/>
                <a:gd name="connsiteY21" fmla="*/ 5128 h 10000"/>
                <a:gd name="connsiteX22" fmla="*/ 7450 w 10000"/>
                <a:gd name="connsiteY22" fmla="*/ 5032 h 10000"/>
                <a:gd name="connsiteX23" fmla="*/ 7346 w 10000"/>
                <a:gd name="connsiteY23" fmla="*/ 4936 h 10000"/>
                <a:gd name="connsiteX24" fmla="*/ 7250 w 10000"/>
                <a:gd name="connsiteY24" fmla="*/ 4840 h 10000"/>
                <a:gd name="connsiteX25" fmla="*/ 7161 w 10000"/>
                <a:gd name="connsiteY25" fmla="*/ 4739 h 10000"/>
                <a:gd name="connsiteX26" fmla="*/ 7072 w 10000"/>
                <a:gd name="connsiteY26" fmla="*/ 4638 h 10000"/>
                <a:gd name="connsiteX27" fmla="*/ 6990 w 10000"/>
                <a:gd name="connsiteY27" fmla="*/ 4528 h 10000"/>
                <a:gd name="connsiteX28" fmla="*/ 6953 w 10000"/>
                <a:gd name="connsiteY28" fmla="*/ 4478 h 10000"/>
                <a:gd name="connsiteX29" fmla="*/ 6916 w 10000"/>
                <a:gd name="connsiteY29" fmla="*/ 4423 h 10000"/>
                <a:gd name="connsiteX30" fmla="*/ 6887 w 10000"/>
                <a:gd name="connsiteY30" fmla="*/ 4368 h 10000"/>
                <a:gd name="connsiteX31" fmla="*/ 6850 w 10000"/>
                <a:gd name="connsiteY31" fmla="*/ 4313 h 10000"/>
                <a:gd name="connsiteX32" fmla="*/ 6820 w 10000"/>
                <a:gd name="connsiteY32" fmla="*/ 4258 h 10000"/>
                <a:gd name="connsiteX33" fmla="*/ 6790 w 10000"/>
                <a:gd name="connsiteY33" fmla="*/ 4203 h 10000"/>
                <a:gd name="connsiteX34" fmla="*/ 6768 w 10000"/>
                <a:gd name="connsiteY34" fmla="*/ 4143 h 10000"/>
                <a:gd name="connsiteX35" fmla="*/ 6738 w 10000"/>
                <a:gd name="connsiteY35" fmla="*/ 4088 h 10000"/>
                <a:gd name="connsiteX36" fmla="*/ 6723 w 10000"/>
                <a:gd name="connsiteY36" fmla="*/ 4028 h 10000"/>
                <a:gd name="connsiteX37" fmla="*/ 6694 w 10000"/>
                <a:gd name="connsiteY37" fmla="*/ 3973 h 10000"/>
                <a:gd name="connsiteX38" fmla="*/ 6679 w 10000"/>
                <a:gd name="connsiteY38" fmla="*/ 3914 h 10000"/>
                <a:gd name="connsiteX39" fmla="*/ 6664 w 10000"/>
                <a:gd name="connsiteY39" fmla="*/ 3854 h 10000"/>
                <a:gd name="connsiteX40" fmla="*/ 6649 w 10000"/>
                <a:gd name="connsiteY40" fmla="*/ 3795 h 10000"/>
                <a:gd name="connsiteX41" fmla="*/ 6635 w 10000"/>
                <a:gd name="connsiteY41" fmla="*/ 3740 h 10000"/>
                <a:gd name="connsiteX42" fmla="*/ 6620 w 10000"/>
                <a:gd name="connsiteY42" fmla="*/ 3680 h 10000"/>
                <a:gd name="connsiteX43" fmla="*/ 6612 w 10000"/>
                <a:gd name="connsiteY43" fmla="*/ 3621 h 10000"/>
                <a:gd name="connsiteX44" fmla="*/ 6605 w 10000"/>
                <a:gd name="connsiteY44" fmla="*/ 3561 h 10000"/>
                <a:gd name="connsiteX45" fmla="*/ 6597 w 10000"/>
                <a:gd name="connsiteY45" fmla="*/ 3497 h 10000"/>
                <a:gd name="connsiteX46" fmla="*/ 6597 w 10000"/>
                <a:gd name="connsiteY46" fmla="*/ 3437 h 10000"/>
                <a:gd name="connsiteX47" fmla="*/ 6590 w 10000"/>
                <a:gd name="connsiteY47" fmla="*/ 3373 h 10000"/>
                <a:gd name="connsiteX48" fmla="*/ 6597 w 10000"/>
                <a:gd name="connsiteY48" fmla="*/ 3313 h 10000"/>
                <a:gd name="connsiteX49" fmla="*/ 6605 w 10000"/>
                <a:gd name="connsiteY49" fmla="*/ 3245 h 10000"/>
                <a:gd name="connsiteX50" fmla="*/ 6605 w 10000"/>
                <a:gd name="connsiteY50" fmla="*/ 3181 h 10000"/>
                <a:gd name="connsiteX51" fmla="*/ 6612 w 10000"/>
                <a:gd name="connsiteY51" fmla="*/ 3116 h 10000"/>
                <a:gd name="connsiteX52" fmla="*/ 6620 w 10000"/>
                <a:gd name="connsiteY52" fmla="*/ 3052 h 10000"/>
                <a:gd name="connsiteX53" fmla="*/ 6635 w 10000"/>
                <a:gd name="connsiteY53" fmla="*/ 2993 h 10000"/>
                <a:gd name="connsiteX54" fmla="*/ 6649 w 10000"/>
                <a:gd name="connsiteY54" fmla="*/ 2929 h 10000"/>
                <a:gd name="connsiteX55" fmla="*/ 6664 w 10000"/>
                <a:gd name="connsiteY55" fmla="*/ 2869 h 10000"/>
                <a:gd name="connsiteX56" fmla="*/ 6686 w 10000"/>
                <a:gd name="connsiteY56" fmla="*/ 2805 h 10000"/>
                <a:gd name="connsiteX57" fmla="*/ 6709 w 10000"/>
                <a:gd name="connsiteY57" fmla="*/ 2745 h 10000"/>
                <a:gd name="connsiteX58" fmla="*/ 6731 w 10000"/>
                <a:gd name="connsiteY58" fmla="*/ 2686 h 10000"/>
                <a:gd name="connsiteX59" fmla="*/ 6753 w 10000"/>
                <a:gd name="connsiteY59" fmla="*/ 2621 h 10000"/>
                <a:gd name="connsiteX60" fmla="*/ 6783 w 10000"/>
                <a:gd name="connsiteY60" fmla="*/ 2566 h 10000"/>
                <a:gd name="connsiteX61" fmla="*/ 6812 w 10000"/>
                <a:gd name="connsiteY61" fmla="*/ 2507 h 10000"/>
                <a:gd name="connsiteX62" fmla="*/ 6842 w 10000"/>
                <a:gd name="connsiteY62" fmla="*/ 2447 h 10000"/>
                <a:gd name="connsiteX63" fmla="*/ 6879 w 10000"/>
                <a:gd name="connsiteY63" fmla="*/ 2388 h 10000"/>
                <a:gd name="connsiteX64" fmla="*/ 6909 w 10000"/>
                <a:gd name="connsiteY64" fmla="*/ 2333 h 10000"/>
                <a:gd name="connsiteX65" fmla="*/ 6946 w 10000"/>
                <a:gd name="connsiteY65" fmla="*/ 2273 h 10000"/>
                <a:gd name="connsiteX66" fmla="*/ 6990 w 10000"/>
                <a:gd name="connsiteY66" fmla="*/ 2218 h 10000"/>
                <a:gd name="connsiteX67" fmla="*/ 7027 w 10000"/>
                <a:gd name="connsiteY67" fmla="*/ 2163 h 10000"/>
                <a:gd name="connsiteX68" fmla="*/ 7072 w 10000"/>
                <a:gd name="connsiteY68" fmla="*/ 2108 h 10000"/>
                <a:gd name="connsiteX69" fmla="*/ 7109 w 10000"/>
                <a:gd name="connsiteY69" fmla="*/ 2053 h 10000"/>
                <a:gd name="connsiteX70" fmla="*/ 7161 w 10000"/>
                <a:gd name="connsiteY70" fmla="*/ 2003 h 10000"/>
                <a:gd name="connsiteX71" fmla="*/ 7213 w 10000"/>
                <a:gd name="connsiteY71" fmla="*/ 1948 h 10000"/>
                <a:gd name="connsiteX72" fmla="*/ 7257 w 10000"/>
                <a:gd name="connsiteY72" fmla="*/ 1893 h 10000"/>
                <a:gd name="connsiteX73" fmla="*/ 7309 w 10000"/>
                <a:gd name="connsiteY73" fmla="*/ 1842 h 10000"/>
                <a:gd name="connsiteX74" fmla="*/ 7361 w 10000"/>
                <a:gd name="connsiteY74" fmla="*/ 1792 h 10000"/>
                <a:gd name="connsiteX75" fmla="*/ 7413 w 10000"/>
                <a:gd name="connsiteY75" fmla="*/ 1742 h 10000"/>
                <a:gd name="connsiteX76" fmla="*/ 7472 w 10000"/>
                <a:gd name="connsiteY76" fmla="*/ 1691 h 10000"/>
                <a:gd name="connsiteX77" fmla="*/ 7524 w 10000"/>
                <a:gd name="connsiteY77" fmla="*/ 1645 h 10000"/>
                <a:gd name="connsiteX78" fmla="*/ 7583 w 10000"/>
                <a:gd name="connsiteY78" fmla="*/ 1599 h 10000"/>
                <a:gd name="connsiteX79" fmla="*/ 7643 w 10000"/>
                <a:gd name="connsiteY79" fmla="*/ 1549 h 10000"/>
                <a:gd name="connsiteX80" fmla="*/ 5456 w 10000"/>
                <a:gd name="connsiteY80" fmla="*/ 0 h 10000"/>
                <a:gd name="connsiteX81" fmla="*/ 1401 w 10000"/>
                <a:gd name="connsiteY81" fmla="*/ 0 h 10000"/>
                <a:gd name="connsiteX82" fmla="*/ 1305 w 10000"/>
                <a:gd name="connsiteY82" fmla="*/ 128 h 10000"/>
                <a:gd name="connsiteX83" fmla="*/ 1223 w 10000"/>
                <a:gd name="connsiteY83" fmla="*/ 220 h 10000"/>
                <a:gd name="connsiteX84" fmla="*/ 1149 w 10000"/>
                <a:gd name="connsiteY84" fmla="*/ 316 h 10000"/>
                <a:gd name="connsiteX85" fmla="*/ 1067 w 10000"/>
                <a:gd name="connsiteY85" fmla="*/ 412 h 10000"/>
                <a:gd name="connsiteX86" fmla="*/ 1001 w 10000"/>
                <a:gd name="connsiteY86" fmla="*/ 509 h 10000"/>
                <a:gd name="connsiteX87" fmla="*/ 927 w 10000"/>
                <a:gd name="connsiteY87" fmla="*/ 605 h 10000"/>
                <a:gd name="connsiteX88" fmla="*/ 860 w 10000"/>
                <a:gd name="connsiteY88" fmla="*/ 706 h 10000"/>
                <a:gd name="connsiteX89" fmla="*/ 793 w 10000"/>
                <a:gd name="connsiteY89" fmla="*/ 807 h 10000"/>
                <a:gd name="connsiteX90" fmla="*/ 734 w 10000"/>
                <a:gd name="connsiteY90" fmla="*/ 903 h 10000"/>
                <a:gd name="connsiteX91" fmla="*/ 675 w 10000"/>
                <a:gd name="connsiteY91" fmla="*/ 1004 h 10000"/>
                <a:gd name="connsiteX92" fmla="*/ 615 w 10000"/>
                <a:gd name="connsiteY92" fmla="*/ 1104 h 10000"/>
                <a:gd name="connsiteX93" fmla="*/ 556 w 10000"/>
                <a:gd name="connsiteY93" fmla="*/ 1210 h 10000"/>
                <a:gd name="connsiteX94" fmla="*/ 504 w 10000"/>
                <a:gd name="connsiteY94" fmla="*/ 1306 h 10000"/>
                <a:gd name="connsiteX95" fmla="*/ 452 w 10000"/>
                <a:gd name="connsiteY95" fmla="*/ 1412 h 10000"/>
                <a:gd name="connsiteX96" fmla="*/ 408 w 10000"/>
                <a:gd name="connsiteY96" fmla="*/ 1512 h 10000"/>
                <a:gd name="connsiteX97" fmla="*/ 363 w 10000"/>
                <a:gd name="connsiteY97" fmla="*/ 1618 h 10000"/>
                <a:gd name="connsiteX98" fmla="*/ 319 w 10000"/>
                <a:gd name="connsiteY98" fmla="*/ 1723 h 10000"/>
                <a:gd name="connsiteX99" fmla="*/ 282 w 10000"/>
                <a:gd name="connsiteY99" fmla="*/ 1829 h 10000"/>
                <a:gd name="connsiteX100" fmla="*/ 237 w 10000"/>
                <a:gd name="connsiteY100" fmla="*/ 1939 h 10000"/>
                <a:gd name="connsiteX101" fmla="*/ 208 w 10000"/>
                <a:gd name="connsiteY101" fmla="*/ 2044 h 10000"/>
                <a:gd name="connsiteX102" fmla="*/ 170 w 10000"/>
                <a:gd name="connsiteY102" fmla="*/ 2154 h 10000"/>
                <a:gd name="connsiteX103" fmla="*/ 148 w 10000"/>
                <a:gd name="connsiteY103" fmla="*/ 2264 h 10000"/>
                <a:gd name="connsiteX104" fmla="*/ 119 w 10000"/>
                <a:gd name="connsiteY104" fmla="*/ 2369 h 10000"/>
                <a:gd name="connsiteX105" fmla="*/ 96 w 10000"/>
                <a:gd name="connsiteY105" fmla="*/ 2479 h 10000"/>
                <a:gd name="connsiteX106" fmla="*/ 74 w 10000"/>
                <a:gd name="connsiteY106" fmla="*/ 2589 h 10000"/>
                <a:gd name="connsiteX107" fmla="*/ 52 w 10000"/>
                <a:gd name="connsiteY107" fmla="*/ 2704 h 10000"/>
                <a:gd name="connsiteX108" fmla="*/ 37 w 10000"/>
                <a:gd name="connsiteY108" fmla="*/ 2814 h 10000"/>
                <a:gd name="connsiteX109" fmla="*/ 22 w 10000"/>
                <a:gd name="connsiteY109" fmla="*/ 2924 h 10000"/>
                <a:gd name="connsiteX110" fmla="*/ 15 w 10000"/>
                <a:gd name="connsiteY110" fmla="*/ 3034 h 10000"/>
                <a:gd name="connsiteX111" fmla="*/ 7 w 10000"/>
                <a:gd name="connsiteY111" fmla="*/ 3148 h 10000"/>
                <a:gd name="connsiteX112" fmla="*/ 0 w 10000"/>
                <a:gd name="connsiteY112" fmla="*/ 3258 h 10000"/>
                <a:gd name="connsiteX113" fmla="*/ 0 w 10000"/>
                <a:gd name="connsiteY113" fmla="*/ 3373 h 10000"/>
                <a:gd name="connsiteX114" fmla="*/ 7 w 10000"/>
                <a:gd name="connsiteY114" fmla="*/ 3520 h 10000"/>
                <a:gd name="connsiteX115" fmla="*/ 7 w 10000"/>
                <a:gd name="connsiteY115" fmla="*/ 3666 h 10000"/>
                <a:gd name="connsiteX116" fmla="*/ 22 w 10000"/>
                <a:gd name="connsiteY116" fmla="*/ 3804 h 10000"/>
                <a:gd name="connsiteX117" fmla="*/ 37 w 10000"/>
                <a:gd name="connsiteY117" fmla="*/ 3946 h 10000"/>
                <a:gd name="connsiteX118" fmla="*/ 59 w 10000"/>
                <a:gd name="connsiteY118" fmla="*/ 4088 h 10000"/>
                <a:gd name="connsiteX119" fmla="*/ 89 w 10000"/>
                <a:gd name="connsiteY119" fmla="*/ 4230 h 10000"/>
                <a:gd name="connsiteX120" fmla="*/ 119 w 10000"/>
                <a:gd name="connsiteY120" fmla="*/ 4372 h 10000"/>
                <a:gd name="connsiteX121" fmla="*/ 148 w 10000"/>
                <a:gd name="connsiteY121" fmla="*/ 4514 h 10000"/>
                <a:gd name="connsiteX122" fmla="*/ 193 w 10000"/>
                <a:gd name="connsiteY122" fmla="*/ 4652 h 10000"/>
                <a:gd name="connsiteX123" fmla="*/ 237 w 10000"/>
                <a:gd name="connsiteY123" fmla="*/ 4789 h 10000"/>
                <a:gd name="connsiteX124" fmla="*/ 282 w 10000"/>
                <a:gd name="connsiteY124" fmla="*/ 4927 h 10000"/>
                <a:gd name="connsiteX125" fmla="*/ 334 w 10000"/>
                <a:gd name="connsiteY125" fmla="*/ 5064 h 10000"/>
                <a:gd name="connsiteX126" fmla="*/ 393 w 10000"/>
                <a:gd name="connsiteY126" fmla="*/ 5197 h 10000"/>
                <a:gd name="connsiteX127" fmla="*/ 452 w 10000"/>
                <a:gd name="connsiteY127" fmla="*/ 5330 h 10000"/>
                <a:gd name="connsiteX128" fmla="*/ 519 w 10000"/>
                <a:gd name="connsiteY128" fmla="*/ 5463 h 10000"/>
                <a:gd name="connsiteX129" fmla="*/ 586 w 10000"/>
                <a:gd name="connsiteY129" fmla="*/ 5596 h 10000"/>
                <a:gd name="connsiteX130" fmla="*/ 660 w 10000"/>
                <a:gd name="connsiteY130" fmla="*/ 5724 h 10000"/>
                <a:gd name="connsiteX131" fmla="*/ 741 w 10000"/>
                <a:gd name="connsiteY131" fmla="*/ 5852 h 10000"/>
                <a:gd name="connsiteX132" fmla="*/ 823 w 10000"/>
                <a:gd name="connsiteY132" fmla="*/ 5985 h 10000"/>
                <a:gd name="connsiteX133" fmla="*/ 904 w 10000"/>
                <a:gd name="connsiteY133" fmla="*/ 6109 h 10000"/>
                <a:gd name="connsiteX134" fmla="*/ 993 w 10000"/>
                <a:gd name="connsiteY134" fmla="*/ 6233 h 10000"/>
                <a:gd name="connsiteX135" fmla="*/ 1090 w 10000"/>
                <a:gd name="connsiteY135" fmla="*/ 6352 h 10000"/>
                <a:gd name="connsiteX136" fmla="*/ 1186 w 10000"/>
                <a:gd name="connsiteY136" fmla="*/ 6476 h 10000"/>
                <a:gd name="connsiteX137" fmla="*/ 1290 w 10000"/>
                <a:gd name="connsiteY137" fmla="*/ 6599 h 10000"/>
                <a:gd name="connsiteX138" fmla="*/ 1386 w 10000"/>
                <a:gd name="connsiteY138" fmla="*/ 6719 h 10000"/>
                <a:gd name="connsiteX139" fmla="*/ 1497 w 10000"/>
                <a:gd name="connsiteY139" fmla="*/ 6838 h 10000"/>
                <a:gd name="connsiteX140" fmla="*/ 1609 w 10000"/>
                <a:gd name="connsiteY140" fmla="*/ 6952 h 10000"/>
                <a:gd name="connsiteX141" fmla="*/ 1727 w 10000"/>
                <a:gd name="connsiteY141" fmla="*/ 7071 h 10000"/>
                <a:gd name="connsiteX142" fmla="*/ 1846 w 10000"/>
                <a:gd name="connsiteY142" fmla="*/ 7186 h 10000"/>
                <a:gd name="connsiteX143" fmla="*/ 1964 w 10000"/>
                <a:gd name="connsiteY143" fmla="*/ 7296 h 10000"/>
                <a:gd name="connsiteX144" fmla="*/ 2090 w 10000"/>
                <a:gd name="connsiteY144" fmla="*/ 7406 h 10000"/>
                <a:gd name="connsiteX145" fmla="*/ 2224 w 10000"/>
                <a:gd name="connsiteY145" fmla="*/ 7516 h 10000"/>
                <a:gd name="connsiteX146" fmla="*/ 2350 w 10000"/>
                <a:gd name="connsiteY146" fmla="*/ 7626 h 10000"/>
                <a:gd name="connsiteX147" fmla="*/ 2491 w 10000"/>
                <a:gd name="connsiteY147" fmla="*/ 7731 h 10000"/>
                <a:gd name="connsiteX148" fmla="*/ 2617 w 10000"/>
                <a:gd name="connsiteY148" fmla="*/ 7837 h 10000"/>
                <a:gd name="connsiteX149" fmla="*/ 2765 w 10000"/>
                <a:gd name="connsiteY149" fmla="*/ 7938 h 10000"/>
                <a:gd name="connsiteX150" fmla="*/ 2906 w 10000"/>
                <a:gd name="connsiteY150" fmla="*/ 8038 h 10000"/>
                <a:gd name="connsiteX151" fmla="*/ 3054 w 10000"/>
                <a:gd name="connsiteY151" fmla="*/ 8139 h 10000"/>
                <a:gd name="connsiteX152" fmla="*/ 3210 w 10000"/>
                <a:gd name="connsiteY152" fmla="*/ 8236 h 10000"/>
                <a:gd name="connsiteX153" fmla="*/ 3358 w 10000"/>
                <a:gd name="connsiteY153" fmla="*/ 8332 h 10000"/>
                <a:gd name="connsiteX154" fmla="*/ 3514 w 10000"/>
                <a:gd name="connsiteY154" fmla="*/ 8428 h 10000"/>
                <a:gd name="connsiteX155" fmla="*/ 3677 w 10000"/>
                <a:gd name="connsiteY155" fmla="*/ 8520 h 10000"/>
                <a:gd name="connsiteX156" fmla="*/ 3840 w 10000"/>
                <a:gd name="connsiteY156" fmla="*/ 8607 h 10000"/>
                <a:gd name="connsiteX157" fmla="*/ 4010 w 10000"/>
                <a:gd name="connsiteY157" fmla="*/ 8698 h 10000"/>
                <a:gd name="connsiteX158" fmla="*/ 4181 w 10000"/>
                <a:gd name="connsiteY158" fmla="*/ 8776 h 10000"/>
                <a:gd name="connsiteX159" fmla="*/ 4351 w 10000"/>
                <a:gd name="connsiteY159" fmla="*/ 8863 h 10000"/>
                <a:gd name="connsiteX160" fmla="*/ 4522 w 10000"/>
                <a:gd name="connsiteY160" fmla="*/ 8941 h 10000"/>
                <a:gd name="connsiteX161" fmla="*/ 4700 w 10000"/>
                <a:gd name="connsiteY161" fmla="*/ 9024 h 10000"/>
                <a:gd name="connsiteX162" fmla="*/ 4878 w 10000"/>
                <a:gd name="connsiteY162" fmla="*/ 9102 h 10000"/>
                <a:gd name="connsiteX163" fmla="*/ 5063 w 10000"/>
                <a:gd name="connsiteY163" fmla="*/ 9175 h 10000"/>
                <a:gd name="connsiteX164" fmla="*/ 5248 w 10000"/>
                <a:gd name="connsiteY164" fmla="*/ 9253 h 10000"/>
                <a:gd name="connsiteX165" fmla="*/ 5426 w 10000"/>
                <a:gd name="connsiteY165" fmla="*/ 9322 h 10000"/>
                <a:gd name="connsiteX166" fmla="*/ 5619 w 10000"/>
                <a:gd name="connsiteY166" fmla="*/ 9390 h 10000"/>
                <a:gd name="connsiteX167" fmla="*/ 5812 w 10000"/>
                <a:gd name="connsiteY167" fmla="*/ 9459 h 10000"/>
                <a:gd name="connsiteX168" fmla="*/ 6004 w 10000"/>
                <a:gd name="connsiteY168" fmla="*/ 9523 h 10000"/>
                <a:gd name="connsiteX169" fmla="*/ 6205 w 10000"/>
                <a:gd name="connsiteY169" fmla="*/ 9588 h 10000"/>
                <a:gd name="connsiteX170" fmla="*/ 6397 w 10000"/>
                <a:gd name="connsiteY170" fmla="*/ 9647 h 10000"/>
                <a:gd name="connsiteX171" fmla="*/ 6605 w 10000"/>
                <a:gd name="connsiteY171" fmla="*/ 9702 h 10000"/>
                <a:gd name="connsiteX172" fmla="*/ 6805 w 10000"/>
                <a:gd name="connsiteY172" fmla="*/ 9757 h 10000"/>
                <a:gd name="connsiteX173" fmla="*/ 7005 w 10000"/>
                <a:gd name="connsiteY173" fmla="*/ 9812 h 10000"/>
                <a:gd name="connsiteX174" fmla="*/ 7213 w 10000"/>
                <a:gd name="connsiteY174" fmla="*/ 9863 h 10000"/>
                <a:gd name="connsiteX175" fmla="*/ 7420 w 10000"/>
                <a:gd name="connsiteY175" fmla="*/ 9908 h 10000"/>
                <a:gd name="connsiteX176" fmla="*/ 7628 w 10000"/>
                <a:gd name="connsiteY176" fmla="*/ 9954 h 10000"/>
                <a:gd name="connsiteX177" fmla="*/ 7835 w 10000"/>
                <a:gd name="connsiteY177" fmla="*/ 10000 h 10000"/>
                <a:gd name="connsiteX178" fmla="*/ 7539 w 10000"/>
                <a:gd name="connsiteY178" fmla="*/ 7754 h 10000"/>
                <a:gd name="connsiteX179" fmla="*/ 10000 w 10000"/>
                <a:gd name="connsiteY179" fmla="*/ 6141 h 10000"/>
                <a:gd name="connsiteX0" fmla="*/ 10000 w 10000"/>
                <a:gd name="connsiteY0" fmla="*/ 6141 h 10000"/>
                <a:gd name="connsiteX1" fmla="*/ 10000 w 10000"/>
                <a:gd name="connsiteY1" fmla="*/ 6141 h 10000"/>
                <a:gd name="connsiteX2" fmla="*/ 9911 w 10000"/>
                <a:gd name="connsiteY2" fmla="*/ 6127 h 10000"/>
                <a:gd name="connsiteX3" fmla="*/ 9815 w 10000"/>
                <a:gd name="connsiteY3" fmla="*/ 6109 h 10000"/>
                <a:gd name="connsiteX4" fmla="*/ 9726 w 10000"/>
                <a:gd name="connsiteY4" fmla="*/ 6091 h 10000"/>
                <a:gd name="connsiteX5" fmla="*/ 9637 w 10000"/>
                <a:gd name="connsiteY5" fmla="*/ 6068 h 10000"/>
                <a:gd name="connsiteX6" fmla="*/ 9548 w 10000"/>
                <a:gd name="connsiteY6" fmla="*/ 6049 h 10000"/>
                <a:gd name="connsiteX7" fmla="*/ 9466 w 10000"/>
                <a:gd name="connsiteY7" fmla="*/ 6027 h 10000"/>
                <a:gd name="connsiteX8" fmla="*/ 9377 w 10000"/>
                <a:gd name="connsiteY8" fmla="*/ 6004 h 10000"/>
                <a:gd name="connsiteX9" fmla="*/ 9288 w 10000"/>
                <a:gd name="connsiteY9" fmla="*/ 5981 h 10000"/>
                <a:gd name="connsiteX10" fmla="*/ 9118 w 10000"/>
                <a:gd name="connsiteY10" fmla="*/ 5930 h 10000"/>
                <a:gd name="connsiteX11" fmla="*/ 8955 w 10000"/>
                <a:gd name="connsiteY11" fmla="*/ 5875 h 10000"/>
                <a:gd name="connsiteX12" fmla="*/ 8792 w 10000"/>
                <a:gd name="connsiteY12" fmla="*/ 5816 h 10000"/>
                <a:gd name="connsiteX13" fmla="*/ 8636 w 10000"/>
                <a:gd name="connsiteY13" fmla="*/ 5752 h 10000"/>
                <a:gd name="connsiteX14" fmla="*/ 8480 w 10000"/>
                <a:gd name="connsiteY14" fmla="*/ 5687 h 10000"/>
                <a:gd name="connsiteX15" fmla="*/ 8340 w 10000"/>
                <a:gd name="connsiteY15" fmla="*/ 5619 h 10000"/>
                <a:gd name="connsiteX16" fmla="*/ 8199 w 10000"/>
                <a:gd name="connsiteY16" fmla="*/ 5545 h 10000"/>
                <a:gd name="connsiteX17" fmla="*/ 8058 w 10000"/>
                <a:gd name="connsiteY17" fmla="*/ 5467 h 10000"/>
                <a:gd name="connsiteX18" fmla="*/ 7924 w 10000"/>
                <a:gd name="connsiteY18" fmla="*/ 5385 h 10000"/>
                <a:gd name="connsiteX19" fmla="*/ 7798 w 10000"/>
                <a:gd name="connsiteY19" fmla="*/ 5302 h 10000"/>
                <a:gd name="connsiteX20" fmla="*/ 7672 w 10000"/>
                <a:gd name="connsiteY20" fmla="*/ 5215 h 10000"/>
                <a:gd name="connsiteX21" fmla="*/ 7554 w 10000"/>
                <a:gd name="connsiteY21" fmla="*/ 5128 h 10000"/>
                <a:gd name="connsiteX22" fmla="*/ 7450 w 10000"/>
                <a:gd name="connsiteY22" fmla="*/ 5032 h 10000"/>
                <a:gd name="connsiteX23" fmla="*/ 7346 w 10000"/>
                <a:gd name="connsiteY23" fmla="*/ 4936 h 10000"/>
                <a:gd name="connsiteX24" fmla="*/ 7250 w 10000"/>
                <a:gd name="connsiteY24" fmla="*/ 4840 h 10000"/>
                <a:gd name="connsiteX25" fmla="*/ 7161 w 10000"/>
                <a:gd name="connsiteY25" fmla="*/ 4739 h 10000"/>
                <a:gd name="connsiteX26" fmla="*/ 7072 w 10000"/>
                <a:gd name="connsiteY26" fmla="*/ 4638 h 10000"/>
                <a:gd name="connsiteX27" fmla="*/ 6990 w 10000"/>
                <a:gd name="connsiteY27" fmla="*/ 4528 h 10000"/>
                <a:gd name="connsiteX28" fmla="*/ 6953 w 10000"/>
                <a:gd name="connsiteY28" fmla="*/ 4478 h 10000"/>
                <a:gd name="connsiteX29" fmla="*/ 6916 w 10000"/>
                <a:gd name="connsiteY29" fmla="*/ 4423 h 10000"/>
                <a:gd name="connsiteX30" fmla="*/ 6887 w 10000"/>
                <a:gd name="connsiteY30" fmla="*/ 4368 h 10000"/>
                <a:gd name="connsiteX31" fmla="*/ 6850 w 10000"/>
                <a:gd name="connsiteY31" fmla="*/ 4313 h 10000"/>
                <a:gd name="connsiteX32" fmla="*/ 6820 w 10000"/>
                <a:gd name="connsiteY32" fmla="*/ 4258 h 10000"/>
                <a:gd name="connsiteX33" fmla="*/ 6790 w 10000"/>
                <a:gd name="connsiteY33" fmla="*/ 4203 h 10000"/>
                <a:gd name="connsiteX34" fmla="*/ 6768 w 10000"/>
                <a:gd name="connsiteY34" fmla="*/ 4143 h 10000"/>
                <a:gd name="connsiteX35" fmla="*/ 6738 w 10000"/>
                <a:gd name="connsiteY35" fmla="*/ 4088 h 10000"/>
                <a:gd name="connsiteX36" fmla="*/ 6723 w 10000"/>
                <a:gd name="connsiteY36" fmla="*/ 4028 h 10000"/>
                <a:gd name="connsiteX37" fmla="*/ 6694 w 10000"/>
                <a:gd name="connsiteY37" fmla="*/ 3973 h 10000"/>
                <a:gd name="connsiteX38" fmla="*/ 6679 w 10000"/>
                <a:gd name="connsiteY38" fmla="*/ 3914 h 10000"/>
                <a:gd name="connsiteX39" fmla="*/ 6664 w 10000"/>
                <a:gd name="connsiteY39" fmla="*/ 3854 h 10000"/>
                <a:gd name="connsiteX40" fmla="*/ 6649 w 10000"/>
                <a:gd name="connsiteY40" fmla="*/ 3795 h 10000"/>
                <a:gd name="connsiteX41" fmla="*/ 6635 w 10000"/>
                <a:gd name="connsiteY41" fmla="*/ 3740 h 10000"/>
                <a:gd name="connsiteX42" fmla="*/ 6620 w 10000"/>
                <a:gd name="connsiteY42" fmla="*/ 3680 h 10000"/>
                <a:gd name="connsiteX43" fmla="*/ 6612 w 10000"/>
                <a:gd name="connsiteY43" fmla="*/ 3621 h 10000"/>
                <a:gd name="connsiteX44" fmla="*/ 6605 w 10000"/>
                <a:gd name="connsiteY44" fmla="*/ 3561 h 10000"/>
                <a:gd name="connsiteX45" fmla="*/ 6597 w 10000"/>
                <a:gd name="connsiteY45" fmla="*/ 3497 h 10000"/>
                <a:gd name="connsiteX46" fmla="*/ 6597 w 10000"/>
                <a:gd name="connsiteY46" fmla="*/ 3437 h 10000"/>
                <a:gd name="connsiteX47" fmla="*/ 6590 w 10000"/>
                <a:gd name="connsiteY47" fmla="*/ 3373 h 10000"/>
                <a:gd name="connsiteX48" fmla="*/ 6597 w 10000"/>
                <a:gd name="connsiteY48" fmla="*/ 3313 h 10000"/>
                <a:gd name="connsiteX49" fmla="*/ 6605 w 10000"/>
                <a:gd name="connsiteY49" fmla="*/ 3245 h 10000"/>
                <a:gd name="connsiteX50" fmla="*/ 6605 w 10000"/>
                <a:gd name="connsiteY50" fmla="*/ 3181 h 10000"/>
                <a:gd name="connsiteX51" fmla="*/ 6612 w 10000"/>
                <a:gd name="connsiteY51" fmla="*/ 3116 h 10000"/>
                <a:gd name="connsiteX52" fmla="*/ 6620 w 10000"/>
                <a:gd name="connsiteY52" fmla="*/ 3052 h 10000"/>
                <a:gd name="connsiteX53" fmla="*/ 6635 w 10000"/>
                <a:gd name="connsiteY53" fmla="*/ 2993 h 10000"/>
                <a:gd name="connsiteX54" fmla="*/ 6649 w 10000"/>
                <a:gd name="connsiteY54" fmla="*/ 2929 h 10000"/>
                <a:gd name="connsiteX55" fmla="*/ 6664 w 10000"/>
                <a:gd name="connsiteY55" fmla="*/ 2869 h 10000"/>
                <a:gd name="connsiteX56" fmla="*/ 6686 w 10000"/>
                <a:gd name="connsiteY56" fmla="*/ 2805 h 10000"/>
                <a:gd name="connsiteX57" fmla="*/ 6709 w 10000"/>
                <a:gd name="connsiteY57" fmla="*/ 2745 h 10000"/>
                <a:gd name="connsiteX58" fmla="*/ 6731 w 10000"/>
                <a:gd name="connsiteY58" fmla="*/ 2686 h 10000"/>
                <a:gd name="connsiteX59" fmla="*/ 6753 w 10000"/>
                <a:gd name="connsiteY59" fmla="*/ 2621 h 10000"/>
                <a:gd name="connsiteX60" fmla="*/ 6783 w 10000"/>
                <a:gd name="connsiteY60" fmla="*/ 2566 h 10000"/>
                <a:gd name="connsiteX61" fmla="*/ 6812 w 10000"/>
                <a:gd name="connsiteY61" fmla="*/ 2507 h 10000"/>
                <a:gd name="connsiteX62" fmla="*/ 6842 w 10000"/>
                <a:gd name="connsiteY62" fmla="*/ 2447 h 10000"/>
                <a:gd name="connsiteX63" fmla="*/ 6879 w 10000"/>
                <a:gd name="connsiteY63" fmla="*/ 2388 h 10000"/>
                <a:gd name="connsiteX64" fmla="*/ 6909 w 10000"/>
                <a:gd name="connsiteY64" fmla="*/ 2333 h 10000"/>
                <a:gd name="connsiteX65" fmla="*/ 6946 w 10000"/>
                <a:gd name="connsiteY65" fmla="*/ 2273 h 10000"/>
                <a:gd name="connsiteX66" fmla="*/ 6990 w 10000"/>
                <a:gd name="connsiteY66" fmla="*/ 2218 h 10000"/>
                <a:gd name="connsiteX67" fmla="*/ 7027 w 10000"/>
                <a:gd name="connsiteY67" fmla="*/ 2163 h 10000"/>
                <a:gd name="connsiteX68" fmla="*/ 7072 w 10000"/>
                <a:gd name="connsiteY68" fmla="*/ 2108 h 10000"/>
                <a:gd name="connsiteX69" fmla="*/ 7109 w 10000"/>
                <a:gd name="connsiteY69" fmla="*/ 2053 h 10000"/>
                <a:gd name="connsiteX70" fmla="*/ 7161 w 10000"/>
                <a:gd name="connsiteY70" fmla="*/ 2003 h 10000"/>
                <a:gd name="connsiteX71" fmla="*/ 7213 w 10000"/>
                <a:gd name="connsiteY71" fmla="*/ 1948 h 10000"/>
                <a:gd name="connsiteX72" fmla="*/ 7257 w 10000"/>
                <a:gd name="connsiteY72" fmla="*/ 1893 h 10000"/>
                <a:gd name="connsiteX73" fmla="*/ 7309 w 10000"/>
                <a:gd name="connsiteY73" fmla="*/ 1842 h 10000"/>
                <a:gd name="connsiteX74" fmla="*/ 7361 w 10000"/>
                <a:gd name="connsiteY74" fmla="*/ 1792 h 10000"/>
                <a:gd name="connsiteX75" fmla="*/ 7413 w 10000"/>
                <a:gd name="connsiteY75" fmla="*/ 1742 h 10000"/>
                <a:gd name="connsiteX76" fmla="*/ 7472 w 10000"/>
                <a:gd name="connsiteY76" fmla="*/ 1691 h 10000"/>
                <a:gd name="connsiteX77" fmla="*/ 7524 w 10000"/>
                <a:gd name="connsiteY77" fmla="*/ 1645 h 10000"/>
                <a:gd name="connsiteX78" fmla="*/ 7583 w 10000"/>
                <a:gd name="connsiteY78" fmla="*/ 1599 h 10000"/>
                <a:gd name="connsiteX79" fmla="*/ 7643 w 10000"/>
                <a:gd name="connsiteY79" fmla="*/ 1549 h 10000"/>
                <a:gd name="connsiteX80" fmla="*/ 5434 w 10000"/>
                <a:gd name="connsiteY80" fmla="*/ 0 h 10000"/>
                <a:gd name="connsiteX81" fmla="*/ 1401 w 10000"/>
                <a:gd name="connsiteY81" fmla="*/ 0 h 10000"/>
                <a:gd name="connsiteX82" fmla="*/ 1305 w 10000"/>
                <a:gd name="connsiteY82" fmla="*/ 128 h 10000"/>
                <a:gd name="connsiteX83" fmla="*/ 1223 w 10000"/>
                <a:gd name="connsiteY83" fmla="*/ 220 h 10000"/>
                <a:gd name="connsiteX84" fmla="*/ 1149 w 10000"/>
                <a:gd name="connsiteY84" fmla="*/ 316 h 10000"/>
                <a:gd name="connsiteX85" fmla="*/ 1067 w 10000"/>
                <a:gd name="connsiteY85" fmla="*/ 412 h 10000"/>
                <a:gd name="connsiteX86" fmla="*/ 1001 w 10000"/>
                <a:gd name="connsiteY86" fmla="*/ 509 h 10000"/>
                <a:gd name="connsiteX87" fmla="*/ 927 w 10000"/>
                <a:gd name="connsiteY87" fmla="*/ 605 h 10000"/>
                <a:gd name="connsiteX88" fmla="*/ 860 w 10000"/>
                <a:gd name="connsiteY88" fmla="*/ 706 h 10000"/>
                <a:gd name="connsiteX89" fmla="*/ 793 w 10000"/>
                <a:gd name="connsiteY89" fmla="*/ 807 h 10000"/>
                <a:gd name="connsiteX90" fmla="*/ 734 w 10000"/>
                <a:gd name="connsiteY90" fmla="*/ 903 h 10000"/>
                <a:gd name="connsiteX91" fmla="*/ 675 w 10000"/>
                <a:gd name="connsiteY91" fmla="*/ 1004 h 10000"/>
                <a:gd name="connsiteX92" fmla="*/ 615 w 10000"/>
                <a:gd name="connsiteY92" fmla="*/ 1104 h 10000"/>
                <a:gd name="connsiteX93" fmla="*/ 556 w 10000"/>
                <a:gd name="connsiteY93" fmla="*/ 1210 h 10000"/>
                <a:gd name="connsiteX94" fmla="*/ 504 w 10000"/>
                <a:gd name="connsiteY94" fmla="*/ 1306 h 10000"/>
                <a:gd name="connsiteX95" fmla="*/ 452 w 10000"/>
                <a:gd name="connsiteY95" fmla="*/ 1412 h 10000"/>
                <a:gd name="connsiteX96" fmla="*/ 408 w 10000"/>
                <a:gd name="connsiteY96" fmla="*/ 1512 h 10000"/>
                <a:gd name="connsiteX97" fmla="*/ 363 w 10000"/>
                <a:gd name="connsiteY97" fmla="*/ 1618 h 10000"/>
                <a:gd name="connsiteX98" fmla="*/ 319 w 10000"/>
                <a:gd name="connsiteY98" fmla="*/ 1723 h 10000"/>
                <a:gd name="connsiteX99" fmla="*/ 282 w 10000"/>
                <a:gd name="connsiteY99" fmla="*/ 1829 h 10000"/>
                <a:gd name="connsiteX100" fmla="*/ 237 w 10000"/>
                <a:gd name="connsiteY100" fmla="*/ 1939 h 10000"/>
                <a:gd name="connsiteX101" fmla="*/ 208 w 10000"/>
                <a:gd name="connsiteY101" fmla="*/ 2044 h 10000"/>
                <a:gd name="connsiteX102" fmla="*/ 170 w 10000"/>
                <a:gd name="connsiteY102" fmla="*/ 2154 h 10000"/>
                <a:gd name="connsiteX103" fmla="*/ 148 w 10000"/>
                <a:gd name="connsiteY103" fmla="*/ 2264 h 10000"/>
                <a:gd name="connsiteX104" fmla="*/ 119 w 10000"/>
                <a:gd name="connsiteY104" fmla="*/ 2369 h 10000"/>
                <a:gd name="connsiteX105" fmla="*/ 96 w 10000"/>
                <a:gd name="connsiteY105" fmla="*/ 2479 h 10000"/>
                <a:gd name="connsiteX106" fmla="*/ 74 w 10000"/>
                <a:gd name="connsiteY106" fmla="*/ 2589 h 10000"/>
                <a:gd name="connsiteX107" fmla="*/ 52 w 10000"/>
                <a:gd name="connsiteY107" fmla="*/ 2704 h 10000"/>
                <a:gd name="connsiteX108" fmla="*/ 37 w 10000"/>
                <a:gd name="connsiteY108" fmla="*/ 2814 h 10000"/>
                <a:gd name="connsiteX109" fmla="*/ 22 w 10000"/>
                <a:gd name="connsiteY109" fmla="*/ 2924 h 10000"/>
                <a:gd name="connsiteX110" fmla="*/ 15 w 10000"/>
                <a:gd name="connsiteY110" fmla="*/ 3034 h 10000"/>
                <a:gd name="connsiteX111" fmla="*/ 7 w 10000"/>
                <a:gd name="connsiteY111" fmla="*/ 3148 h 10000"/>
                <a:gd name="connsiteX112" fmla="*/ 0 w 10000"/>
                <a:gd name="connsiteY112" fmla="*/ 3258 h 10000"/>
                <a:gd name="connsiteX113" fmla="*/ 0 w 10000"/>
                <a:gd name="connsiteY113" fmla="*/ 3373 h 10000"/>
                <a:gd name="connsiteX114" fmla="*/ 7 w 10000"/>
                <a:gd name="connsiteY114" fmla="*/ 3520 h 10000"/>
                <a:gd name="connsiteX115" fmla="*/ 7 w 10000"/>
                <a:gd name="connsiteY115" fmla="*/ 3666 h 10000"/>
                <a:gd name="connsiteX116" fmla="*/ 22 w 10000"/>
                <a:gd name="connsiteY116" fmla="*/ 3804 h 10000"/>
                <a:gd name="connsiteX117" fmla="*/ 37 w 10000"/>
                <a:gd name="connsiteY117" fmla="*/ 3946 h 10000"/>
                <a:gd name="connsiteX118" fmla="*/ 59 w 10000"/>
                <a:gd name="connsiteY118" fmla="*/ 4088 h 10000"/>
                <a:gd name="connsiteX119" fmla="*/ 89 w 10000"/>
                <a:gd name="connsiteY119" fmla="*/ 4230 h 10000"/>
                <a:gd name="connsiteX120" fmla="*/ 119 w 10000"/>
                <a:gd name="connsiteY120" fmla="*/ 4372 h 10000"/>
                <a:gd name="connsiteX121" fmla="*/ 148 w 10000"/>
                <a:gd name="connsiteY121" fmla="*/ 4514 h 10000"/>
                <a:gd name="connsiteX122" fmla="*/ 193 w 10000"/>
                <a:gd name="connsiteY122" fmla="*/ 4652 h 10000"/>
                <a:gd name="connsiteX123" fmla="*/ 237 w 10000"/>
                <a:gd name="connsiteY123" fmla="*/ 4789 h 10000"/>
                <a:gd name="connsiteX124" fmla="*/ 282 w 10000"/>
                <a:gd name="connsiteY124" fmla="*/ 4927 h 10000"/>
                <a:gd name="connsiteX125" fmla="*/ 334 w 10000"/>
                <a:gd name="connsiteY125" fmla="*/ 5064 h 10000"/>
                <a:gd name="connsiteX126" fmla="*/ 393 w 10000"/>
                <a:gd name="connsiteY126" fmla="*/ 5197 h 10000"/>
                <a:gd name="connsiteX127" fmla="*/ 452 w 10000"/>
                <a:gd name="connsiteY127" fmla="*/ 5330 h 10000"/>
                <a:gd name="connsiteX128" fmla="*/ 519 w 10000"/>
                <a:gd name="connsiteY128" fmla="*/ 5463 h 10000"/>
                <a:gd name="connsiteX129" fmla="*/ 586 w 10000"/>
                <a:gd name="connsiteY129" fmla="*/ 5596 h 10000"/>
                <a:gd name="connsiteX130" fmla="*/ 660 w 10000"/>
                <a:gd name="connsiteY130" fmla="*/ 5724 h 10000"/>
                <a:gd name="connsiteX131" fmla="*/ 741 w 10000"/>
                <a:gd name="connsiteY131" fmla="*/ 5852 h 10000"/>
                <a:gd name="connsiteX132" fmla="*/ 823 w 10000"/>
                <a:gd name="connsiteY132" fmla="*/ 5985 h 10000"/>
                <a:gd name="connsiteX133" fmla="*/ 904 w 10000"/>
                <a:gd name="connsiteY133" fmla="*/ 6109 h 10000"/>
                <a:gd name="connsiteX134" fmla="*/ 993 w 10000"/>
                <a:gd name="connsiteY134" fmla="*/ 6233 h 10000"/>
                <a:gd name="connsiteX135" fmla="*/ 1090 w 10000"/>
                <a:gd name="connsiteY135" fmla="*/ 6352 h 10000"/>
                <a:gd name="connsiteX136" fmla="*/ 1186 w 10000"/>
                <a:gd name="connsiteY136" fmla="*/ 6476 h 10000"/>
                <a:gd name="connsiteX137" fmla="*/ 1290 w 10000"/>
                <a:gd name="connsiteY137" fmla="*/ 6599 h 10000"/>
                <a:gd name="connsiteX138" fmla="*/ 1386 w 10000"/>
                <a:gd name="connsiteY138" fmla="*/ 6719 h 10000"/>
                <a:gd name="connsiteX139" fmla="*/ 1497 w 10000"/>
                <a:gd name="connsiteY139" fmla="*/ 6838 h 10000"/>
                <a:gd name="connsiteX140" fmla="*/ 1609 w 10000"/>
                <a:gd name="connsiteY140" fmla="*/ 6952 h 10000"/>
                <a:gd name="connsiteX141" fmla="*/ 1727 w 10000"/>
                <a:gd name="connsiteY141" fmla="*/ 7071 h 10000"/>
                <a:gd name="connsiteX142" fmla="*/ 1846 w 10000"/>
                <a:gd name="connsiteY142" fmla="*/ 7186 h 10000"/>
                <a:gd name="connsiteX143" fmla="*/ 1964 w 10000"/>
                <a:gd name="connsiteY143" fmla="*/ 7296 h 10000"/>
                <a:gd name="connsiteX144" fmla="*/ 2090 w 10000"/>
                <a:gd name="connsiteY144" fmla="*/ 7406 h 10000"/>
                <a:gd name="connsiteX145" fmla="*/ 2224 w 10000"/>
                <a:gd name="connsiteY145" fmla="*/ 7516 h 10000"/>
                <a:gd name="connsiteX146" fmla="*/ 2350 w 10000"/>
                <a:gd name="connsiteY146" fmla="*/ 7626 h 10000"/>
                <a:gd name="connsiteX147" fmla="*/ 2491 w 10000"/>
                <a:gd name="connsiteY147" fmla="*/ 7731 h 10000"/>
                <a:gd name="connsiteX148" fmla="*/ 2617 w 10000"/>
                <a:gd name="connsiteY148" fmla="*/ 7837 h 10000"/>
                <a:gd name="connsiteX149" fmla="*/ 2765 w 10000"/>
                <a:gd name="connsiteY149" fmla="*/ 7938 h 10000"/>
                <a:gd name="connsiteX150" fmla="*/ 2906 w 10000"/>
                <a:gd name="connsiteY150" fmla="*/ 8038 h 10000"/>
                <a:gd name="connsiteX151" fmla="*/ 3054 w 10000"/>
                <a:gd name="connsiteY151" fmla="*/ 8139 h 10000"/>
                <a:gd name="connsiteX152" fmla="*/ 3210 w 10000"/>
                <a:gd name="connsiteY152" fmla="*/ 8236 h 10000"/>
                <a:gd name="connsiteX153" fmla="*/ 3358 w 10000"/>
                <a:gd name="connsiteY153" fmla="*/ 8332 h 10000"/>
                <a:gd name="connsiteX154" fmla="*/ 3514 w 10000"/>
                <a:gd name="connsiteY154" fmla="*/ 8428 h 10000"/>
                <a:gd name="connsiteX155" fmla="*/ 3677 w 10000"/>
                <a:gd name="connsiteY155" fmla="*/ 8520 h 10000"/>
                <a:gd name="connsiteX156" fmla="*/ 3840 w 10000"/>
                <a:gd name="connsiteY156" fmla="*/ 8607 h 10000"/>
                <a:gd name="connsiteX157" fmla="*/ 4010 w 10000"/>
                <a:gd name="connsiteY157" fmla="*/ 8698 h 10000"/>
                <a:gd name="connsiteX158" fmla="*/ 4181 w 10000"/>
                <a:gd name="connsiteY158" fmla="*/ 8776 h 10000"/>
                <a:gd name="connsiteX159" fmla="*/ 4351 w 10000"/>
                <a:gd name="connsiteY159" fmla="*/ 8863 h 10000"/>
                <a:gd name="connsiteX160" fmla="*/ 4522 w 10000"/>
                <a:gd name="connsiteY160" fmla="*/ 8941 h 10000"/>
                <a:gd name="connsiteX161" fmla="*/ 4700 w 10000"/>
                <a:gd name="connsiteY161" fmla="*/ 9024 h 10000"/>
                <a:gd name="connsiteX162" fmla="*/ 4878 w 10000"/>
                <a:gd name="connsiteY162" fmla="*/ 9102 h 10000"/>
                <a:gd name="connsiteX163" fmla="*/ 5063 w 10000"/>
                <a:gd name="connsiteY163" fmla="*/ 9175 h 10000"/>
                <a:gd name="connsiteX164" fmla="*/ 5248 w 10000"/>
                <a:gd name="connsiteY164" fmla="*/ 9253 h 10000"/>
                <a:gd name="connsiteX165" fmla="*/ 5426 w 10000"/>
                <a:gd name="connsiteY165" fmla="*/ 9322 h 10000"/>
                <a:gd name="connsiteX166" fmla="*/ 5619 w 10000"/>
                <a:gd name="connsiteY166" fmla="*/ 9390 h 10000"/>
                <a:gd name="connsiteX167" fmla="*/ 5812 w 10000"/>
                <a:gd name="connsiteY167" fmla="*/ 9459 h 10000"/>
                <a:gd name="connsiteX168" fmla="*/ 6004 w 10000"/>
                <a:gd name="connsiteY168" fmla="*/ 9523 h 10000"/>
                <a:gd name="connsiteX169" fmla="*/ 6205 w 10000"/>
                <a:gd name="connsiteY169" fmla="*/ 9588 h 10000"/>
                <a:gd name="connsiteX170" fmla="*/ 6397 w 10000"/>
                <a:gd name="connsiteY170" fmla="*/ 9647 h 10000"/>
                <a:gd name="connsiteX171" fmla="*/ 6605 w 10000"/>
                <a:gd name="connsiteY171" fmla="*/ 9702 h 10000"/>
                <a:gd name="connsiteX172" fmla="*/ 6805 w 10000"/>
                <a:gd name="connsiteY172" fmla="*/ 9757 h 10000"/>
                <a:gd name="connsiteX173" fmla="*/ 7005 w 10000"/>
                <a:gd name="connsiteY173" fmla="*/ 9812 h 10000"/>
                <a:gd name="connsiteX174" fmla="*/ 7213 w 10000"/>
                <a:gd name="connsiteY174" fmla="*/ 9863 h 10000"/>
                <a:gd name="connsiteX175" fmla="*/ 7420 w 10000"/>
                <a:gd name="connsiteY175" fmla="*/ 9908 h 10000"/>
                <a:gd name="connsiteX176" fmla="*/ 7628 w 10000"/>
                <a:gd name="connsiteY176" fmla="*/ 9954 h 10000"/>
                <a:gd name="connsiteX177" fmla="*/ 7835 w 10000"/>
                <a:gd name="connsiteY177" fmla="*/ 10000 h 10000"/>
                <a:gd name="connsiteX178" fmla="*/ 7539 w 10000"/>
                <a:gd name="connsiteY178" fmla="*/ 7754 h 10000"/>
                <a:gd name="connsiteX179" fmla="*/ 10000 w 10000"/>
                <a:gd name="connsiteY179" fmla="*/ 6141 h 10000"/>
                <a:gd name="connsiteX0" fmla="*/ 10000 w 10000"/>
                <a:gd name="connsiteY0" fmla="*/ 6162 h 10021"/>
                <a:gd name="connsiteX1" fmla="*/ 10000 w 10000"/>
                <a:gd name="connsiteY1" fmla="*/ 6162 h 10021"/>
                <a:gd name="connsiteX2" fmla="*/ 9911 w 10000"/>
                <a:gd name="connsiteY2" fmla="*/ 6148 h 10021"/>
                <a:gd name="connsiteX3" fmla="*/ 9815 w 10000"/>
                <a:gd name="connsiteY3" fmla="*/ 6130 h 10021"/>
                <a:gd name="connsiteX4" fmla="*/ 9726 w 10000"/>
                <a:gd name="connsiteY4" fmla="*/ 6112 h 10021"/>
                <a:gd name="connsiteX5" fmla="*/ 9637 w 10000"/>
                <a:gd name="connsiteY5" fmla="*/ 6089 h 10021"/>
                <a:gd name="connsiteX6" fmla="*/ 9548 w 10000"/>
                <a:gd name="connsiteY6" fmla="*/ 6070 h 10021"/>
                <a:gd name="connsiteX7" fmla="*/ 9466 w 10000"/>
                <a:gd name="connsiteY7" fmla="*/ 6048 h 10021"/>
                <a:gd name="connsiteX8" fmla="*/ 9377 w 10000"/>
                <a:gd name="connsiteY8" fmla="*/ 6025 h 10021"/>
                <a:gd name="connsiteX9" fmla="*/ 9288 w 10000"/>
                <a:gd name="connsiteY9" fmla="*/ 6002 h 10021"/>
                <a:gd name="connsiteX10" fmla="*/ 9118 w 10000"/>
                <a:gd name="connsiteY10" fmla="*/ 5951 h 10021"/>
                <a:gd name="connsiteX11" fmla="*/ 8955 w 10000"/>
                <a:gd name="connsiteY11" fmla="*/ 5896 h 10021"/>
                <a:gd name="connsiteX12" fmla="*/ 8792 w 10000"/>
                <a:gd name="connsiteY12" fmla="*/ 5837 h 10021"/>
                <a:gd name="connsiteX13" fmla="*/ 8636 w 10000"/>
                <a:gd name="connsiteY13" fmla="*/ 5773 h 10021"/>
                <a:gd name="connsiteX14" fmla="*/ 8480 w 10000"/>
                <a:gd name="connsiteY14" fmla="*/ 5708 h 10021"/>
                <a:gd name="connsiteX15" fmla="*/ 8340 w 10000"/>
                <a:gd name="connsiteY15" fmla="*/ 5640 h 10021"/>
                <a:gd name="connsiteX16" fmla="*/ 8199 w 10000"/>
                <a:gd name="connsiteY16" fmla="*/ 5566 h 10021"/>
                <a:gd name="connsiteX17" fmla="*/ 8058 w 10000"/>
                <a:gd name="connsiteY17" fmla="*/ 5488 h 10021"/>
                <a:gd name="connsiteX18" fmla="*/ 7924 w 10000"/>
                <a:gd name="connsiteY18" fmla="*/ 5406 h 10021"/>
                <a:gd name="connsiteX19" fmla="*/ 7798 w 10000"/>
                <a:gd name="connsiteY19" fmla="*/ 5323 h 10021"/>
                <a:gd name="connsiteX20" fmla="*/ 7672 w 10000"/>
                <a:gd name="connsiteY20" fmla="*/ 5236 h 10021"/>
                <a:gd name="connsiteX21" fmla="*/ 7554 w 10000"/>
                <a:gd name="connsiteY21" fmla="*/ 5149 h 10021"/>
                <a:gd name="connsiteX22" fmla="*/ 7450 w 10000"/>
                <a:gd name="connsiteY22" fmla="*/ 5053 h 10021"/>
                <a:gd name="connsiteX23" fmla="*/ 7346 w 10000"/>
                <a:gd name="connsiteY23" fmla="*/ 4957 h 10021"/>
                <a:gd name="connsiteX24" fmla="*/ 7250 w 10000"/>
                <a:gd name="connsiteY24" fmla="*/ 4861 h 10021"/>
                <a:gd name="connsiteX25" fmla="*/ 7161 w 10000"/>
                <a:gd name="connsiteY25" fmla="*/ 4760 h 10021"/>
                <a:gd name="connsiteX26" fmla="*/ 7072 w 10000"/>
                <a:gd name="connsiteY26" fmla="*/ 4659 h 10021"/>
                <a:gd name="connsiteX27" fmla="*/ 6990 w 10000"/>
                <a:gd name="connsiteY27" fmla="*/ 4549 h 10021"/>
                <a:gd name="connsiteX28" fmla="*/ 6953 w 10000"/>
                <a:gd name="connsiteY28" fmla="*/ 4499 h 10021"/>
                <a:gd name="connsiteX29" fmla="*/ 6916 w 10000"/>
                <a:gd name="connsiteY29" fmla="*/ 4444 h 10021"/>
                <a:gd name="connsiteX30" fmla="*/ 6887 w 10000"/>
                <a:gd name="connsiteY30" fmla="*/ 4389 h 10021"/>
                <a:gd name="connsiteX31" fmla="*/ 6850 w 10000"/>
                <a:gd name="connsiteY31" fmla="*/ 4334 h 10021"/>
                <a:gd name="connsiteX32" fmla="*/ 6820 w 10000"/>
                <a:gd name="connsiteY32" fmla="*/ 4279 h 10021"/>
                <a:gd name="connsiteX33" fmla="*/ 6790 w 10000"/>
                <a:gd name="connsiteY33" fmla="*/ 4224 h 10021"/>
                <a:gd name="connsiteX34" fmla="*/ 6768 w 10000"/>
                <a:gd name="connsiteY34" fmla="*/ 4164 h 10021"/>
                <a:gd name="connsiteX35" fmla="*/ 6738 w 10000"/>
                <a:gd name="connsiteY35" fmla="*/ 4109 h 10021"/>
                <a:gd name="connsiteX36" fmla="*/ 6723 w 10000"/>
                <a:gd name="connsiteY36" fmla="*/ 4049 h 10021"/>
                <a:gd name="connsiteX37" fmla="*/ 6694 w 10000"/>
                <a:gd name="connsiteY37" fmla="*/ 3994 h 10021"/>
                <a:gd name="connsiteX38" fmla="*/ 6679 w 10000"/>
                <a:gd name="connsiteY38" fmla="*/ 3935 h 10021"/>
                <a:gd name="connsiteX39" fmla="*/ 6664 w 10000"/>
                <a:gd name="connsiteY39" fmla="*/ 3875 h 10021"/>
                <a:gd name="connsiteX40" fmla="*/ 6649 w 10000"/>
                <a:gd name="connsiteY40" fmla="*/ 3816 h 10021"/>
                <a:gd name="connsiteX41" fmla="*/ 6635 w 10000"/>
                <a:gd name="connsiteY41" fmla="*/ 3761 h 10021"/>
                <a:gd name="connsiteX42" fmla="*/ 6620 w 10000"/>
                <a:gd name="connsiteY42" fmla="*/ 3701 h 10021"/>
                <a:gd name="connsiteX43" fmla="*/ 6612 w 10000"/>
                <a:gd name="connsiteY43" fmla="*/ 3642 h 10021"/>
                <a:gd name="connsiteX44" fmla="*/ 6605 w 10000"/>
                <a:gd name="connsiteY44" fmla="*/ 3582 h 10021"/>
                <a:gd name="connsiteX45" fmla="*/ 6597 w 10000"/>
                <a:gd name="connsiteY45" fmla="*/ 3518 h 10021"/>
                <a:gd name="connsiteX46" fmla="*/ 6597 w 10000"/>
                <a:gd name="connsiteY46" fmla="*/ 3458 h 10021"/>
                <a:gd name="connsiteX47" fmla="*/ 6590 w 10000"/>
                <a:gd name="connsiteY47" fmla="*/ 3394 h 10021"/>
                <a:gd name="connsiteX48" fmla="*/ 6597 w 10000"/>
                <a:gd name="connsiteY48" fmla="*/ 3334 h 10021"/>
                <a:gd name="connsiteX49" fmla="*/ 6605 w 10000"/>
                <a:gd name="connsiteY49" fmla="*/ 3266 h 10021"/>
                <a:gd name="connsiteX50" fmla="*/ 6605 w 10000"/>
                <a:gd name="connsiteY50" fmla="*/ 3202 h 10021"/>
                <a:gd name="connsiteX51" fmla="*/ 6612 w 10000"/>
                <a:gd name="connsiteY51" fmla="*/ 3137 h 10021"/>
                <a:gd name="connsiteX52" fmla="*/ 6620 w 10000"/>
                <a:gd name="connsiteY52" fmla="*/ 3073 h 10021"/>
                <a:gd name="connsiteX53" fmla="*/ 6635 w 10000"/>
                <a:gd name="connsiteY53" fmla="*/ 3014 h 10021"/>
                <a:gd name="connsiteX54" fmla="*/ 6649 w 10000"/>
                <a:gd name="connsiteY54" fmla="*/ 2950 h 10021"/>
                <a:gd name="connsiteX55" fmla="*/ 6664 w 10000"/>
                <a:gd name="connsiteY55" fmla="*/ 2890 h 10021"/>
                <a:gd name="connsiteX56" fmla="*/ 6686 w 10000"/>
                <a:gd name="connsiteY56" fmla="*/ 2826 h 10021"/>
                <a:gd name="connsiteX57" fmla="*/ 6709 w 10000"/>
                <a:gd name="connsiteY57" fmla="*/ 2766 h 10021"/>
                <a:gd name="connsiteX58" fmla="*/ 6731 w 10000"/>
                <a:gd name="connsiteY58" fmla="*/ 2707 h 10021"/>
                <a:gd name="connsiteX59" fmla="*/ 6753 w 10000"/>
                <a:gd name="connsiteY59" fmla="*/ 2642 h 10021"/>
                <a:gd name="connsiteX60" fmla="*/ 6783 w 10000"/>
                <a:gd name="connsiteY60" fmla="*/ 2587 h 10021"/>
                <a:gd name="connsiteX61" fmla="*/ 6812 w 10000"/>
                <a:gd name="connsiteY61" fmla="*/ 2528 h 10021"/>
                <a:gd name="connsiteX62" fmla="*/ 6842 w 10000"/>
                <a:gd name="connsiteY62" fmla="*/ 2468 h 10021"/>
                <a:gd name="connsiteX63" fmla="*/ 6879 w 10000"/>
                <a:gd name="connsiteY63" fmla="*/ 2409 h 10021"/>
                <a:gd name="connsiteX64" fmla="*/ 6909 w 10000"/>
                <a:gd name="connsiteY64" fmla="*/ 2354 h 10021"/>
                <a:gd name="connsiteX65" fmla="*/ 6946 w 10000"/>
                <a:gd name="connsiteY65" fmla="*/ 2294 h 10021"/>
                <a:gd name="connsiteX66" fmla="*/ 6990 w 10000"/>
                <a:gd name="connsiteY66" fmla="*/ 2239 h 10021"/>
                <a:gd name="connsiteX67" fmla="*/ 7027 w 10000"/>
                <a:gd name="connsiteY67" fmla="*/ 2184 h 10021"/>
                <a:gd name="connsiteX68" fmla="*/ 7072 w 10000"/>
                <a:gd name="connsiteY68" fmla="*/ 2129 h 10021"/>
                <a:gd name="connsiteX69" fmla="*/ 7109 w 10000"/>
                <a:gd name="connsiteY69" fmla="*/ 2074 h 10021"/>
                <a:gd name="connsiteX70" fmla="*/ 7161 w 10000"/>
                <a:gd name="connsiteY70" fmla="*/ 2024 h 10021"/>
                <a:gd name="connsiteX71" fmla="*/ 7213 w 10000"/>
                <a:gd name="connsiteY71" fmla="*/ 1969 h 10021"/>
                <a:gd name="connsiteX72" fmla="*/ 7257 w 10000"/>
                <a:gd name="connsiteY72" fmla="*/ 1914 h 10021"/>
                <a:gd name="connsiteX73" fmla="*/ 7309 w 10000"/>
                <a:gd name="connsiteY73" fmla="*/ 1863 h 10021"/>
                <a:gd name="connsiteX74" fmla="*/ 7361 w 10000"/>
                <a:gd name="connsiteY74" fmla="*/ 1813 h 10021"/>
                <a:gd name="connsiteX75" fmla="*/ 7413 w 10000"/>
                <a:gd name="connsiteY75" fmla="*/ 1763 h 10021"/>
                <a:gd name="connsiteX76" fmla="*/ 7472 w 10000"/>
                <a:gd name="connsiteY76" fmla="*/ 1712 h 10021"/>
                <a:gd name="connsiteX77" fmla="*/ 7524 w 10000"/>
                <a:gd name="connsiteY77" fmla="*/ 1666 h 10021"/>
                <a:gd name="connsiteX78" fmla="*/ 7583 w 10000"/>
                <a:gd name="connsiteY78" fmla="*/ 1620 h 10021"/>
                <a:gd name="connsiteX79" fmla="*/ 7643 w 10000"/>
                <a:gd name="connsiteY79" fmla="*/ 1570 h 10021"/>
                <a:gd name="connsiteX80" fmla="*/ 5434 w 10000"/>
                <a:gd name="connsiteY80" fmla="*/ 21 h 10021"/>
                <a:gd name="connsiteX81" fmla="*/ 1401 w 10000"/>
                <a:gd name="connsiteY81" fmla="*/ 0 h 10021"/>
                <a:gd name="connsiteX82" fmla="*/ 1305 w 10000"/>
                <a:gd name="connsiteY82" fmla="*/ 149 h 10021"/>
                <a:gd name="connsiteX83" fmla="*/ 1223 w 10000"/>
                <a:gd name="connsiteY83" fmla="*/ 241 h 10021"/>
                <a:gd name="connsiteX84" fmla="*/ 1149 w 10000"/>
                <a:gd name="connsiteY84" fmla="*/ 337 h 10021"/>
                <a:gd name="connsiteX85" fmla="*/ 1067 w 10000"/>
                <a:gd name="connsiteY85" fmla="*/ 433 h 10021"/>
                <a:gd name="connsiteX86" fmla="*/ 1001 w 10000"/>
                <a:gd name="connsiteY86" fmla="*/ 530 h 10021"/>
                <a:gd name="connsiteX87" fmla="*/ 927 w 10000"/>
                <a:gd name="connsiteY87" fmla="*/ 626 h 10021"/>
                <a:gd name="connsiteX88" fmla="*/ 860 w 10000"/>
                <a:gd name="connsiteY88" fmla="*/ 727 h 10021"/>
                <a:gd name="connsiteX89" fmla="*/ 793 w 10000"/>
                <a:gd name="connsiteY89" fmla="*/ 828 h 10021"/>
                <a:gd name="connsiteX90" fmla="*/ 734 w 10000"/>
                <a:gd name="connsiteY90" fmla="*/ 924 h 10021"/>
                <a:gd name="connsiteX91" fmla="*/ 675 w 10000"/>
                <a:gd name="connsiteY91" fmla="*/ 1025 h 10021"/>
                <a:gd name="connsiteX92" fmla="*/ 615 w 10000"/>
                <a:gd name="connsiteY92" fmla="*/ 1125 h 10021"/>
                <a:gd name="connsiteX93" fmla="*/ 556 w 10000"/>
                <a:gd name="connsiteY93" fmla="*/ 1231 h 10021"/>
                <a:gd name="connsiteX94" fmla="*/ 504 w 10000"/>
                <a:gd name="connsiteY94" fmla="*/ 1327 h 10021"/>
                <a:gd name="connsiteX95" fmla="*/ 452 w 10000"/>
                <a:gd name="connsiteY95" fmla="*/ 1433 h 10021"/>
                <a:gd name="connsiteX96" fmla="*/ 408 w 10000"/>
                <a:gd name="connsiteY96" fmla="*/ 1533 h 10021"/>
                <a:gd name="connsiteX97" fmla="*/ 363 w 10000"/>
                <a:gd name="connsiteY97" fmla="*/ 1639 h 10021"/>
                <a:gd name="connsiteX98" fmla="*/ 319 w 10000"/>
                <a:gd name="connsiteY98" fmla="*/ 1744 h 10021"/>
                <a:gd name="connsiteX99" fmla="*/ 282 w 10000"/>
                <a:gd name="connsiteY99" fmla="*/ 1850 h 10021"/>
                <a:gd name="connsiteX100" fmla="*/ 237 w 10000"/>
                <a:gd name="connsiteY100" fmla="*/ 1960 h 10021"/>
                <a:gd name="connsiteX101" fmla="*/ 208 w 10000"/>
                <a:gd name="connsiteY101" fmla="*/ 2065 h 10021"/>
                <a:gd name="connsiteX102" fmla="*/ 170 w 10000"/>
                <a:gd name="connsiteY102" fmla="*/ 2175 h 10021"/>
                <a:gd name="connsiteX103" fmla="*/ 148 w 10000"/>
                <a:gd name="connsiteY103" fmla="*/ 2285 h 10021"/>
                <a:gd name="connsiteX104" fmla="*/ 119 w 10000"/>
                <a:gd name="connsiteY104" fmla="*/ 2390 h 10021"/>
                <a:gd name="connsiteX105" fmla="*/ 96 w 10000"/>
                <a:gd name="connsiteY105" fmla="*/ 2500 h 10021"/>
                <a:gd name="connsiteX106" fmla="*/ 74 w 10000"/>
                <a:gd name="connsiteY106" fmla="*/ 2610 h 10021"/>
                <a:gd name="connsiteX107" fmla="*/ 52 w 10000"/>
                <a:gd name="connsiteY107" fmla="*/ 2725 h 10021"/>
                <a:gd name="connsiteX108" fmla="*/ 37 w 10000"/>
                <a:gd name="connsiteY108" fmla="*/ 2835 h 10021"/>
                <a:gd name="connsiteX109" fmla="*/ 22 w 10000"/>
                <a:gd name="connsiteY109" fmla="*/ 2945 h 10021"/>
                <a:gd name="connsiteX110" fmla="*/ 15 w 10000"/>
                <a:gd name="connsiteY110" fmla="*/ 3055 h 10021"/>
                <a:gd name="connsiteX111" fmla="*/ 7 w 10000"/>
                <a:gd name="connsiteY111" fmla="*/ 3169 h 10021"/>
                <a:gd name="connsiteX112" fmla="*/ 0 w 10000"/>
                <a:gd name="connsiteY112" fmla="*/ 3279 h 10021"/>
                <a:gd name="connsiteX113" fmla="*/ 0 w 10000"/>
                <a:gd name="connsiteY113" fmla="*/ 3394 h 10021"/>
                <a:gd name="connsiteX114" fmla="*/ 7 w 10000"/>
                <a:gd name="connsiteY114" fmla="*/ 3541 h 10021"/>
                <a:gd name="connsiteX115" fmla="*/ 7 w 10000"/>
                <a:gd name="connsiteY115" fmla="*/ 3687 h 10021"/>
                <a:gd name="connsiteX116" fmla="*/ 22 w 10000"/>
                <a:gd name="connsiteY116" fmla="*/ 3825 h 10021"/>
                <a:gd name="connsiteX117" fmla="*/ 37 w 10000"/>
                <a:gd name="connsiteY117" fmla="*/ 3967 h 10021"/>
                <a:gd name="connsiteX118" fmla="*/ 59 w 10000"/>
                <a:gd name="connsiteY118" fmla="*/ 4109 h 10021"/>
                <a:gd name="connsiteX119" fmla="*/ 89 w 10000"/>
                <a:gd name="connsiteY119" fmla="*/ 4251 h 10021"/>
                <a:gd name="connsiteX120" fmla="*/ 119 w 10000"/>
                <a:gd name="connsiteY120" fmla="*/ 4393 h 10021"/>
                <a:gd name="connsiteX121" fmla="*/ 148 w 10000"/>
                <a:gd name="connsiteY121" fmla="*/ 4535 h 10021"/>
                <a:gd name="connsiteX122" fmla="*/ 193 w 10000"/>
                <a:gd name="connsiteY122" fmla="*/ 4673 h 10021"/>
                <a:gd name="connsiteX123" fmla="*/ 237 w 10000"/>
                <a:gd name="connsiteY123" fmla="*/ 4810 h 10021"/>
                <a:gd name="connsiteX124" fmla="*/ 282 w 10000"/>
                <a:gd name="connsiteY124" fmla="*/ 4948 h 10021"/>
                <a:gd name="connsiteX125" fmla="*/ 334 w 10000"/>
                <a:gd name="connsiteY125" fmla="*/ 5085 h 10021"/>
                <a:gd name="connsiteX126" fmla="*/ 393 w 10000"/>
                <a:gd name="connsiteY126" fmla="*/ 5218 h 10021"/>
                <a:gd name="connsiteX127" fmla="*/ 452 w 10000"/>
                <a:gd name="connsiteY127" fmla="*/ 5351 h 10021"/>
                <a:gd name="connsiteX128" fmla="*/ 519 w 10000"/>
                <a:gd name="connsiteY128" fmla="*/ 5484 h 10021"/>
                <a:gd name="connsiteX129" fmla="*/ 586 w 10000"/>
                <a:gd name="connsiteY129" fmla="*/ 5617 h 10021"/>
                <a:gd name="connsiteX130" fmla="*/ 660 w 10000"/>
                <a:gd name="connsiteY130" fmla="*/ 5745 h 10021"/>
                <a:gd name="connsiteX131" fmla="*/ 741 w 10000"/>
                <a:gd name="connsiteY131" fmla="*/ 5873 h 10021"/>
                <a:gd name="connsiteX132" fmla="*/ 823 w 10000"/>
                <a:gd name="connsiteY132" fmla="*/ 6006 h 10021"/>
                <a:gd name="connsiteX133" fmla="*/ 904 w 10000"/>
                <a:gd name="connsiteY133" fmla="*/ 6130 h 10021"/>
                <a:gd name="connsiteX134" fmla="*/ 993 w 10000"/>
                <a:gd name="connsiteY134" fmla="*/ 6254 h 10021"/>
                <a:gd name="connsiteX135" fmla="*/ 1090 w 10000"/>
                <a:gd name="connsiteY135" fmla="*/ 6373 h 10021"/>
                <a:gd name="connsiteX136" fmla="*/ 1186 w 10000"/>
                <a:gd name="connsiteY136" fmla="*/ 6497 h 10021"/>
                <a:gd name="connsiteX137" fmla="*/ 1290 w 10000"/>
                <a:gd name="connsiteY137" fmla="*/ 6620 h 10021"/>
                <a:gd name="connsiteX138" fmla="*/ 1386 w 10000"/>
                <a:gd name="connsiteY138" fmla="*/ 6740 h 10021"/>
                <a:gd name="connsiteX139" fmla="*/ 1497 w 10000"/>
                <a:gd name="connsiteY139" fmla="*/ 6859 h 10021"/>
                <a:gd name="connsiteX140" fmla="*/ 1609 w 10000"/>
                <a:gd name="connsiteY140" fmla="*/ 6973 h 10021"/>
                <a:gd name="connsiteX141" fmla="*/ 1727 w 10000"/>
                <a:gd name="connsiteY141" fmla="*/ 7092 h 10021"/>
                <a:gd name="connsiteX142" fmla="*/ 1846 w 10000"/>
                <a:gd name="connsiteY142" fmla="*/ 7207 h 10021"/>
                <a:gd name="connsiteX143" fmla="*/ 1964 w 10000"/>
                <a:gd name="connsiteY143" fmla="*/ 7317 h 10021"/>
                <a:gd name="connsiteX144" fmla="*/ 2090 w 10000"/>
                <a:gd name="connsiteY144" fmla="*/ 7427 h 10021"/>
                <a:gd name="connsiteX145" fmla="*/ 2224 w 10000"/>
                <a:gd name="connsiteY145" fmla="*/ 7537 h 10021"/>
                <a:gd name="connsiteX146" fmla="*/ 2350 w 10000"/>
                <a:gd name="connsiteY146" fmla="*/ 7647 h 10021"/>
                <a:gd name="connsiteX147" fmla="*/ 2491 w 10000"/>
                <a:gd name="connsiteY147" fmla="*/ 7752 h 10021"/>
                <a:gd name="connsiteX148" fmla="*/ 2617 w 10000"/>
                <a:gd name="connsiteY148" fmla="*/ 7858 h 10021"/>
                <a:gd name="connsiteX149" fmla="*/ 2765 w 10000"/>
                <a:gd name="connsiteY149" fmla="*/ 7959 h 10021"/>
                <a:gd name="connsiteX150" fmla="*/ 2906 w 10000"/>
                <a:gd name="connsiteY150" fmla="*/ 8059 h 10021"/>
                <a:gd name="connsiteX151" fmla="*/ 3054 w 10000"/>
                <a:gd name="connsiteY151" fmla="*/ 8160 h 10021"/>
                <a:gd name="connsiteX152" fmla="*/ 3210 w 10000"/>
                <a:gd name="connsiteY152" fmla="*/ 8257 h 10021"/>
                <a:gd name="connsiteX153" fmla="*/ 3358 w 10000"/>
                <a:gd name="connsiteY153" fmla="*/ 8353 h 10021"/>
                <a:gd name="connsiteX154" fmla="*/ 3514 w 10000"/>
                <a:gd name="connsiteY154" fmla="*/ 8449 h 10021"/>
                <a:gd name="connsiteX155" fmla="*/ 3677 w 10000"/>
                <a:gd name="connsiteY155" fmla="*/ 8541 h 10021"/>
                <a:gd name="connsiteX156" fmla="*/ 3840 w 10000"/>
                <a:gd name="connsiteY156" fmla="*/ 8628 h 10021"/>
                <a:gd name="connsiteX157" fmla="*/ 4010 w 10000"/>
                <a:gd name="connsiteY157" fmla="*/ 8719 h 10021"/>
                <a:gd name="connsiteX158" fmla="*/ 4181 w 10000"/>
                <a:gd name="connsiteY158" fmla="*/ 8797 h 10021"/>
                <a:gd name="connsiteX159" fmla="*/ 4351 w 10000"/>
                <a:gd name="connsiteY159" fmla="*/ 8884 h 10021"/>
                <a:gd name="connsiteX160" fmla="*/ 4522 w 10000"/>
                <a:gd name="connsiteY160" fmla="*/ 8962 h 10021"/>
                <a:gd name="connsiteX161" fmla="*/ 4700 w 10000"/>
                <a:gd name="connsiteY161" fmla="*/ 9045 h 10021"/>
                <a:gd name="connsiteX162" fmla="*/ 4878 w 10000"/>
                <a:gd name="connsiteY162" fmla="*/ 9123 h 10021"/>
                <a:gd name="connsiteX163" fmla="*/ 5063 w 10000"/>
                <a:gd name="connsiteY163" fmla="*/ 9196 h 10021"/>
                <a:gd name="connsiteX164" fmla="*/ 5248 w 10000"/>
                <a:gd name="connsiteY164" fmla="*/ 9274 h 10021"/>
                <a:gd name="connsiteX165" fmla="*/ 5426 w 10000"/>
                <a:gd name="connsiteY165" fmla="*/ 9343 h 10021"/>
                <a:gd name="connsiteX166" fmla="*/ 5619 w 10000"/>
                <a:gd name="connsiteY166" fmla="*/ 9411 h 10021"/>
                <a:gd name="connsiteX167" fmla="*/ 5812 w 10000"/>
                <a:gd name="connsiteY167" fmla="*/ 9480 h 10021"/>
                <a:gd name="connsiteX168" fmla="*/ 6004 w 10000"/>
                <a:gd name="connsiteY168" fmla="*/ 9544 h 10021"/>
                <a:gd name="connsiteX169" fmla="*/ 6205 w 10000"/>
                <a:gd name="connsiteY169" fmla="*/ 9609 h 10021"/>
                <a:gd name="connsiteX170" fmla="*/ 6397 w 10000"/>
                <a:gd name="connsiteY170" fmla="*/ 9668 h 10021"/>
                <a:gd name="connsiteX171" fmla="*/ 6605 w 10000"/>
                <a:gd name="connsiteY171" fmla="*/ 9723 h 10021"/>
                <a:gd name="connsiteX172" fmla="*/ 6805 w 10000"/>
                <a:gd name="connsiteY172" fmla="*/ 9778 h 10021"/>
                <a:gd name="connsiteX173" fmla="*/ 7005 w 10000"/>
                <a:gd name="connsiteY173" fmla="*/ 9833 h 10021"/>
                <a:gd name="connsiteX174" fmla="*/ 7213 w 10000"/>
                <a:gd name="connsiteY174" fmla="*/ 9884 h 10021"/>
                <a:gd name="connsiteX175" fmla="*/ 7420 w 10000"/>
                <a:gd name="connsiteY175" fmla="*/ 9929 h 10021"/>
                <a:gd name="connsiteX176" fmla="*/ 7628 w 10000"/>
                <a:gd name="connsiteY176" fmla="*/ 9975 h 10021"/>
                <a:gd name="connsiteX177" fmla="*/ 7835 w 10000"/>
                <a:gd name="connsiteY177" fmla="*/ 10021 h 10021"/>
                <a:gd name="connsiteX178" fmla="*/ 7539 w 10000"/>
                <a:gd name="connsiteY178" fmla="*/ 7775 h 10021"/>
                <a:gd name="connsiteX179" fmla="*/ 10000 w 10000"/>
                <a:gd name="connsiteY179" fmla="*/ 6162 h 10021"/>
                <a:gd name="connsiteX0" fmla="*/ 10000 w 10000"/>
                <a:gd name="connsiteY0" fmla="*/ 6162 h 10021"/>
                <a:gd name="connsiteX1" fmla="*/ 10000 w 10000"/>
                <a:gd name="connsiteY1" fmla="*/ 6162 h 10021"/>
                <a:gd name="connsiteX2" fmla="*/ 9911 w 10000"/>
                <a:gd name="connsiteY2" fmla="*/ 6148 h 10021"/>
                <a:gd name="connsiteX3" fmla="*/ 9815 w 10000"/>
                <a:gd name="connsiteY3" fmla="*/ 6130 h 10021"/>
                <a:gd name="connsiteX4" fmla="*/ 9726 w 10000"/>
                <a:gd name="connsiteY4" fmla="*/ 6112 h 10021"/>
                <a:gd name="connsiteX5" fmla="*/ 9637 w 10000"/>
                <a:gd name="connsiteY5" fmla="*/ 6089 h 10021"/>
                <a:gd name="connsiteX6" fmla="*/ 9548 w 10000"/>
                <a:gd name="connsiteY6" fmla="*/ 6070 h 10021"/>
                <a:gd name="connsiteX7" fmla="*/ 9466 w 10000"/>
                <a:gd name="connsiteY7" fmla="*/ 6048 h 10021"/>
                <a:gd name="connsiteX8" fmla="*/ 9377 w 10000"/>
                <a:gd name="connsiteY8" fmla="*/ 6025 h 10021"/>
                <a:gd name="connsiteX9" fmla="*/ 9288 w 10000"/>
                <a:gd name="connsiteY9" fmla="*/ 6002 h 10021"/>
                <a:gd name="connsiteX10" fmla="*/ 9118 w 10000"/>
                <a:gd name="connsiteY10" fmla="*/ 5951 h 10021"/>
                <a:gd name="connsiteX11" fmla="*/ 8955 w 10000"/>
                <a:gd name="connsiteY11" fmla="*/ 5896 h 10021"/>
                <a:gd name="connsiteX12" fmla="*/ 8792 w 10000"/>
                <a:gd name="connsiteY12" fmla="*/ 5837 h 10021"/>
                <a:gd name="connsiteX13" fmla="*/ 8636 w 10000"/>
                <a:gd name="connsiteY13" fmla="*/ 5773 h 10021"/>
                <a:gd name="connsiteX14" fmla="*/ 8480 w 10000"/>
                <a:gd name="connsiteY14" fmla="*/ 5708 h 10021"/>
                <a:gd name="connsiteX15" fmla="*/ 8340 w 10000"/>
                <a:gd name="connsiteY15" fmla="*/ 5640 h 10021"/>
                <a:gd name="connsiteX16" fmla="*/ 8199 w 10000"/>
                <a:gd name="connsiteY16" fmla="*/ 5566 h 10021"/>
                <a:gd name="connsiteX17" fmla="*/ 8058 w 10000"/>
                <a:gd name="connsiteY17" fmla="*/ 5488 h 10021"/>
                <a:gd name="connsiteX18" fmla="*/ 7924 w 10000"/>
                <a:gd name="connsiteY18" fmla="*/ 5406 h 10021"/>
                <a:gd name="connsiteX19" fmla="*/ 7798 w 10000"/>
                <a:gd name="connsiteY19" fmla="*/ 5323 h 10021"/>
                <a:gd name="connsiteX20" fmla="*/ 7672 w 10000"/>
                <a:gd name="connsiteY20" fmla="*/ 5236 h 10021"/>
                <a:gd name="connsiteX21" fmla="*/ 7554 w 10000"/>
                <a:gd name="connsiteY21" fmla="*/ 5149 h 10021"/>
                <a:gd name="connsiteX22" fmla="*/ 7450 w 10000"/>
                <a:gd name="connsiteY22" fmla="*/ 5053 h 10021"/>
                <a:gd name="connsiteX23" fmla="*/ 7346 w 10000"/>
                <a:gd name="connsiteY23" fmla="*/ 4957 h 10021"/>
                <a:gd name="connsiteX24" fmla="*/ 7250 w 10000"/>
                <a:gd name="connsiteY24" fmla="*/ 4861 h 10021"/>
                <a:gd name="connsiteX25" fmla="*/ 7161 w 10000"/>
                <a:gd name="connsiteY25" fmla="*/ 4760 h 10021"/>
                <a:gd name="connsiteX26" fmla="*/ 7072 w 10000"/>
                <a:gd name="connsiteY26" fmla="*/ 4659 h 10021"/>
                <a:gd name="connsiteX27" fmla="*/ 6990 w 10000"/>
                <a:gd name="connsiteY27" fmla="*/ 4549 h 10021"/>
                <a:gd name="connsiteX28" fmla="*/ 6953 w 10000"/>
                <a:gd name="connsiteY28" fmla="*/ 4499 h 10021"/>
                <a:gd name="connsiteX29" fmla="*/ 6916 w 10000"/>
                <a:gd name="connsiteY29" fmla="*/ 4444 h 10021"/>
                <a:gd name="connsiteX30" fmla="*/ 6887 w 10000"/>
                <a:gd name="connsiteY30" fmla="*/ 4389 h 10021"/>
                <a:gd name="connsiteX31" fmla="*/ 6850 w 10000"/>
                <a:gd name="connsiteY31" fmla="*/ 4334 h 10021"/>
                <a:gd name="connsiteX32" fmla="*/ 6820 w 10000"/>
                <a:gd name="connsiteY32" fmla="*/ 4279 h 10021"/>
                <a:gd name="connsiteX33" fmla="*/ 6790 w 10000"/>
                <a:gd name="connsiteY33" fmla="*/ 4224 h 10021"/>
                <a:gd name="connsiteX34" fmla="*/ 6768 w 10000"/>
                <a:gd name="connsiteY34" fmla="*/ 4164 h 10021"/>
                <a:gd name="connsiteX35" fmla="*/ 6738 w 10000"/>
                <a:gd name="connsiteY35" fmla="*/ 4109 h 10021"/>
                <a:gd name="connsiteX36" fmla="*/ 6723 w 10000"/>
                <a:gd name="connsiteY36" fmla="*/ 4049 h 10021"/>
                <a:gd name="connsiteX37" fmla="*/ 6694 w 10000"/>
                <a:gd name="connsiteY37" fmla="*/ 3994 h 10021"/>
                <a:gd name="connsiteX38" fmla="*/ 6679 w 10000"/>
                <a:gd name="connsiteY38" fmla="*/ 3935 h 10021"/>
                <a:gd name="connsiteX39" fmla="*/ 6664 w 10000"/>
                <a:gd name="connsiteY39" fmla="*/ 3875 h 10021"/>
                <a:gd name="connsiteX40" fmla="*/ 6649 w 10000"/>
                <a:gd name="connsiteY40" fmla="*/ 3816 h 10021"/>
                <a:gd name="connsiteX41" fmla="*/ 6635 w 10000"/>
                <a:gd name="connsiteY41" fmla="*/ 3761 h 10021"/>
                <a:gd name="connsiteX42" fmla="*/ 6620 w 10000"/>
                <a:gd name="connsiteY42" fmla="*/ 3701 h 10021"/>
                <a:gd name="connsiteX43" fmla="*/ 6612 w 10000"/>
                <a:gd name="connsiteY43" fmla="*/ 3642 h 10021"/>
                <a:gd name="connsiteX44" fmla="*/ 6605 w 10000"/>
                <a:gd name="connsiteY44" fmla="*/ 3582 h 10021"/>
                <a:gd name="connsiteX45" fmla="*/ 6597 w 10000"/>
                <a:gd name="connsiteY45" fmla="*/ 3518 h 10021"/>
                <a:gd name="connsiteX46" fmla="*/ 6597 w 10000"/>
                <a:gd name="connsiteY46" fmla="*/ 3458 h 10021"/>
                <a:gd name="connsiteX47" fmla="*/ 6590 w 10000"/>
                <a:gd name="connsiteY47" fmla="*/ 3394 h 10021"/>
                <a:gd name="connsiteX48" fmla="*/ 6597 w 10000"/>
                <a:gd name="connsiteY48" fmla="*/ 3334 h 10021"/>
                <a:gd name="connsiteX49" fmla="*/ 6605 w 10000"/>
                <a:gd name="connsiteY49" fmla="*/ 3266 h 10021"/>
                <a:gd name="connsiteX50" fmla="*/ 6605 w 10000"/>
                <a:gd name="connsiteY50" fmla="*/ 3202 h 10021"/>
                <a:gd name="connsiteX51" fmla="*/ 6612 w 10000"/>
                <a:gd name="connsiteY51" fmla="*/ 3137 h 10021"/>
                <a:gd name="connsiteX52" fmla="*/ 6620 w 10000"/>
                <a:gd name="connsiteY52" fmla="*/ 3073 h 10021"/>
                <a:gd name="connsiteX53" fmla="*/ 6635 w 10000"/>
                <a:gd name="connsiteY53" fmla="*/ 3014 h 10021"/>
                <a:gd name="connsiteX54" fmla="*/ 6649 w 10000"/>
                <a:gd name="connsiteY54" fmla="*/ 2950 h 10021"/>
                <a:gd name="connsiteX55" fmla="*/ 6664 w 10000"/>
                <a:gd name="connsiteY55" fmla="*/ 2890 h 10021"/>
                <a:gd name="connsiteX56" fmla="*/ 6686 w 10000"/>
                <a:gd name="connsiteY56" fmla="*/ 2826 h 10021"/>
                <a:gd name="connsiteX57" fmla="*/ 6709 w 10000"/>
                <a:gd name="connsiteY57" fmla="*/ 2766 h 10021"/>
                <a:gd name="connsiteX58" fmla="*/ 6731 w 10000"/>
                <a:gd name="connsiteY58" fmla="*/ 2707 h 10021"/>
                <a:gd name="connsiteX59" fmla="*/ 6753 w 10000"/>
                <a:gd name="connsiteY59" fmla="*/ 2642 h 10021"/>
                <a:gd name="connsiteX60" fmla="*/ 6783 w 10000"/>
                <a:gd name="connsiteY60" fmla="*/ 2587 h 10021"/>
                <a:gd name="connsiteX61" fmla="*/ 6812 w 10000"/>
                <a:gd name="connsiteY61" fmla="*/ 2528 h 10021"/>
                <a:gd name="connsiteX62" fmla="*/ 6842 w 10000"/>
                <a:gd name="connsiteY62" fmla="*/ 2468 h 10021"/>
                <a:gd name="connsiteX63" fmla="*/ 6879 w 10000"/>
                <a:gd name="connsiteY63" fmla="*/ 2409 h 10021"/>
                <a:gd name="connsiteX64" fmla="*/ 6909 w 10000"/>
                <a:gd name="connsiteY64" fmla="*/ 2354 h 10021"/>
                <a:gd name="connsiteX65" fmla="*/ 6946 w 10000"/>
                <a:gd name="connsiteY65" fmla="*/ 2294 h 10021"/>
                <a:gd name="connsiteX66" fmla="*/ 6990 w 10000"/>
                <a:gd name="connsiteY66" fmla="*/ 2239 h 10021"/>
                <a:gd name="connsiteX67" fmla="*/ 7027 w 10000"/>
                <a:gd name="connsiteY67" fmla="*/ 2184 h 10021"/>
                <a:gd name="connsiteX68" fmla="*/ 7072 w 10000"/>
                <a:gd name="connsiteY68" fmla="*/ 2129 h 10021"/>
                <a:gd name="connsiteX69" fmla="*/ 7109 w 10000"/>
                <a:gd name="connsiteY69" fmla="*/ 2074 h 10021"/>
                <a:gd name="connsiteX70" fmla="*/ 7161 w 10000"/>
                <a:gd name="connsiteY70" fmla="*/ 2024 h 10021"/>
                <a:gd name="connsiteX71" fmla="*/ 7213 w 10000"/>
                <a:gd name="connsiteY71" fmla="*/ 1969 h 10021"/>
                <a:gd name="connsiteX72" fmla="*/ 7257 w 10000"/>
                <a:gd name="connsiteY72" fmla="*/ 1914 h 10021"/>
                <a:gd name="connsiteX73" fmla="*/ 7309 w 10000"/>
                <a:gd name="connsiteY73" fmla="*/ 1863 h 10021"/>
                <a:gd name="connsiteX74" fmla="*/ 7361 w 10000"/>
                <a:gd name="connsiteY74" fmla="*/ 1813 h 10021"/>
                <a:gd name="connsiteX75" fmla="*/ 7413 w 10000"/>
                <a:gd name="connsiteY75" fmla="*/ 1763 h 10021"/>
                <a:gd name="connsiteX76" fmla="*/ 7472 w 10000"/>
                <a:gd name="connsiteY76" fmla="*/ 1712 h 10021"/>
                <a:gd name="connsiteX77" fmla="*/ 7524 w 10000"/>
                <a:gd name="connsiteY77" fmla="*/ 1666 h 10021"/>
                <a:gd name="connsiteX78" fmla="*/ 7583 w 10000"/>
                <a:gd name="connsiteY78" fmla="*/ 1620 h 10021"/>
                <a:gd name="connsiteX79" fmla="*/ 7643 w 10000"/>
                <a:gd name="connsiteY79" fmla="*/ 1570 h 10021"/>
                <a:gd name="connsiteX80" fmla="*/ 5423 w 10000"/>
                <a:gd name="connsiteY80" fmla="*/ 28 h 10021"/>
                <a:gd name="connsiteX81" fmla="*/ 1401 w 10000"/>
                <a:gd name="connsiteY81" fmla="*/ 0 h 10021"/>
                <a:gd name="connsiteX82" fmla="*/ 1305 w 10000"/>
                <a:gd name="connsiteY82" fmla="*/ 149 h 10021"/>
                <a:gd name="connsiteX83" fmla="*/ 1223 w 10000"/>
                <a:gd name="connsiteY83" fmla="*/ 241 h 10021"/>
                <a:gd name="connsiteX84" fmla="*/ 1149 w 10000"/>
                <a:gd name="connsiteY84" fmla="*/ 337 h 10021"/>
                <a:gd name="connsiteX85" fmla="*/ 1067 w 10000"/>
                <a:gd name="connsiteY85" fmla="*/ 433 h 10021"/>
                <a:gd name="connsiteX86" fmla="*/ 1001 w 10000"/>
                <a:gd name="connsiteY86" fmla="*/ 530 h 10021"/>
                <a:gd name="connsiteX87" fmla="*/ 927 w 10000"/>
                <a:gd name="connsiteY87" fmla="*/ 626 h 10021"/>
                <a:gd name="connsiteX88" fmla="*/ 860 w 10000"/>
                <a:gd name="connsiteY88" fmla="*/ 727 h 10021"/>
                <a:gd name="connsiteX89" fmla="*/ 793 w 10000"/>
                <a:gd name="connsiteY89" fmla="*/ 828 h 10021"/>
                <a:gd name="connsiteX90" fmla="*/ 734 w 10000"/>
                <a:gd name="connsiteY90" fmla="*/ 924 h 10021"/>
                <a:gd name="connsiteX91" fmla="*/ 675 w 10000"/>
                <a:gd name="connsiteY91" fmla="*/ 1025 h 10021"/>
                <a:gd name="connsiteX92" fmla="*/ 615 w 10000"/>
                <a:gd name="connsiteY92" fmla="*/ 1125 h 10021"/>
                <a:gd name="connsiteX93" fmla="*/ 556 w 10000"/>
                <a:gd name="connsiteY93" fmla="*/ 1231 h 10021"/>
                <a:gd name="connsiteX94" fmla="*/ 504 w 10000"/>
                <a:gd name="connsiteY94" fmla="*/ 1327 h 10021"/>
                <a:gd name="connsiteX95" fmla="*/ 452 w 10000"/>
                <a:gd name="connsiteY95" fmla="*/ 1433 h 10021"/>
                <a:gd name="connsiteX96" fmla="*/ 408 w 10000"/>
                <a:gd name="connsiteY96" fmla="*/ 1533 h 10021"/>
                <a:gd name="connsiteX97" fmla="*/ 363 w 10000"/>
                <a:gd name="connsiteY97" fmla="*/ 1639 h 10021"/>
                <a:gd name="connsiteX98" fmla="*/ 319 w 10000"/>
                <a:gd name="connsiteY98" fmla="*/ 1744 h 10021"/>
                <a:gd name="connsiteX99" fmla="*/ 282 w 10000"/>
                <a:gd name="connsiteY99" fmla="*/ 1850 h 10021"/>
                <a:gd name="connsiteX100" fmla="*/ 237 w 10000"/>
                <a:gd name="connsiteY100" fmla="*/ 1960 h 10021"/>
                <a:gd name="connsiteX101" fmla="*/ 208 w 10000"/>
                <a:gd name="connsiteY101" fmla="*/ 2065 h 10021"/>
                <a:gd name="connsiteX102" fmla="*/ 170 w 10000"/>
                <a:gd name="connsiteY102" fmla="*/ 2175 h 10021"/>
                <a:gd name="connsiteX103" fmla="*/ 148 w 10000"/>
                <a:gd name="connsiteY103" fmla="*/ 2285 h 10021"/>
                <a:gd name="connsiteX104" fmla="*/ 119 w 10000"/>
                <a:gd name="connsiteY104" fmla="*/ 2390 h 10021"/>
                <a:gd name="connsiteX105" fmla="*/ 96 w 10000"/>
                <a:gd name="connsiteY105" fmla="*/ 2500 h 10021"/>
                <a:gd name="connsiteX106" fmla="*/ 74 w 10000"/>
                <a:gd name="connsiteY106" fmla="*/ 2610 h 10021"/>
                <a:gd name="connsiteX107" fmla="*/ 52 w 10000"/>
                <a:gd name="connsiteY107" fmla="*/ 2725 h 10021"/>
                <a:gd name="connsiteX108" fmla="*/ 37 w 10000"/>
                <a:gd name="connsiteY108" fmla="*/ 2835 h 10021"/>
                <a:gd name="connsiteX109" fmla="*/ 22 w 10000"/>
                <a:gd name="connsiteY109" fmla="*/ 2945 h 10021"/>
                <a:gd name="connsiteX110" fmla="*/ 15 w 10000"/>
                <a:gd name="connsiteY110" fmla="*/ 3055 h 10021"/>
                <a:gd name="connsiteX111" fmla="*/ 7 w 10000"/>
                <a:gd name="connsiteY111" fmla="*/ 3169 h 10021"/>
                <a:gd name="connsiteX112" fmla="*/ 0 w 10000"/>
                <a:gd name="connsiteY112" fmla="*/ 3279 h 10021"/>
                <a:gd name="connsiteX113" fmla="*/ 0 w 10000"/>
                <a:gd name="connsiteY113" fmla="*/ 3394 h 10021"/>
                <a:gd name="connsiteX114" fmla="*/ 7 w 10000"/>
                <a:gd name="connsiteY114" fmla="*/ 3541 h 10021"/>
                <a:gd name="connsiteX115" fmla="*/ 7 w 10000"/>
                <a:gd name="connsiteY115" fmla="*/ 3687 h 10021"/>
                <a:gd name="connsiteX116" fmla="*/ 22 w 10000"/>
                <a:gd name="connsiteY116" fmla="*/ 3825 h 10021"/>
                <a:gd name="connsiteX117" fmla="*/ 37 w 10000"/>
                <a:gd name="connsiteY117" fmla="*/ 3967 h 10021"/>
                <a:gd name="connsiteX118" fmla="*/ 59 w 10000"/>
                <a:gd name="connsiteY118" fmla="*/ 4109 h 10021"/>
                <a:gd name="connsiteX119" fmla="*/ 89 w 10000"/>
                <a:gd name="connsiteY119" fmla="*/ 4251 h 10021"/>
                <a:gd name="connsiteX120" fmla="*/ 119 w 10000"/>
                <a:gd name="connsiteY120" fmla="*/ 4393 h 10021"/>
                <a:gd name="connsiteX121" fmla="*/ 148 w 10000"/>
                <a:gd name="connsiteY121" fmla="*/ 4535 h 10021"/>
                <a:gd name="connsiteX122" fmla="*/ 193 w 10000"/>
                <a:gd name="connsiteY122" fmla="*/ 4673 h 10021"/>
                <a:gd name="connsiteX123" fmla="*/ 237 w 10000"/>
                <a:gd name="connsiteY123" fmla="*/ 4810 h 10021"/>
                <a:gd name="connsiteX124" fmla="*/ 282 w 10000"/>
                <a:gd name="connsiteY124" fmla="*/ 4948 h 10021"/>
                <a:gd name="connsiteX125" fmla="*/ 334 w 10000"/>
                <a:gd name="connsiteY125" fmla="*/ 5085 h 10021"/>
                <a:gd name="connsiteX126" fmla="*/ 393 w 10000"/>
                <a:gd name="connsiteY126" fmla="*/ 5218 h 10021"/>
                <a:gd name="connsiteX127" fmla="*/ 452 w 10000"/>
                <a:gd name="connsiteY127" fmla="*/ 5351 h 10021"/>
                <a:gd name="connsiteX128" fmla="*/ 519 w 10000"/>
                <a:gd name="connsiteY128" fmla="*/ 5484 h 10021"/>
                <a:gd name="connsiteX129" fmla="*/ 586 w 10000"/>
                <a:gd name="connsiteY129" fmla="*/ 5617 h 10021"/>
                <a:gd name="connsiteX130" fmla="*/ 660 w 10000"/>
                <a:gd name="connsiteY130" fmla="*/ 5745 h 10021"/>
                <a:gd name="connsiteX131" fmla="*/ 741 w 10000"/>
                <a:gd name="connsiteY131" fmla="*/ 5873 h 10021"/>
                <a:gd name="connsiteX132" fmla="*/ 823 w 10000"/>
                <a:gd name="connsiteY132" fmla="*/ 6006 h 10021"/>
                <a:gd name="connsiteX133" fmla="*/ 904 w 10000"/>
                <a:gd name="connsiteY133" fmla="*/ 6130 h 10021"/>
                <a:gd name="connsiteX134" fmla="*/ 993 w 10000"/>
                <a:gd name="connsiteY134" fmla="*/ 6254 h 10021"/>
                <a:gd name="connsiteX135" fmla="*/ 1090 w 10000"/>
                <a:gd name="connsiteY135" fmla="*/ 6373 h 10021"/>
                <a:gd name="connsiteX136" fmla="*/ 1186 w 10000"/>
                <a:gd name="connsiteY136" fmla="*/ 6497 h 10021"/>
                <a:gd name="connsiteX137" fmla="*/ 1290 w 10000"/>
                <a:gd name="connsiteY137" fmla="*/ 6620 h 10021"/>
                <a:gd name="connsiteX138" fmla="*/ 1386 w 10000"/>
                <a:gd name="connsiteY138" fmla="*/ 6740 h 10021"/>
                <a:gd name="connsiteX139" fmla="*/ 1497 w 10000"/>
                <a:gd name="connsiteY139" fmla="*/ 6859 h 10021"/>
                <a:gd name="connsiteX140" fmla="*/ 1609 w 10000"/>
                <a:gd name="connsiteY140" fmla="*/ 6973 h 10021"/>
                <a:gd name="connsiteX141" fmla="*/ 1727 w 10000"/>
                <a:gd name="connsiteY141" fmla="*/ 7092 h 10021"/>
                <a:gd name="connsiteX142" fmla="*/ 1846 w 10000"/>
                <a:gd name="connsiteY142" fmla="*/ 7207 h 10021"/>
                <a:gd name="connsiteX143" fmla="*/ 1964 w 10000"/>
                <a:gd name="connsiteY143" fmla="*/ 7317 h 10021"/>
                <a:gd name="connsiteX144" fmla="*/ 2090 w 10000"/>
                <a:gd name="connsiteY144" fmla="*/ 7427 h 10021"/>
                <a:gd name="connsiteX145" fmla="*/ 2224 w 10000"/>
                <a:gd name="connsiteY145" fmla="*/ 7537 h 10021"/>
                <a:gd name="connsiteX146" fmla="*/ 2350 w 10000"/>
                <a:gd name="connsiteY146" fmla="*/ 7647 h 10021"/>
                <a:gd name="connsiteX147" fmla="*/ 2491 w 10000"/>
                <a:gd name="connsiteY147" fmla="*/ 7752 h 10021"/>
                <a:gd name="connsiteX148" fmla="*/ 2617 w 10000"/>
                <a:gd name="connsiteY148" fmla="*/ 7858 h 10021"/>
                <a:gd name="connsiteX149" fmla="*/ 2765 w 10000"/>
                <a:gd name="connsiteY149" fmla="*/ 7959 h 10021"/>
                <a:gd name="connsiteX150" fmla="*/ 2906 w 10000"/>
                <a:gd name="connsiteY150" fmla="*/ 8059 h 10021"/>
                <a:gd name="connsiteX151" fmla="*/ 3054 w 10000"/>
                <a:gd name="connsiteY151" fmla="*/ 8160 h 10021"/>
                <a:gd name="connsiteX152" fmla="*/ 3210 w 10000"/>
                <a:gd name="connsiteY152" fmla="*/ 8257 h 10021"/>
                <a:gd name="connsiteX153" fmla="*/ 3358 w 10000"/>
                <a:gd name="connsiteY153" fmla="*/ 8353 h 10021"/>
                <a:gd name="connsiteX154" fmla="*/ 3514 w 10000"/>
                <a:gd name="connsiteY154" fmla="*/ 8449 h 10021"/>
                <a:gd name="connsiteX155" fmla="*/ 3677 w 10000"/>
                <a:gd name="connsiteY155" fmla="*/ 8541 h 10021"/>
                <a:gd name="connsiteX156" fmla="*/ 3840 w 10000"/>
                <a:gd name="connsiteY156" fmla="*/ 8628 h 10021"/>
                <a:gd name="connsiteX157" fmla="*/ 4010 w 10000"/>
                <a:gd name="connsiteY157" fmla="*/ 8719 h 10021"/>
                <a:gd name="connsiteX158" fmla="*/ 4181 w 10000"/>
                <a:gd name="connsiteY158" fmla="*/ 8797 h 10021"/>
                <a:gd name="connsiteX159" fmla="*/ 4351 w 10000"/>
                <a:gd name="connsiteY159" fmla="*/ 8884 h 10021"/>
                <a:gd name="connsiteX160" fmla="*/ 4522 w 10000"/>
                <a:gd name="connsiteY160" fmla="*/ 8962 h 10021"/>
                <a:gd name="connsiteX161" fmla="*/ 4700 w 10000"/>
                <a:gd name="connsiteY161" fmla="*/ 9045 h 10021"/>
                <a:gd name="connsiteX162" fmla="*/ 4878 w 10000"/>
                <a:gd name="connsiteY162" fmla="*/ 9123 h 10021"/>
                <a:gd name="connsiteX163" fmla="*/ 5063 w 10000"/>
                <a:gd name="connsiteY163" fmla="*/ 9196 h 10021"/>
                <a:gd name="connsiteX164" fmla="*/ 5248 w 10000"/>
                <a:gd name="connsiteY164" fmla="*/ 9274 h 10021"/>
                <a:gd name="connsiteX165" fmla="*/ 5426 w 10000"/>
                <a:gd name="connsiteY165" fmla="*/ 9343 h 10021"/>
                <a:gd name="connsiteX166" fmla="*/ 5619 w 10000"/>
                <a:gd name="connsiteY166" fmla="*/ 9411 h 10021"/>
                <a:gd name="connsiteX167" fmla="*/ 5812 w 10000"/>
                <a:gd name="connsiteY167" fmla="*/ 9480 h 10021"/>
                <a:gd name="connsiteX168" fmla="*/ 6004 w 10000"/>
                <a:gd name="connsiteY168" fmla="*/ 9544 h 10021"/>
                <a:gd name="connsiteX169" fmla="*/ 6205 w 10000"/>
                <a:gd name="connsiteY169" fmla="*/ 9609 h 10021"/>
                <a:gd name="connsiteX170" fmla="*/ 6397 w 10000"/>
                <a:gd name="connsiteY170" fmla="*/ 9668 h 10021"/>
                <a:gd name="connsiteX171" fmla="*/ 6605 w 10000"/>
                <a:gd name="connsiteY171" fmla="*/ 9723 h 10021"/>
                <a:gd name="connsiteX172" fmla="*/ 6805 w 10000"/>
                <a:gd name="connsiteY172" fmla="*/ 9778 h 10021"/>
                <a:gd name="connsiteX173" fmla="*/ 7005 w 10000"/>
                <a:gd name="connsiteY173" fmla="*/ 9833 h 10021"/>
                <a:gd name="connsiteX174" fmla="*/ 7213 w 10000"/>
                <a:gd name="connsiteY174" fmla="*/ 9884 h 10021"/>
                <a:gd name="connsiteX175" fmla="*/ 7420 w 10000"/>
                <a:gd name="connsiteY175" fmla="*/ 9929 h 10021"/>
                <a:gd name="connsiteX176" fmla="*/ 7628 w 10000"/>
                <a:gd name="connsiteY176" fmla="*/ 9975 h 10021"/>
                <a:gd name="connsiteX177" fmla="*/ 7835 w 10000"/>
                <a:gd name="connsiteY177" fmla="*/ 10021 h 10021"/>
                <a:gd name="connsiteX178" fmla="*/ 7539 w 10000"/>
                <a:gd name="connsiteY178" fmla="*/ 7775 h 10021"/>
                <a:gd name="connsiteX179" fmla="*/ 10000 w 10000"/>
                <a:gd name="connsiteY179" fmla="*/ 6162 h 10021"/>
                <a:gd name="connsiteX0" fmla="*/ 10000 w 10000"/>
                <a:gd name="connsiteY0" fmla="*/ 6162 h 10021"/>
                <a:gd name="connsiteX1" fmla="*/ 10000 w 10000"/>
                <a:gd name="connsiteY1" fmla="*/ 6162 h 10021"/>
                <a:gd name="connsiteX2" fmla="*/ 9911 w 10000"/>
                <a:gd name="connsiteY2" fmla="*/ 6148 h 10021"/>
                <a:gd name="connsiteX3" fmla="*/ 9815 w 10000"/>
                <a:gd name="connsiteY3" fmla="*/ 6130 h 10021"/>
                <a:gd name="connsiteX4" fmla="*/ 9726 w 10000"/>
                <a:gd name="connsiteY4" fmla="*/ 6112 h 10021"/>
                <a:gd name="connsiteX5" fmla="*/ 9637 w 10000"/>
                <a:gd name="connsiteY5" fmla="*/ 6089 h 10021"/>
                <a:gd name="connsiteX6" fmla="*/ 9548 w 10000"/>
                <a:gd name="connsiteY6" fmla="*/ 6070 h 10021"/>
                <a:gd name="connsiteX7" fmla="*/ 9466 w 10000"/>
                <a:gd name="connsiteY7" fmla="*/ 6048 h 10021"/>
                <a:gd name="connsiteX8" fmla="*/ 9377 w 10000"/>
                <a:gd name="connsiteY8" fmla="*/ 6025 h 10021"/>
                <a:gd name="connsiteX9" fmla="*/ 9288 w 10000"/>
                <a:gd name="connsiteY9" fmla="*/ 6002 h 10021"/>
                <a:gd name="connsiteX10" fmla="*/ 9118 w 10000"/>
                <a:gd name="connsiteY10" fmla="*/ 5951 h 10021"/>
                <a:gd name="connsiteX11" fmla="*/ 8955 w 10000"/>
                <a:gd name="connsiteY11" fmla="*/ 5896 h 10021"/>
                <a:gd name="connsiteX12" fmla="*/ 8792 w 10000"/>
                <a:gd name="connsiteY12" fmla="*/ 5837 h 10021"/>
                <a:gd name="connsiteX13" fmla="*/ 8636 w 10000"/>
                <a:gd name="connsiteY13" fmla="*/ 5773 h 10021"/>
                <a:gd name="connsiteX14" fmla="*/ 8480 w 10000"/>
                <a:gd name="connsiteY14" fmla="*/ 5708 h 10021"/>
                <a:gd name="connsiteX15" fmla="*/ 8340 w 10000"/>
                <a:gd name="connsiteY15" fmla="*/ 5640 h 10021"/>
                <a:gd name="connsiteX16" fmla="*/ 8199 w 10000"/>
                <a:gd name="connsiteY16" fmla="*/ 5566 h 10021"/>
                <a:gd name="connsiteX17" fmla="*/ 8058 w 10000"/>
                <a:gd name="connsiteY17" fmla="*/ 5488 h 10021"/>
                <a:gd name="connsiteX18" fmla="*/ 7924 w 10000"/>
                <a:gd name="connsiteY18" fmla="*/ 5406 h 10021"/>
                <a:gd name="connsiteX19" fmla="*/ 7798 w 10000"/>
                <a:gd name="connsiteY19" fmla="*/ 5323 h 10021"/>
                <a:gd name="connsiteX20" fmla="*/ 7672 w 10000"/>
                <a:gd name="connsiteY20" fmla="*/ 5236 h 10021"/>
                <a:gd name="connsiteX21" fmla="*/ 7554 w 10000"/>
                <a:gd name="connsiteY21" fmla="*/ 5149 h 10021"/>
                <a:gd name="connsiteX22" fmla="*/ 7450 w 10000"/>
                <a:gd name="connsiteY22" fmla="*/ 5053 h 10021"/>
                <a:gd name="connsiteX23" fmla="*/ 7346 w 10000"/>
                <a:gd name="connsiteY23" fmla="*/ 4957 h 10021"/>
                <a:gd name="connsiteX24" fmla="*/ 7250 w 10000"/>
                <a:gd name="connsiteY24" fmla="*/ 4861 h 10021"/>
                <a:gd name="connsiteX25" fmla="*/ 7161 w 10000"/>
                <a:gd name="connsiteY25" fmla="*/ 4760 h 10021"/>
                <a:gd name="connsiteX26" fmla="*/ 7072 w 10000"/>
                <a:gd name="connsiteY26" fmla="*/ 4659 h 10021"/>
                <a:gd name="connsiteX27" fmla="*/ 6990 w 10000"/>
                <a:gd name="connsiteY27" fmla="*/ 4549 h 10021"/>
                <a:gd name="connsiteX28" fmla="*/ 6953 w 10000"/>
                <a:gd name="connsiteY28" fmla="*/ 4499 h 10021"/>
                <a:gd name="connsiteX29" fmla="*/ 6916 w 10000"/>
                <a:gd name="connsiteY29" fmla="*/ 4444 h 10021"/>
                <a:gd name="connsiteX30" fmla="*/ 6887 w 10000"/>
                <a:gd name="connsiteY30" fmla="*/ 4389 h 10021"/>
                <a:gd name="connsiteX31" fmla="*/ 6850 w 10000"/>
                <a:gd name="connsiteY31" fmla="*/ 4334 h 10021"/>
                <a:gd name="connsiteX32" fmla="*/ 6820 w 10000"/>
                <a:gd name="connsiteY32" fmla="*/ 4279 h 10021"/>
                <a:gd name="connsiteX33" fmla="*/ 6790 w 10000"/>
                <a:gd name="connsiteY33" fmla="*/ 4224 h 10021"/>
                <a:gd name="connsiteX34" fmla="*/ 6768 w 10000"/>
                <a:gd name="connsiteY34" fmla="*/ 4164 h 10021"/>
                <a:gd name="connsiteX35" fmla="*/ 6738 w 10000"/>
                <a:gd name="connsiteY35" fmla="*/ 4109 h 10021"/>
                <a:gd name="connsiteX36" fmla="*/ 6723 w 10000"/>
                <a:gd name="connsiteY36" fmla="*/ 4049 h 10021"/>
                <a:gd name="connsiteX37" fmla="*/ 6694 w 10000"/>
                <a:gd name="connsiteY37" fmla="*/ 3994 h 10021"/>
                <a:gd name="connsiteX38" fmla="*/ 6679 w 10000"/>
                <a:gd name="connsiteY38" fmla="*/ 3935 h 10021"/>
                <a:gd name="connsiteX39" fmla="*/ 6664 w 10000"/>
                <a:gd name="connsiteY39" fmla="*/ 3875 h 10021"/>
                <a:gd name="connsiteX40" fmla="*/ 6649 w 10000"/>
                <a:gd name="connsiteY40" fmla="*/ 3816 h 10021"/>
                <a:gd name="connsiteX41" fmla="*/ 6635 w 10000"/>
                <a:gd name="connsiteY41" fmla="*/ 3761 h 10021"/>
                <a:gd name="connsiteX42" fmla="*/ 6620 w 10000"/>
                <a:gd name="connsiteY42" fmla="*/ 3701 h 10021"/>
                <a:gd name="connsiteX43" fmla="*/ 6612 w 10000"/>
                <a:gd name="connsiteY43" fmla="*/ 3642 h 10021"/>
                <a:gd name="connsiteX44" fmla="*/ 6605 w 10000"/>
                <a:gd name="connsiteY44" fmla="*/ 3582 h 10021"/>
                <a:gd name="connsiteX45" fmla="*/ 6597 w 10000"/>
                <a:gd name="connsiteY45" fmla="*/ 3518 h 10021"/>
                <a:gd name="connsiteX46" fmla="*/ 6597 w 10000"/>
                <a:gd name="connsiteY46" fmla="*/ 3458 h 10021"/>
                <a:gd name="connsiteX47" fmla="*/ 6590 w 10000"/>
                <a:gd name="connsiteY47" fmla="*/ 3394 h 10021"/>
                <a:gd name="connsiteX48" fmla="*/ 6597 w 10000"/>
                <a:gd name="connsiteY48" fmla="*/ 3334 h 10021"/>
                <a:gd name="connsiteX49" fmla="*/ 6605 w 10000"/>
                <a:gd name="connsiteY49" fmla="*/ 3266 h 10021"/>
                <a:gd name="connsiteX50" fmla="*/ 6605 w 10000"/>
                <a:gd name="connsiteY50" fmla="*/ 3202 h 10021"/>
                <a:gd name="connsiteX51" fmla="*/ 6612 w 10000"/>
                <a:gd name="connsiteY51" fmla="*/ 3137 h 10021"/>
                <a:gd name="connsiteX52" fmla="*/ 6620 w 10000"/>
                <a:gd name="connsiteY52" fmla="*/ 3073 h 10021"/>
                <a:gd name="connsiteX53" fmla="*/ 6635 w 10000"/>
                <a:gd name="connsiteY53" fmla="*/ 3014 h 10021"/>
                <a:gd name="connsiteX54" fmla="*/ 6649 w 10000"/>
                <a:gd name="connsiteY54" fmla="*/ 2950 h 10021"/>
                <a:gd name="connsiteX55" fmla="*/ 6664 w 10000"/>
                <a:gd name="connsiteY55" fmla="*/ 2890 h 10021"/>
                <a:gd name="connsiteX56" fmla="*/ 6686 w 10000"/>
                <a:gd name="connsiteY56" fmla="*/ 2826 h 10021"/>
                <a:gd name="connsiteX57" fmla="*/ 6709 w 10000"/>
                <a:gd name="connsiteY57" fmla="*/ 2766 h 10021"/>
                <a:gd name="connsiteX58" fmla="*/ 6731 w 10000"/>
                <a:gd name="connsiteY58" fmla="*/ 2707 h 10021"/>
                <a:gd name="connsiteX59" fmla="*/ 6753 w 10000"/>
                <a:gd name="connsiteY59" fmla="*/ 2642 h 10021"/>
                <a:gd name="connsiteX60" fmla="*/ 6783 w 10000"/>
                <a:gd name="connsiteY60" fmla="*/ 2587 h 10021"/>
                <a:gd name="connsiteX61" fmla="*/ 6812 w 10000"/>
                <a:gd name="connsiteY61" fmla="*/ 2528 h 10021"/>
                <a:gd name="connsiteX62" fmla="*/ 6842 w 10000"/>
                <a:gd name="connsiteY62" fmla="*/ 2468 h 10021"/>
                <a:gd name="connsiteX63" fmla="*/ 6879 w 10000"/>
                <a:gd name="connsiteY63" fmla="*/ 2409 h 10021"/>
                <a:gd name="connsiteX64" fmla="*/ 6909 w 10000"/>
                <a:gd name="connsiteY64" fmla="*/ 2354 h 10021"/>
                <a:gd name="connsiteX65" fmla="*/ 6946 w 10000"/>
                <a:gd name="connsiteY65" fmla="*/ 2294 h 10021"/>
                <a:gd name="connsiteX66" fmla="*/ 6990 w 10000"/>
                <a:gd name="connsiteY66" fmla="*/ 2239 h 10021"/>
                <a:gd name="connsiteX67" fmla="*/ 7027 w 10000"/>
                <a:gd name="connsiteY67" fmla="*/ 2184 h 10021"/>
                <a:gd name="connsiteX68" fmla="*/ 7072 w 10000"/>
                <a:gd name="connsiteY68" fmla="*/ 2129 h 10021"/>
                <a:gd name="connsiteX69" fmla="*/ 7109 w 10000"/>
                <a:gd name="connsiteY69" fmla="*/ 2074 h 10021"/>
                <a:gd name="connsiteX70" fmla="*/ 7161 w 10000"/>
                <a:gd name="connsiteY70" fmla="*/ 2024 h 10021"/>
                <a:gd name="connsiteX71" fmla="*/ 7213 w 10000"/>
                <a:gd name="connsiteY71" fmla="*/ 1969 h 10021"/>
                <a:gd name="connsiteX72" fmla="*/ 7257 w 10000"/>
                <a:gd name="connsiteY72" fmla="*/ 1914 h 10021"/>
                <a:gd name="connsiteX73" fmla="*/ 7309 w 10000"/>
                <a:gd name="connsiteY73" fmla="*/ 1863 h 10021"/>
                <a:gd name="connsiteX74" fmla="*/ 7361 w 10000"/>
                <a:gd name="connsiteY74" fmla="*/ 1813 h 10021"/>
                <a:gd name="connsiteX75" fmla="*/ 7413 w 10000"/>
                <a:gd name="connsiteY75" fmla="*/ 1763 h 10021"/>
                <a:gd name="connsiteX76" fmla="*/ 7472 w 10000"/>
                <a:gd name="connsiteY76" fmla="*/ 1712 h 10021"/>
                <a:gd name="connsiteX77" fmla="*/ 7524 w 10000"/>
                <a:gd name="connsiteY77" fmla="*/ 1666 h 10021"/>
                <a:gd name="connsiteX78" fmla="*/ 7583 w 10000"/>
                <a:gd name="connsiteY78" fmla="*/ 1620 h 10021"/>
                <a:gd name="connsiteX79" fmla="*/ 7643 w 10000"/>
                <a:gd name="connsiteY79" fmla="*/ 1570 h 10021"/>
                <a:gd name="connsiteX80" fmla="*/ 5390 w 10000"/>
                <a:gd name="connsiteY80" fmla="*/ 14 h 10021"/>
                <a:gd name="connsiteX81" fmla="*/ 1401 w 10000"/>
                <a:gd name="connsiteY81" fmla="*/ 0 h 10021"/>
                <a:gd name="connsiteX82" fmla="*/ 1305 w 10000"/>
                <a:gd name="connsiteY82" fmla="*/ 149 h 10021"/>
                <a:gd name="connsiteX83" fmla="*/ 1223 w 10000"/>
                <a:gd name="connsiteY83" fmla="*/ 241 h 10021"/>
                <a:gd name="connsiteX84" fmla="*/ 1149 w 10000"/>
                <a:gd name="connsiteY84" fmla="*/ 337 h 10021"/>
                <a:gd name="connsiteX85" fmla="*/ 1067 w 10000"/>
                <a:gd name="connsiteY85" fmla="*/ 433 h 10021"/>
                <a:gd name="connsiteX86" fmla="*/ 1001 w 10000"/>
                <a:gd name="connsiteY86" fmla="*/ 530 h 10021"/>
                <a:gd name="connsiteX87" fmla="*/ 927 w 10000"/>
                <a:gd name="connsiteY87" fmla="*/ 626 h 10021"/>
                <a:gd name="connsiteX88" fmla="*/ 860 w 10000"/>
                <a:gd name="connsiteY88" fmla="*/ 727 h 10021"/>
                <a:gd name="connsiteX89" fmla="*/ 793 w 10000"/>
                <a:gd name="connsiteY89" fmla="*/ 828 h 10021"/>
                <a:gd name="connsiteX90" fmla="*/ 734 w 10000"/>
                <a:gd name="connsiteY90" fmla="*/ 924 h 10021"/>
                <a:gd name="connsiteX91" fmla="*/ 675 w 10000"/>
                <a:gd name="connsiteY91" fmla="*/ 1025 h 10021"/>
                <a:gd name="connsiteX92" fmla="*/ 615 w 10000"/>
                <a:gd name="connsiteY92" fmla="*/ 1125 h 10021"/>
                <a:gd name="connsiteX93" fmla="*/ 556 w 10000"/>
                <a:gd name="connsiteY93" fmla="*/ 1231 h 10021"/>
                <a:gd name="connsiteX94" fmla="*/ 504 w 10000"/>
                <a:gd name="connsiteY94" fmla="*/ 1327 h 10021"/>
                <a:gd name="connsiteX95" fmla="*/ 452 w 10000"/>
                <a:gd name="connsiteY95" fmla="*/ 1433 h 10021"/>
                <a:gd name="connsiteX96" fmla="*/ 408 w 10000"/>
                <a:gd name="connsiteY96" fmla="*/ 1533 h 10021"/>
                <a:gd name="connsiteX97" fmla="*/ 363 w 10000"/>
                <a:gd name="connsiteY97" fmla="*/ 1639 h 10021"/>
                <a:gd name="connsiteX98" fmla="*/ 319 w 10000"/>
                <a:gd name="connsiteY98" fmla="*/ 1744 h 10021"/>
                <a:gd name="connsiteX99" fmla="*/ 282 w 10000"/>
                <a:gd name="connsiteY99" fmla="*/ 1850 h 10021"/>
                <a:gd name="connsiteX100" fmla="*/ 237 w 10000"/>
                <a:gd name="connsiteY100" fmla="*/ 1960 h 10021"/>
                <a:gd name="connsiteX101" fmla="*/ 208 w 10000"/>
                <a:gd name="connsiteY101" fmla="*/ 2065 h 10021"/>
                <a:gd name="connsiteX102" fmla="*/ 170 w 10000"/>
                <a:gd name="connsiteY102" fmla="*/ 2175 h 10021"/>
                <a:gd name="connsiteX103" fmla="*/ 148 w 10000"/>
                <a:gd name="connsiteY103" fmla="*/ 2285 h 10021"/>
                <a:gd name="connsiteX104" fmla="*/ 119 w 10000"/>
                <a:gd name="connsiteY104" fmla="*/ 2390 h 10021"/>
                <a:gd name="connsiteX105" fmla="*/ 96 w 10000"/>
                <a:gd name="connsiteY105" fmla="*/ 2500 h 10021"/>
                <a:gd name="connsiteX106" fmla="*/ 74 w 10000"/>
                <a:gd name="connsiteY106" fmla="*/ 2610 h 10021"/>
                <a:gd name="connsiteX107" fmla="*/ 52 w 10000"/>
                <a:gd name="connsiteY107" fmla="*/ 2725 h 10021"/>
                <a:gd name="connsiteX108" fmla="*/ 37 w 10000"/>
                <a:gd name="connsiteY108" fmla="*/ 2835 h 10021"/>
                <a:gd name="connsiteX109" fmla="*/ 22 w 10000"/>
                <a:gd name="connsiteY109" fmla="*/ 2945 h 10021"/>
                <a:gd name="connsiteX110" fmla="*/ 15 w 10000"/>
                <a:gd name="connsiteY110" fmla="*/ 3055 h 10021"/>
                <a:gd name="connsiteX111" fmla="*/ 7 w 10000"/>
                <a:gd name="connsiteY111" fmla="*/ 3169 h 10021"/>
                <a:gd name="connsiteX112" fmla="*/ 0 w 10000"/>
                <a:gd name="connsiteY112" fmla="*/ 3279 h 10021"/>
                <a:gd name="connsiteX113" fmla="*/ 0 w 10000"/>
                <a:gd name="connsiteY113" fmla="*/ 3394 h 10021"/>
                <a:gd name="connsiteX114" fmla="*/ 7 w 10000"/>
                <a:gd name="connsiteY114" fmla="*/ 3541 h 10021"/>
                <a:gd name="connsiteX115" fmla="*/ 7 w 10000"/>
                <a:gd name="connsiteY115" fmla="*/ 3687 h 10021"/>
                <a:gd name="connsiteX116" fmla="*/ 22 w 10000"/>
                <a:gd name="connsiteY116" fmla="*/ 3825 h 10021"/>
                <a:gd name="connsiteX117" fmla="*/ 37 w 10000"/>
                <a:gd name="connsiteY117" fmla="*/ 3967 h 10021"/>
                <a:gd name="connsiteX118" fmla="*/ 59 w 10000"/>
                <a:gd name="connsiteY118" fmla="*/ 4109 h 10021"/>
                <a:gd name="connsiteX119" fmla="*/ 89 w 10000"/>
                <a:gd name="connsiteY119" fmla="*/ 4251 h 10021"/>
                <a:gd name="connsiteX120" fmla="*/ 119 w 10000"/>
                <a:gd name="connsiteY120" fmla="*/ 4393 h 10021"/>
                <a:gd name="connsiteX121" fmla="*/ 148 w 10000"/>
                <a:gd name="connsiteY121" fmla="*/ 4535 h 10021"/>
                <a:gd name="connsiteX122" fmla="*/ 193 w 10000"/>
                <a:gd name="connsiteY122" fmla="*/ 4673 h 10021"/>
                <a:gd name="connsiteX123" fmla="*/ 237 w 10000"/>
                <a:gd name="connsiteY123" fmla="*/ 4810 h 10021"/>
                <a:gd name="connsiteX124" fmla="*/ 282 w 10000"/>
                <a:gd name="connsiteY124" fmla="*/ 4948 h 10021"/>
                <a:gd name="connsiteX125" fmla="*/ 334 w 10000"/>
                <a:gd name="connsiteY125" fmla="*/ 5085 h 10021"/>
                <a:gd name="connsiteX126" fmla="*/ 393 w 10000"/>
                <a:gd name="connsiteY126" fmla="*/ 5218 h 10021"/>
                <a:gd name="connsiteX127" fmla="*/ 452 w 10000"/>
                <a:gd name="connsiteY127" fmla="*/ 5351 h 10021"/>
                <a:gd name="connsiteX128" fmla="*/ 519 w 10000"/>
                <a:gd name="connsiteY128" fmla="*/ 5484 h 10021"/>
                <a:gd name="connsiteX129" fmla="*/ 586 w 10000"/>
                <a:gd name="connsiteY129" fmla="*/ 5617 h 10021"/>
                <a:gd name="connsiteX130" fmla="*/ 660 w 10000"/>
                <a:gd name="connsiteY130" fmla="*/ 5745 h 10021"/>
                <a:gd name="connsiteX131" fmla="*/ 741 w 10000"/>
                <a:gd name="connsiteY131" fmla="*/ 5873 h 10021"/>
                <a:gd name="connsiteX132" fmla="*/ 823 w 10000"/>
                <a:gd name="connsiteY132" fmla="*/ 6006 h 10021"/>
                <a:gd name="connsiteX133" fmla="*/ 904 w 10000"/>
                <a:gd name="connsiteY133" fmla="*/ 6130 h 10021"/>
                <a:gd name="connsiteX134" fmla="*/ 993 w 10000"/>
                <a:gd name="connsiteY134" fmla="*/ 6254 h 10021"/>
                <a:gd name="connsiteX135" fmla="*/ 1090 w 10000"/>
                <a:gd name="connsiteY135" fmla="*/ 6373 h 10021"/>
                <a:gd name="connsiteX136" fmla="*/ 1186 w 10000"/>
                <a:gd name="connsiteY136" fmla="*/ 6497 h 10021"/>
                <a:gd name="connsiteX137" fmla="*/ 1290 w 10000"/>
                <a:gd name="connsiteY137" fmla="*/ 6620 h 10021"/>
                <a:gd name="connsiteX138" fmla="*/ 1386 w 10000"/>
                <a:gd name="connsiteY138" fmla="*/ 6740 h 10021"/>
                <a:gd name="connsiteX139" fmla="*/ 1497 w 10000"/>
                <a:gd name="connsiteY139" fmla="*/ 6859 h 10021"/>
                <a:gd name="connsiteX140" fmla="*/ 1609 w 10000"/>
                <a:gd name="connsiteY140" fmla="*/ 6973 h 10021"/>
                <a:gd name="connsiteX141" fmla="*/ 1727 w 10000"/>
                <a:gd name="connsiteY141" fmla="*/ 7092 h 10021"/>
                <a:gd name="connsiteX142" fmla="*/ 1846 w 10000"/>
                <a:gd name="connsiteY142" fmla="*/ 7207 h 10021"/>
                <a:gd name="connsiteX143" fmla="*/ 1964 w 10000"/>
                <a:gd name="connsiteY143" fmla="*/ 7317 h 10021"/>
                <a:gd name="connsiteX144" fmla="*/ 2090 w 10000"/>
                <a:gd name="connsiteY144" fmla="*/ 7427 h 10021"/>
                <a:gd name="connsiteX145" fmla="*/ 2224 w 10000"/>
                <a:gd name="connsiteY145" fmla="*/ 7537 h 10021"/>
                <a:gd name="connsiteX146" fmla="*/ 2350 w 10000"/>
                <a:gd name="connsiteY146" fmla="*/ 7647 h 10021"/>
                <a:gd name="connsiteX147" fmla="*/ 2491 w 10000"/>
                <a:gd name="connsiteY147" fmla="*/ 7752 h 10021"/>
                <a:gd name="connsiteX148" fmla="*/ 2617 w 10000"/>
                <a:gd name="connsiteY148" fmla="*/ 7858 h 10021"/>
                <a:gd name="connsiteX149" fmla="*/ 2765 w 10000"/>
                <a:gd name="connsiteY149" fmla="*/ 7959 h 10021"/>
                <a:gd name="connsiteX150" fmla="*/ 2906 w 10000"/>
                <a:gd name="connsiteY150" fmla="*/ 8059 h 10021"/>
                <a:gd name="connsiteX151" fmla="*/ 3054 w 10000"/>
                <a:gd name="connsiteY151" fmla="*/ 8160 h 10021"/>
                <a:gd name="connsiteX152" fmla="*/ 3210 w 10000"/>
                <a:gd name="connsiteY152" fmla="*/ 8257 h 10021"/>
                <a:gd name="connsiteX153" fmla="*/ 3358 w 10000"/>
                <a:gd name="connsiteY153" fmla="*/ 8353 h 10021"/>
                <a:gd name="connsiteX154" fmla="*/ 3514 w 10000"/>
                <a:gd name="connsiteY154" fmla="*/ 8449 h 10021"/>
                <a:gd name="connsiteX155" fmla="*/ 3677 w 10000"/>
                <a:gd name="connsiteY155" fmla="*/ 8541 h 10021"/>
                <a:gd name="connsiteX156" fmla="*/ 3840 w 10000"/>
                <a:gd name="connsiteY156" fmla="*/ 8628 h 10021"/>
                <a:gd name="connsiteX157" fmla="*/ 4010 w 10000"/>
                <a:gd name="connsiteY157" fmla="*/ 8719 h 10021"/>
                <a:gd name="connsiteX158" fmla="*/ 4181 w 10000"/>
                <a:gd name="connsiteY158" fmla="*/ 8797 h 10021"/>
                <a:gd name="connsiteX159" fmla="*/ 4351 w 10000"/>
                <a:gd name="connsiteY159" fmla="*/ 8884 h 10021"/>
                <a:gd name="connsiteX160" fmla="*/ 4522 w 10000"/>
                <a:gd name="connsiteY160" fmla="*/ 8962 h 10021"/>
                <a:gd name="connsiteX161" fmla="*/ 4700 w 10000"/>
                <a:gd name="connsiteY161" fmla="*/ 9045 h 10021"/>
                <a:gd name="connsiteX162" fmla="*/ 4878 w 10000"/>
                <a:gd name="connsiteY162" fmla="*/ 9123 h 10021"/>
                <a:gd name="connsiteX163" fmla="*/ 5063 w 10000"/>
                <a:gd name="connsiteY163" fmla="*/ 9196 h 10021"/>
                <a:gd name="connsiteX164" fmla="*/ 5248 w 10000"/>
                <a:gd name="connsiteY164" fmla="*/ 9274 h 10021"/>
                <a:gd name="connsiteX165" fmla="*/ 5426 w 10000"/>
                <a:gd name="connsiteY165" fmla="*/ 9343 h 10021"/>
                <a:gd name="connsiteX166" fmla="*/ 5619 w 10000"/>
                <a:gd name="connsiteY166" fmla="*/ 9411 h 10021"/>
                <a:gd name="connsiteX167" fmla="*/ 5812 w 10000"/>
                <a:gd name="connsiteY167" fmla="*/ 9480 h 10021"/>
                <a:gd name="connsiteX168" fmla="*/ 6004 w 10000"/>
                <a:gd name="connsiteY168" fmla="*/ 9544 h 10021"/>
                <a:gd name="connsiteX169" fmla="*/ 6205 w 10000"/>
                <a:gd name="connsiteY169" fmla="*/ 9609 h 10021"/>
                <a:gd name="connsiteX170" fmla="*/ 6397 w 10000"/>
                <a:gd name="connsiteY170" fmla="*/ 9668 h 10021"/>
                <a:gd name="connsiteX171" fmla="*/ 6605 w 10000"/>
                <a:gd name="connsiteY171" fmla="*/ 9723 h 10021"/>
                <a:gd name="connsiteX172" fmla="*/ 6805 w 10000"/>
                <a:gd name="connsiteY172" fmla="*/ 9778 h 10021"/>
                <a:gd name="connsiteX173" fmla="*/ 7005 w 10000"/>
                <a:gd name="connsiteY173" fmla="*/ 9833 h 10021"/>
                <a:gd name="connsiteX174" fmla="*/ 7213 w 10000"/>
                <a:gd name="connsiteY174" fmla="*/ 9884 h 10021"/>
                <a:gd name="connsiteX175" fmla="*/ 7420 w 10000"/>
                <a:gd name="connsiteY175" fmla="*/ 9929 h 10021"/>
                <a:gd name="connsiteX176" fmla="*/ 7628 w 10000"/>
                <a:gd name="connsiteY176" fmla="*/ 9975 h 10021"/>
                <a:gd name="connsiteX177" fmla="*/ 7835 w 10000"/>
                <a:gd name="connsiteY177" fmla="*/ 10021 h 10021"/>
                <a:gd name="connsiteX178" fmla="*/ 7539 w 10000"/>
                <a:gd name="connsiteY178" fmla="*/ 7775 h 10021"/>
                <a:gd name="connsiteX179" fmla="*/ 10000 w 10000"/>
                <a:gd name="connsiteY179" fmla="*/ 6162 h 10021"/>
                <a:gd name="connsiteX0" fmla="*/ 10000 w 10000"/>
                <a:gd name="connsiteY0" fmla="*/ 6148 h 10007"/>
                <a:gd name="connsiteX1" fmla="*/ 10000 w 10000"/>
                <a:gd name="connsiteY1" fmla="*/ 6148 h 10007"/>
                <a:gd name="connsiteX2" fmla="*/ 9911 w 10000"/>
                <a:gd name="connsiteY2" fmla="*/ 6134 h 10007"/>
                <a:gd name="connsiteX3" fmla="*/ 9815 w 10000"/>
                <a:gd name="connsiteY3" fmla="*/ 6116 h 10007"/>
                <a:gd name="connsiteX4" fmla="*/ 9726 w 10000"/>
                <a:gd name="connsiteY4" fmla="*/ 6098 h 10007"/>
                <a:gd name="connsiteX5" fmla="*/ 9637 w 10000"/>
                <a:gd name="connsiteY5" fmla="*/ 6075 h 10007"/>
                <a:gd name="connsiteX6" fmla="*/ 9548 w 10000"/>
                <a:gd name="connsiteY6" fmla="*/ 6056 h 10007"/>
                <a:gd name="connsiteX7" fmla="*/ 9466 w 10000"/>
                <a:gd name="connsiteY7" fmla="*/ 6034 h 10007"/>
                <a:gd name="connsiteX8" fmla="*/ 9377 w 10000"/>
                <a:gd name="connsiteY8" fmla="*/ 6011 h 10007"/>
                <a:gd name="connsiteX9" fmla="*/ 9288 w 10000"/>
                <a:gd name="connsiteY9" fmla="*/ 5988 h 10007"/>
                <a:gd name="connsiteX10" fmla="*/ 9118 w 10000"/>
                <a:gd name="connsiteY10" fmla="*/ 5937 h 10007"/>
                <a:gd name="connsiteX11" fmla="*/ 8955 w 10000"/>
                <a:gd name="connsiteY11" fmla="*/ 5882 h 10007"/>
                <a:gd name="connsiteX12" fmla="*/ 8792 w 10000"/>
                <a:gd name="connsiteY12" fmla="*/ 5823 h 10007"/>
                <a:gd name="connsiteX13" fmla="*/ 8636 w 10000"/>
                <a:gd name="connsiteY13" fmla="*/ 5759 h 10007"/>
                <a:gd name="connsiteX14" fmla="*/ 8480 w 10000"/>
                <a:gd name="connsiteY14" fmla="*/ 5694 h 10007"/>
                <a:gd name="connsiteX15" fmla="*/ 8340 w 10000"/>
                <a:gd name="connsiteY15" fmla="*/ 5626 h 10007"/>
                <a:gd name="connsiteX16" fmla="*/ 8199 w 10000"/>
                <a:gd name="connsiteY16" fmla="*/ 5552 h 10007"/>
                <a:gd name="connsiteX17" fmla="*/ 8058 w 10000"/>
                <a:gd name="connsiteY17" fmla="*/ 5474 h 10007"/>
                <a:gd name="connsiteX18" fmla="*/ 7924 w 10000"/>
                <a:gd name="connsiteY18" fmla="*/ 5392 h 10007"/>
                <a:gd name="connsiteX19" fmla="*/ 7798 w 10000"/>
                <a:gd name="connsiteY19" fmla="*/ 5309 h 10007"/>
                <a:gd name="connsiteX20" fmla="*/ 7672 w 10000"/>
                <a:gd name="connsiteY20" fmla="*/ 5222 h 10007"/>
                <a:gd name="connsiteX21" fmla="*/ 7554 w 10000"/>
                <a:gd name="connsiteY21" fmla="*/ 5135 h 10007"/>
                <a:gd name="connsiteX22" fmla="*/ 7450 w 10000"/>
                <a:gd name="connsiteY22" fmla="*/ 5039 h 10007"/>
                <a:gd name="connsiteX23" fmla="*/ 7346 w 10000"/>
                <a:gd name="connsiteY23" fmla="*/ 4943 h 10007"/>
                <a:gd name="connsiteX24" fmla="*/ 7250 w 10000"/>
                <a:gd name="connsiteY24" fmla="*/ 4847 h 10007"/>
                <a:gd name="connsiteX25" fmla="*/ 7161 w 10000"/>
                <a:gd name="connsiteY25" fmla="*/ 4746 h 10007"/>
                <a:gd name="connsiteX26" fmla="*/ 7072 w 10000"/>
                <a:gd name="connsiteY26" fmla="*/ 4645 h 10007"/>
                <a:gd name="connsiteX27" fmla="*/ 6990 w 10000"/>
                <a:gd name="connsiteY27" fmla="*/ 4535 h 10007"/>
                <a:gd name="connsiteX28" fmla="*/ 6953 w 10000"/>
                <a:gd name="connsiteY28" fmla="*/ 4485 h 10007"/>
                <a:gd name="connsiteX29" fmla="*/ 6916 w 10000"/>
                <a:gd name="connsiteY29" fmla="*/ 4430 h 10007"/>
                <a:gd name="connsiteX30" fmla="*/ 6887 w 10000"/>
                <a:gd name="connsiteY30" fmla="*/ 4375 h 10007"/>
                <a:gd name="connsiteX31" fmla="*/ 6850 w 10000"/>
                <a:gd name="connsiteY31" fmla="*/ 4320 h 10007"/>
                <a:gd name="connsiteX32" fmla="*/ 6820 w 10000"/>
                <a:gd name="connsiteY32" fmla="*/ 4265 h 10007"/>
                <a:gd name="connsiteX33" fmla="*/ 6790 w 10000"/>
                <a:gd name="connsiteY33" fmla="*/ 4210 h 10007"/>
                <a:gd name="connsiteX34" fmla="*/ 6768 w 10000"/>
                <a:gd name="connsiteY34" fmla="*/ 4150 h 10007"/>
                <a:gd name="connsiteX35" fmla="*/ 6738 w 10000"/>
                <a:gd name="connsiteY35" fmla="*/ 4095 h 10007"/>
                <a:gd name="connsiteX36" fmla="*/ 6723 w 10000"/>
                <a:gd name="connsiteY36" fmla="*/ 4035 h 10007"/>
                <a:gd name="connsiteX37" fmla="*/ 6694 w 10000"/>
                <a:gd name="connsiteY37" fmla="*/ 3980 h 10007"/>
                <a:gd name="connsiteX38" fmla="*/ 6679 w 10000"/>
                <a:gd name="connsiteY38" fmla="*/ 3921 h 10007"/>
                <a:gd name="connsiteX39" fmla="*/ 6664 w 10000"/>
                <a:gd name="connsiteY39" fmla="*/ 3861 h 10007"/>
                <a:gd name="connsiteX40" fmla="*/ 6649 w 10000"/>
                <a:gd name="connsiteY40" fmla="*/ 3802 h 10007"/>
                <a:gd name="connsiteX41" fmla="*/ 6635 w 10000"/>
                <a:gd name="connsiteY41" fmla="*/ 3747 h 10007"/>
                <a:gd name="connsiteX42" fmla="*/ 6620 w 10000"/>
                <a:gd name="connsiteY42" fmla="*/ 3687 h 10007"/>
                <a:gd name="connsiteX43" fmla="*/ 6612 w 10000"/>
                <a:gd name="connsiteY43" fmla="*/ 3628 h 10007"/>
                <a:gd name="connsiteX44" fmla="*/ 6605 w 10000"/>
                <a:gd name="connsiteY44" fmla="*/ 3568 h 10007"/>
                <a:gd name="connsiteX45" fmla="*/ 6597 w 10000"/>
                <a:gd name="connsiteY45" fmla="*/ 3504 h 10007"/>
                <a:gd name="connsiteX46" fmla="*/ 6597 w 10000"/>
                <a:gd name="connsiteY46" fmla="*/ 3444 h 10007"/>
                <a:gd name="connsiteX47" fmla="*/ 6590 w 10000"/>
                <a:gd name="connsiteY47" fmla="*/ 3380 h 10007"/>
                <a:gd name="connsiteX48" fmla="*/ 6597 w 10000"/>
                <a:gd name="connsiteY48" fmla="*/ 3320 h 10007"/>
                <a:gd name="connsiteX49" fmla="*/ 6605 w 10000"/>
                <a:gd name="connsiteY49" fmla="*/ 3252 h 10007"/>
                <a:gd name="connsiteX50" fmla="*/ 6605 w 10000"/>
                <a:gd name="connsiteY50" fmla="*/ 3188 h 10007"/>
                <a:gd name="connsiteX51" fmla="*/ 6612 w 10000"/>
                <a:gd name="connsiteY51" fmla="*/ 3123 h 10007"/>
                <a:gd name="connsiteX52" fmla="*/ 6620 w 10000"/>
                <a:gd name="connsiteY52" fmla="*/ 3059 h 10007"/>
                <a:gd name="connsiteX53" fmla="*/ 6635 w 10000"/>
                <a:gd name="connsiteY53" fmla="*/ 3000 h 10007"/>
                <a:gd name="connsiteX54" fmla="*/ 6649 w 10000"/>
                <a:gd name="connsiteY54" fmla="*/ 2936 h 10007"/>
                <a:gd name="connsiteX55" fmla="*/ 6664 w 10000"/>
                <a:gd name="connsiteY55" fmla="*/ 2876 h 10007"/>
                <a:gd name="connsiteX56" fmla="*/ 6686 w 10000"/>
                <a:gd name="connsiteY56" fmla="*/ 2812 h 10007"/>
                <a:gd name="connsiteX57" fmla="*/ 6709 w 10000"/>
                <a:gd name="connsiteY57" fmla="*/ 2752 h 10007"/>
                <a:gd name="connsiteX58" fmla="*/ 6731 w 10000"/>
                <a:gd name="connsiteY58" fmla="*/ 2693 h 10007"/>
                <a:gd name="connsiteX59" fmla="*/ 6753 w 10000"/>
                <a:gd name="connsiteY59" fmla="*/ 2628 h 10007"/>
                <a:gd name="connsiteX60" fmla="*/ 6783 w 10000"/>
                <a:gd name="connsiteY60" fmla="*/ 2573 h 10007"/>
                <a:gd name="connsiteX61" fmla="*/ 6812 w 10000"/>
                <a:gd name="connsiteY61" fmla="*/ 2514 h 10007"/>
                <a:gd name="connsiteX62" fmla="*/ 6842 w 10000"/>
                <a:gd name="connsiteY62" fmla="*/ 2454 h 10007"/>
                <a:gd name="connsiteX63" fmla="*/ 6879 w 10000"/>
                <a:gd name="connsiteY63" fmla="*/ 2395 h 10007"/>
                <a:gd name="connsiteX64" fmla="*/ 6909 w 10000"/>
                <a:gd name="connsiteY64" fmla="*/ 2340 h 10007"/>
                <a:gd name="connsiteX65" fmla="*/ 6946 w 10000"/>
                <a:gd name="connsiteY65" fmla="*/ 2280 h 10007"/>
                <a:gd name="connsiteX66" fmla="*/ 6990 w 10000"/>
                <a:gd name="connsiteY66" fmla="*/ 2225 h 10007"/>
                <a:gd name="connsiteX67" fmla="*/ 7027 w 10000"/>
                <a:gd name="connsiteY67" fmla="*/ 2170 h 10007"/>
                <a:gd name="connsiteX68" fmla="*/ 7072 w 10000"/>
                <a:gd name="connsiteY68" fmla="*/ 2115 h 10007"/>
                <a:gd name="connsiteX69" fmla="*/ 7109 w 10000"/>
                <a:gd name="connsiteY69" fmla="*/ 2060 h 10007"/>
                <a:gd name="connsiteX70" fmla="*/ 7161 w 10000"/>
                <a:gd name="connsiteY70" fmla="*/ 2010 h 10007"/>
                <a:gd name="connsiteX71" fmla="*/ 7213 w 10000"/>
                <a:gd name="connsiteY71" fmla="*/ 1955 h 10007"/>
                <a:gd name="connsiteX72" fmla="*/ 7257 w 10000"/>
                <a:gd name="connsiteY72" fmla="*/ 1900 h 10007"/>
                <a:gd name="connsiteX73" fmla="*/ 7309 w 10000"/>
                <a:gd name="connsiteY73" fmla="*/ 1849 h 10007"/>
                <a:gd name="connsiteX74" fmla="*/ 7361 w 10000"/>
                <a:gd name="connsiteY74" fmla="*/ 1799 h 10007"/>
                <a:gd name="connsiteX75" fmla="*/ 7413 w 10000"/>
                <a:gd name="connsiteY75" fmla="*/ 1749 h 10007"/>
                <a:gd name="connsiteX76" fmla="*/ 7472 w 10000"/>
                <a:gd name="connsiteY76" fmla="*/ 1698 h 10007"/>
                <a:gd name="connsiteX77" fmla="*/ 7524 w 10000"/>
                <a:gd name="connsiteY77" fmla="*/ 1652 h 10007"/>
                <a:gd name="connsiteX78" fmla="*/ 7583 w 10000"/>
                <a:gd name="connsiteY78" fmla="*/ 1606 h 10007"/>
                <a:gd name="connsiteX79" fmla="*/ 7643 w 10000"/>
                <a:gd name="connsiteY79" fmla="*/ 1556 h 10007"/>
                <a:gd name="connsiteX80" fmla="*/ 5390 w 10000"/>
                <a:gd name="connsiteY80" fmla="*/ 0 h 10007"/>
                <a:gd name="connsiteX81" fmla="*/ 1401 w 10000"/>
                <a:gd name="connsiteY81" fmla="*/ 0 h 10007"/>
                <a:gd name="connsiteX82" fmla="*/ 1305 w 10000"/>
                <a:gd name="connsiteY82" fmla="*/ 135 h 10007"/>
                <a:gd name="connsiteX83" fmla="*/ 1223 w 10000"/>
                <a:gd name="connsiteY83" fmla="*/ 227 h 10007"/>
                <a:gd name="connsiteX84" fmla="*/ 1149 w 10000"/>
                <a:gd name="connsiteY84" fmla="*/ 323 h 10007"/>
                <a:gd name="connsiteX85" fmla="*/ 1067 w 10000"/>
                <a:gd name="connsiteY85" fmla="*/ 419 h 10007"/>
                <a:gd name="connsiteX86" fmla="*/ 1001 w 10000"/>
                <a:gd name="connsiteY86" fmla="*/ 516 h 10007"/>
                <a:gd name="connsiteX87" fmla="*/ 927 w 10000"/>
                <a:gd name="connsiteY87" fmla="*/ 612 h 10007"/>
                <a:gd name="connsiteX88" fmla="*/ 860 w 10000"/>
                <a:gd name="connsiteY88" fmla="*/ 713 h 10007"/>
                <a:gd name="connsiteX89" fmla="*/ 793 w 10000"/>
                <a:gd name="connsiteY89" fmla="*/ 814 h 10007"/>
                <a:gd name="connsiteX90" fmla="*/ 734 w 10000"/>
                <a:gd name="connsiteY90" fmla="*/ 910 h 10007"/>
                <a:gd name="connsiteX91" fmla="*/ 675 w 10000"/>
                <a:gd name="connsiteY91" fmla="*/ 1011 h 10007"/>
                <a:gd name="connsiteX92" fmla="*/ 615 w 10000"/>
                <a:gd name="connsiteY92" fmla="*/ 1111 h 10007"/>
                <a:gd name="connsiteX93" fmla="*/ 556 w 10000"/>
                <a:gd name="connsiteY93" fmla="*/ 1217 h 10007"/>
                <a:gd name="connsiteX94" fmla="*/ 504 w 10000"/>
                <a:gd name="connsiteY94" fmla="*/ 1313 h 10007"/>
                <a:gd name="connsiteX95" fmla="*/ 452 w 10000"/>
                <a:gd name="connsiteY95" fmla="*/ 1419 h 10007"/>
                <a:gd name="connsiteX96" fmla="*/ 408 w 10000"/>
                <a:gd name="connsiteY96" fmla="*/ 1519 h 10007"/>
                <a:gd name="connsiteX97" fmla="*/ 363 w 10000"/>
                <a:gd name="connsiteY97" fmla="*/ 1625 h 10007"/>
                <a:gd name="connsiteX98" fmla="*/ 319 w 10000"/>
                <a:gd name="connsiteY98" fmla="*/ 1730 h 10007"/>
                <a:gd name="connsiteX99" fmla="*/ 282 w 10000"/>
                <a:gd name="connsiteY99" fmla="*/ 1836 h 10007"/>
                <a:gd name="connsiteX100" fmla="*/ 237 w 10000"/>
                <a:gd name="connsiteY100" fmla="*/ 1946 h 10007"/>
                <a:gd name="connsiteX101" fmla="*/ 208 w 10000"/>
                <a:gd name="connsiteY101" fmla="*/ 2051 h 10007"/>
                <a:gd name="connsiteX102" fmla="*/ 170 w 10000"/>
                <a:gd name="connsiteY102" fmla="*/ 2161 h 10007"/>
                <a:gd name="connsiteX103" fmla="*/ 148 w 10000"/>
                <a:gd name="connsiteY103" fmla="*/ 2271 h 10007"/>
                <a:gd name="connsiteX104" fmla="*/ 119 w 10000"/>
                <a:gd name="connsiteY104" fmla="*/ 2376 h 10007"/>
                <a:gd name="connsiteX105" fmla="*/ 96 w 10000"/>
                <a:gd name="connsiteY105" fmla="*/ 2486 h 10007"/>
                <a:gd name="connsiteX106" fmla="*/ 74 w 10000"/>
                <a:gd name="connsiteY106" fmla="*/ 2596 h 10007"/>
                <a:gd name="connsiteX107" fmla="*/ 52 w 10000"/>
                <a:gd name="connsiteY107" fmla="*/ 2711 h 10007"/>
                <a:gd name="connsiteX108" fmla="*/ 37 w 10000"/>
                <a:gd name="connsiteY108" fmla="*/ 2821 h 10007"/>
                <a:gd name="connsiteX109" fmla="*/ 22 w 10000"/>
                <a:gd name="connsiteY109" fmla="*/ 2931 h 10007"/>
                <a:gd name="connsiteX110" fmla="*/ 15 w 10000"/>
                <a:gd name="connsiteY110" fmla="*/ 3041 h 10007"/>
                <a:gd name="connsiteX111" fmla="*/ 7 w 10000"/>
                <a:gd name="connsiteY111" fmla="*/ 3155 h 10007"/>
                <a:gd name="connsiteX112" fmla="*/ 0 w 10000"/>
                <a:gd name="connsiteY112" fmla="*/ 3265 h 10007"/>
                <a:gd name="connsiteX113" fmla="*/ 0 w 10000"/>
                <a:gd name="connsiteY113" fmla="*/ 3380 h 10007"/>
                <a:gd name="connsiteX114" fmla="*/ 7 w 10000"/>
                <a:gd name="connsiteY114" fmla="*/ 3527 h 10007"/>
                <a:gd name="connsiteX115" fmla="*/ 7 w 10000"/>
                <a:gd name="connsiteY115" fmla="*/ 3673 h 10007"/>
                <a:gd name="connsiteX116" fmla="*/ 22 w 10000"/>
                <a:gd name="connsiteY116" fmla="*/ 3811 h 10007"/>
                <a:gd name="connsiteX117" fmla="*/ 37 w 10000"/>
                <a:gd name="connsiteY117" fmla="*/ 3953 h 10007"/>
                <a:gd name="connsiteX118" fmla="*/ 59 w 10000"/>
                <a:gd name="connsiteY118" fmla="*/ 4095 h 10007"/>
                <a:gd name="connsiteX119" fmla="*/ 89 w 10000"/>
                <a:gd name="connsiteY119" fmla="*/ 4237 h 10007"/>
                <a:gd name="connsiteX120" fmla="*/ 119 w 10000"/>
                <a:gd name="connsiteY120" fmla="*/ 4379 h 10007"/>
                <a:gd name="connsiteX121" fmla="*/ 148 w 10000"/>
                <a:gd name="connsiteY121" fmla="*/ 4521 h 10007"/>
                <a:gd name="connsiteX122" fmla="*/ 193 w 10000"/>
                <a:gd name="connsiteY122" fmla="*/ 4659 h 10007"/>
                <a:gd name="connsiteX123" fmla="*/ 237 w 10000"/>
                <a:gd name="connsiteY123" fmla="*/ 4796 h 10007"/>
                <a:gd name="connsiteX124" fmla="*/ 282 w 10000"/>
                <a:gd name="connsiteY124" fmla="*/ 4934 h 10007"/>
                <a:gd name="connsiteX125" fmla="*/ 334 w 10000"/>
                <a:gd name="connsiteY125" fmla="*/ 5071 h 10007"/>
                <a:gd name="connsiteX126" fmla="*/ 393 w 10000"/>
                <a:gd name="connsiteY126" fmla="*/ 5204 h 10007"/>
                <a:gd name="connsiteX127" fmla="*/ 452 w 10000"/>
                <a:gd name="connsiteY127" fmla="*/ 5337 h 10007"/>
                <a:gd name="connsiteX128" fmla="*/ 519 w 10000"/>
                <a:gd name="connsiteY128" fmla="*/ 5470 h 10007"/>
                <a:gd name="connsiteX129" fmla="*/ 586 w 10000"/>
                <a:gd name="connsiteY129" fmla="*/ 5603 h 10007"/>
                <a:gd name="connsiteX130" fmla="*/ 660 w 10000"/>
                <a:gd name="connsiteY130" fmla="*/ 5731 h 10007"/>
                <a:gd name="connsiteX131" fmla="*/ 741 w 10000"/>
                <a:gd name="connsiteY131" fmla="*/ 5859 h 10007"/>
                <a:gd name="connsiteX132" fmla="*/ 823 w 10000"/>
                <a:gd name="connsiteY132" fmla="*/ 5992 h 10007"/>
                <a:gd name="connsiteX133" fmla="*/ 904 w 10000"/>
                <a:gd name="connsiteY133" fmla="*/ 6116 h 10007"/>
                <a:gd name="connsiteX134" fmla="*/ 993 w 10000"/>
                <a:gd name="connsiteY134" fmla="*/ 6240 h 10007"/>
                <a:gd name="connsiteX135" fmla="*/ 1090 w 10000"/>
                <a:gd name="connsiteY135" fmla="*/ 6359 h 10007"/>
                <a:gd name="connsiteX136" fmla="*/ 1186 w 10000"/>
                <a:gd name="connsiteY136" fmla="*/ 6483 h 10007"/>
                <a:gd name="connsiteX137" fmla="*/ 1290 w 10000"/>
                <a:gd name="connsiteY137" fmla="*/ 6606 h 10007"/>
                <a:gd name="connsiteX138" fmla="*/ 1386 w 10000"/>
                <a:gd name="connsiteY138" fmla="*/ 6726 h 10007"/>
                <a:gd name="connsiteX139" fmla="*/ 1497 w 10000"/>
                <a:gd name="connsiteY139" fmla="*/ 6845 h 10007"/>
                <a:gd name="connsiteX140" fmla="*/ 1609 w 10000"/>
                <a:gd name="connsiteY140" fmla="*/ 6959 h 10007"/>
                <a:gd name="connsiteX141" fmla="*/ 1727 w 10000"/>
                <a:gd name="connsiteY141" fmla="*/ 7078 h 10007"/>
                <a:gd name="connsiteX142" fmla="*/ 1846 w 10000"/>
                <a:gd name="connsiteY142" fmla="*/ 7193 h 10007"/>
                <a:gd name="connsiteX143" fmla="*/ 1964 w 10000"/>
                <a:gd name="connsiteY143" fmla="*/ 7303 h 10007"/>
                <a:gd name="connsiteX144" fmla="*/ 2090 w 10000"/>
                <a:gd name="connsiteY144" fmla="*/ 7413 h 10007"/>
                <a:gd name="connsiteX145" fmla="*/ 2224 w 10000"/>
                <a:gd name="connsiteY145" fmla="*/ 7523 h 10007"/>
                <a:gd name="connsiteX146" fmla="*/ 2350 w 10000"/>
                <a:gd name="connsiteY146" fmla="*/ 7633 h 10007"/>
                <a:gd name="connsiteX147" fmla="*/ 2491 w 10000"/>
                <a:gd name="connsiteY147" fmla="*/ 7738 h 10007"/>
                <a:gd name="connsiteX148" fmla="*/ 2617 w 10000"/>
                <a:gd name="connsiteY148" fmla="*/ 7844 h 10007"/>
                <a:gd name="connsiteX149" fmla="*/ 2765 w 10000"/>
                <a:gd name="connsiteY149" fmla="*/ 7945 h 10007"/>
                <a:gd name="connsiteX150" fmla="*/ 2906 w 10000"/>
                <a:gd name="connsiteY150" fmla="*/ 8045 h 10007"/>
                <a:gd name="connsiteX151" fmla="*/ 3054 w 10000"/>
                <a:gd name="connsiteY151" fmla="*/ 8146 h 10007"/>
                <a:gd name="connsiteX152" fmla="*/ 3210 w 10000"/>
                <a:gd name="connsiteY152" fmla="*/ 8243 h 10007"/>
                <a:gd name="connsiteX153" fmla="*/ 3358 w 10000"/>
                <a:gd name="connsiteY153" fmla="*/ 8339 h 10007"/>
                <a:gd name="connsiteX154" fmla="*/ 3514 w 10000"/>
                <a:gd name="connsiteY154" fmla="*/ 8435 h 10007"/>
                <a:gd name="connsiteX155" fmla="*/ 3677 w 10000"/>
                <a:gd name="connsiteY155" fmla="*/ 8527 h 10007"/>
                <a:gd name="connsiteX156" fmla="*/ 3840 w 10000"/>
                <a:gd name="connsiteY156" fmla="*/ 8614 h 10007"/>
                <a:gd name="connsiteX157" fmla="*/ 4010 w 10000"/>
                <a:gd name="connsiteY157" fmla="*/ 8705 h 10007"/>
                <a:gd name="connsiteX158" fmla="*/ 4181 w 10000"/>
                <a:gd name="connsiteY158" fmla="*/ 8783 h 10007"/>
                <a:gd name="connsiteX159" fmla="*/ 4351 w 10000"/>
                <a:gd name="connsiteY159" fmla="*/ 8870 h 10007"/>
                <a:gd name="connsiteX160" fmla="*/ 4522 w 10000"/>
                <a:gd name="connsiteY160" fmla="*/ 8948 h 10007"/>
                <a:gd name="connsiteX161" fmla="*/ 4700 w 10000"/>
                <a:gd name="connsiteY161" fmla="*/ 9031 h 10007"/>
                <a:gd name="connsiteX162" fmla="*/ 4878 w 10000"/>
                <a:gd name="connsiteY162" fmla="*/ 9109 h 10007"/>
                <a:gd name="connsiteX163" fmla="*/ 5063 w 10000"/>
                <a:gd name="connsiteY163" fmla="*/ 9182 h 10007"/>
                <a:gd name="connsiteX164" fmla="*/ 5248 w 10000"/>
                <a:gd name="connsiteY164" fmla="*/ 9260 h 10007"/>
                <a:gd name="connsiteX165" fmla="*/ 5426 w 10000"/>
                <a:gd name="connsiteY165" fmla="*/ 9329 h 10007"/>
                <a:gd name="connsiteX166" fmla="*/ 5619 w 10000"/>
                <a:gd name="connsiteY166" fmla="*/ 9397 h 10007"/>
                <a:gd name="connsiteX167" fmla="*/ 5812 w 10000"/>
                <a:gd name="connsiteY167" fmla="*/ 9466 h 10007"/>
                <a:gd name="connsiteX168" fmla="*/ 6004 w 10000"/>
                <a:gd name="connsiteY168" fmla="*/ 9530 h 10007"/>
                <a:gd name="connsiteX169" fmla="*/ 6205 w 10000"/>
                <a:gd name="connsiteY169" fmla="*/ 9595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61 h 10007"/>
                <a:gd name="connsiteX179" fmla="*/ 10000 w 10000"/>
                <a:gd name="connsiteY179" fmla="*/ 6148 h 10007"/>
                <a:gd name="connsiteX0" fmla="*/ 10000 w 10000"/>
                <a:gd name="connsiteY0" fmla="*/ 6148 h 10007"/>
                <a:gd name="connsiteX1" fmla="*/ 10000 w 10000"/>
                <a:gd name="connsiteY1" fmla="*/ 6148 h 10007"/>
                <a:gd name="connsiteX2" fmla="*/ 9911 w 10000"/>
                <a:gd name="connsiteY2" fmla="*/ 6134 h 10007"/>
                <a:gd name="connsiteX3" fmla="*/ 9815 w 10000"/>
                <a:gd name="connsiteY3" fmla="*/ 6116 h 10007"/>
                <a:gd name="connsiteX4" fmla="*/ 9726 w 10000"/>
                <a:gd name="connsiteY4" fmla="*/ 6098 h 10007"/>
                <a:gd name="connsiteX5" fmla="*/ 9637 w 10000"/>
                <a:gd name="connsiteY5" fmla="*/ 6075 h 10007"/>
                <a:gd name="connsiteX6" fmla="*/ 9548 w 10000"/>
                <a:gd name="connsiteY6" fmla="*/ 6056 h 10007"/>
                <a:gd name="connsiteX7" fmla="*/ 9466 w 10000"/>
                <a:gd name="connsiteY7" fmla="*/ 6034 h 10007"/>
                <a:gd name="connsiteX8" fmla="*/ 9377 w 10000"/>
                <a:gd name="connsiteY8" fmla="*/ 6011 h 10007"/>
                <a:gd name="connsiteX9" fmla="*/ 9288 w 10000"/>
                <a:gd name="connsiteY9" fmla="*/ 5988 h 10007"/>
                <a:gd name="connsiteX10" fmla="*/ 9118 w 10000"/>
                <a:gd name="connsiteY10" fmla="*/ 5937 h 10007"/>
                <a:gd name="connsiteX11" fmla="*/ 8955 w 10000"/>
                <a:gd name="connsiteY11" fmla="*/ 5882 h 10007"/>
                <a:gd name="connsiteX12" fmla="*/ 8792 w 10000"/>
                <a:gd name="connsiteY12" fmla="*/ 5823 h 10007"/>
                <a:gd name="connsiteX13" fmla="*/ 8636 w 10000"/>
                <a:gd name="connsiteY13" fmla="*/ 5759 h 10007"/>
                <a:gd name="connsiteX14" fmla="*/ 8480 w 10000"/>
                <a:gd name="connsiteY14" fmla="*/ 5694 h 10007"/>
                <a:gd name="connsiteX15" fmla="*/ 8340 w 10000"/>
                <a:gd name="connsiteY15" fmla="*/ 5626 h 10007"/>
                <a:gd name="connsiteX16" fmla="*/ 8199 w 10000"/>
                <a:gd name="connsiteY16" fmla="*/ 5552 h 10007"/>
                <a:gd name="connsiteX17" fmla="*/ 8058 w 10000"/>
                <a:gd name="connsiteY17" fmla="*/ 5474 h 10007"/>
                <a:gd name="connsiteX18" fmla="*/ 7924 w 10000"/>
                <a:gd name="connsiteY18" fmla="*/ 5392 h 10007"/>
                <a:gd name="connsiteX19" fmla="*/ 7798 w 10000"/>
                <a:gd name="connsiteY19" fmla="*/ 5309 h 10007"/>
                <a:gd name="connsiteX20" fmla="*/ 7672 w 10000"/>
                <a:gd name="connsiteY20" fmla="*/ 5222 h 10007"/>
                <a:gd name="connsiteX21" fmla="*/ 7554 w 10000"/>
                <a:gd name="connsiteY21" fmla="*/ 5135 h 10007"/>
                <a:gd name="connsiteX22" fmla="*/ 7450 w 10000"/>
                <a:gd name="connsiteY22" fmla="*/ 5039 h 10007"/>
                <a:gd name="connsiteX23" fmla="*/ 7346 w 10000"/>
                <a:gd name="connsiteY23" fmla="*/ 4943 h 10007"/>
                <a:gd name="connsiteX24" fmla="*/ 7250 w 10000"/>
                <a:gd name="connsiteY24" fmla="*/ 4847 h 10007"/>
                <a:gd name="connsiteX25" fmla="*/ 7161 w 10000"/>
                <a:gd name="connsiteY25" fmla="*/ 4746 h 10007"/>
                <a:gd name="connsiteX26" fmla="*/ 7072 w 10000"/>
                <a:gd name="connsiteY26" fmla="*/ 4645 h 10007"/>
                <a:gd name="connsiteX27" fmla="*/ 6990 w 10000"/>
                <a:gd name="connsiteY27" fmla="*/ 4535 h 10007"/>
                <a:gd name="connsiteX28" fmla="*/ 6953 w 10000"/>
                <a:gd name="connsiteY28" fmla="*/ 4485 h 10007"/>
                <a:gd name="connsiteX29" fmla="*/ 6916 w 10000"/>
                <a:gd name="connsiteY29" fmla="*/ 4430 h 10007"/>
                <a:gd name="connsiteX30" fmla="*/ 6887 w 10000"/>
                <a:gd name="connsiteY30" fmla="*/ 4375 h 10007"/>
                <a:gd name="connsiteX31" fmla="*/ 6850 w 10000"/>
                <a:gd name="connsiteY31" fmla="*/ 4320 h 10007"/>
                <a:gd name="connsiteX32" fmla="*/ 6820 w 10000"/>
                <a:gd name="connsiteY32" fmla="*/ 4265 h 10007"/>
                <a:gd name="connsiteX33" fmla="*/ 6790 w 10000"/>
                <a:gd name="connsiteY33" fmla="*/ 4210 h 10007"/>
                <a:gd name="connsiteX34" fmla="*/ 6768 w 10000"/>
                <a:gd name="connsiteY34" fmla="*/ 4150 h 10007"/>
                <a:gd name="connsiteX35" fmla="*/ 6738 w 10000"/>
                <a:gd name="connsiteY35" fmla="*/ 4095 h 10007"/>
                <a:gd name="connsiteX36" fmla="*/ 6723 w 10000"/>
                <a:gd name="connsiteY36" fmla="*/ 4035 h 10007"/>
                <a:gd name="connsiteX37" fmla="*/ 6694 w 10000"/>
                <a:gd name="connsiteY37" fmla="*/ 3980 h 10007"/>
                <a:gd name="connsiteX38" fmla="*/ 6679 w 10000"/>
                <a:gd name="connsiteY38" fmla="*/ 3921 h 10007"/>
                <a:gd name="connsiteX39" fmla="*/ 6664 w 10000"/>
                <a:gd name="connsiteY39" fmla="*/ 3861 h 10007"/>
                <a:gd name="connsiteX40" fmla="*/ 6649 w 10000"/>
                <a:gd name="connsiteY40" fmla="*/ 3802 h 10007"/>
                <a:gd name="connsiteX41" fmla="*/ 6635 w 10000"/>
                <a:gd name="connsiteY41" fmla="*/ 3747 h 10007"/>
                <a:gd name="connsiteX42" fmla="*/ 6620 w 10000"/>
                <a:gd name="connsiteY42" fmla="*/ 3687 h 10007"/>
                <a:gd name="connsiteX43" fmla="*/ 6612 w 10000"/>
                <a:gd name="connsiteY43" fmla="*/ 3628 h 10007"/>
                <a:gd name="connsiteX44" fmla="*/ 6605 w 10000"/>
                <a:gd name="connsiteY44" fmla="*/ 3568 h 10007"/>
                <a:gd name="connsiteX45" fmla="*/ 6597 w 10000"/>
                <a:gd name="connsiteY45" fmla="*/ 3504 h 10007"/>
                <a:gd name="connsiteX46" fmla="*/ 6597 w 10000"/>
                <a:gd name="connsiteY46" fmla="*/ 3444 h 10007"/>
                <a:gd name="connsiteX47" fmla="*/ 6590 w 10000"/>
                <a:gd name="connsiteY47" fmla="*/ 3380 h 10007"/>
                <a:gd name="connsiteX48" fmla="*/ 6597 w 10000"/>
                <a:gd name="connsiteY48" fmla="*/ 3320 h 10007"/>
                <a:gd name="connsiteX49" fmla="*/ 6605 w 10000"/>
                <a:gd name="connsiteY49" fmla="*/ 3252 h 10007"/>
                <a:gd name="connsiteX50" fmla="*/ 6605 w 10000"/>
                <a:gd name="connsiteY50" fmla="*/ 3188 h 10007"/>
                <a:gd name="connsiteX51" fmla="*/ 6612 w 10000"/>
                <a:gd name="connsiteY51" fmla="*/ 3123 h 10007"/>
                <a:gd name="connsiteX52" fmla="*/ 6620 w 10000"/>
                <a:gd name="connsiteY52" fmla="*/ 3059 h 10007"/>
                <a:gd name="connsiteX53" fmla="*/ 6635 w 10000"/>
                <a:gd name="connsiteY53" fmla="*/ 3000 h 10007"/>
                <a:gd name="connsiteX54" fmla="*/ 6649 w 10000"/>
                <a:gd name="connsiteY54" fmla="*/ 2936 h 10007"/>
                <a:gd name="connsiteX55" fmla="*/ 6664 w 10000"/>
                <a:gd name="connsiteY55" fmla="*/ 2876 h 10007"/>
                <a:gd name="connsiteX56" fmla="*/ 6686 w 10000"/>
                <a:gd name="connsiteY56" fmla="*/ 2812 h 10007"/>
                <a:gd name="connsiteX57" fmla="*/ 6709 w 10000"/>
                <a:gd name="connsiteY57" fmla="*/ 2752 h 10007"/>
                <a:gd name="connsiteX58" fmla="*/ 6731 w 10000"/>
                <a:gd name="connsiteY58" fmla="*/ 2693 h 10007"/>
                <a:gd name="connsiteX59" fmla="*/ 6753 w 10000"/>
                <a:gd name="connsiteY59" fmla="*/ 2628 h 10007"/>
                <a:gd name="connsiteX60" fmla="*/ 6783 w 10000"/>
                <a:gd name="connsiteY60" fmla="*/ 2573 h 10007"/>
                <a:gd name="connsiteX61" fmla="*/ 6812 w 10000"/>
                <a:gd name="connsiteY61" fmla="*/ 2514 h 10007"/>
                <a:gd name="connsiteX62" fmla="*/ 6842 w 10000"/>
                <a:gd name="connsiteY62" fmla="*/ 2454 h 10007"/>
                <a:gd name="connsiteX63" fmla="*/ 6879 w 10000"/>
                <a:gd name="connsiteY63" fmla="*/ 2395 h 10007"/>
                <a:gd name="connsiteX64" fmla="*/ 6909 w 10000"/>
                <a:gd name="connsiteY64" fmla="*/ 2340 h 10007"/>
                <a:gd name="connsiteX65" fmla="*/ 6946 w 10000"/>
                <a:gd name="connsiteY65" fmla="*/ 2280 h 10007"/>
                <a:gd name="connsiteX66" fmla="*/ 6990 w 10000"/>
                <a:gd name="connsiteY66" fmla="*/ 2225 h 10007"/>
                <a:gd name="connsiteX67" fmla="*/ 7027 w 10000"/>
                <a:gd name="connsiteY67" fmla="*/ 2170 h 10007"/>
                <a:gd name="connsiteX68" fmla="*/ 7072 w 10000"/>
                <a:gd name="connsiteY68" fmla="*/ 2115 h 10007"/>
                <a:gd name="connsiteX69" fmla="*/ 7109 w 10000"/>
                <a:gd name="connsiteY69" fmla="*/ 2060 h 10007"/>
                <a:gd name="connsiteX70" fmla="*/ 7161 w 10000"/>
                <a:gd name="connsiteY70" fmla="*/ 2010 h 10007"/>
                <a:gd name="connsiteX71" fmla="*/ 7213 w 10000"/>
                <a:gd name="connsiteY71" fmla="*/ 1955 h 10007"/>
                <a:gd name="connsiteX72" fmla="*/ 7257 w 10000"/>
                <a:gd name="connsiteY72" fmla="*/ 1900 h 10007"/>
                <a:gd name="connsiteX73" fmla="*/ 7309 w 10000"/>
                <a:gd name="connsiteY73" fmla="*/ 1849 h 10007"/>
                <a:gd name="connsiteX74" fmla="*/ 7361 w 10000"/>
                <a:gd name="connsiteY74" fmla="*/ 1799 h 10007"/>
                <a:gd name="connsiteX75" fmla="*/ 7413 w 10000"/>
                <a:gd name="connsiteY75" fmla="*/ 1749 h 10007"/>
                <a:gd name="connsiteX76" fmla="*/ 7472 w 10000"/>
                <a:gd name="connsiteY76" fmla="*/ 1698 h 10007"/>
                <a:gd name="connsiteX77" fmla="*/ 7524 w 10000"/>
                <a:gd name="connsiteY77" fmla="*/ 1652 h 10007"/>
                <a:gd name="connsiteX78" fmla="*/ 7583 w 10000"/>
                <a:gd name="connsiteY78" fmla="*/ 1606 h 10007"/>
                <a:gd name="connsiteX79" fmla="*/ 7643 w 10000"/>
                <a:gd name="connsiteY79" fmla="*/ 1556 h 10007"/>
                <a:gd name="connsiteX80" fmla="*/ 5390 w 10000"/>
                <a:gd name="connsiteY80" fmla="*/ 0 h 10007"/>
                <a:gd name="connsiteX81" fmla="*/ 1401 w 10000"/>
                <a:gd name="connsiteY81" fmla="*/ 21 h 10007"/>
                <a:gd name="connsiteX82" fmla="*/ 1305 w 10000"/>
                <a:gd name="connsiteY82" fmla="*/ 135 h 10007"/>
                <a:gd name="connsiteX83" fmla="*/ 1223 w 10000"/>
                <a:gd name="connsiteY83" fmla="*/ 227 h 10007"/>
                <a:gd name="connsiteX84" fmla="*/ 1149 w 10000"/>
                <a:gd name="connsiteY84" fmla="*/ 323 h 10007"/>
                <a:gd name="connsiteX85" fmla="*/ 1067 w 10000"/>
                <a:gd name="connsiteY85" fmla="*/ 419 h 10007"/>
                <a:gd name="connsiteX86" fmla="*/ 1001 w 10000"/>
                <a:gd name="connsiteY86" fmla="*/ 516 h 10007"/>
                <a:gd name="connsiteX87" fmla="*/ 927 w 10000"/>
                <a:gd name="connsiteY87" fmla="*/ 612 h 10007"/>
                <a:gd name="connsiteX88" fmla="*/ 860 w 10000"/>
                <a:gd name="connsiteY88" fmla="*/ 713 h 10007"/>
                <a:gd name="connsiteX89" fmla="*/ 793 w 10000"/>
                <a:gd name="connsiteY89" fmla="*/ 814 h 10007"/>
                <a:gd name="connsiteX90" fmla="*/ 734 w 10000"/>
                <a:gd name="connsiteY90" fmla="*/ 910 h 10007"/>
                <a:gd name="connsiteX91" fmla="*/ 675 w 10000"/>
                <a:gd name="connsiteY91" fmla="*/ 1011 h 10007"/>
                <a:gd name="connsiteX92" fmla="*/ 615 w 10000"/>
                <a:gd name="connsiteY92" fmla="*/ 1111 h 10007"/>
                <a:gd name="connsiteX93" fmla="*/ 556 w 10000"/>
                <a:gd name="connsiteY93" fmla="*/ 1217 h 10007"/>
                <a:gd name="connsiteX94" fmla="*/ 504 w 10000"/>
                <a:gd name="connsiteY94" fmla="*/ 1313 h 10007"/>
                <a:gd name="connsiteX95" fmla="*/ 452 w 10000"/>
                <a:gd name="connsiteY95" fmla="*/ 1419 h 10007"/>
                <a:gd name="connsiteX96" fmla="*/ 408 w 10000"/>
                <a:gd name="connsiteY96" fmla="*/ 1519 h 10007"/>
                <a:gd name="connsiteX97" fmla="*/ 363 w 10000"/>
                <a:gd name="connsiteY97" fmla="*/ 1625 h 10007"/>
                <a:gd name="connsiteX98" fmla="*/ 319 w 10000"/>
                <a:gd name="connsiteY98" fmla="*/ 1730 h 10007"/>
                <a:gd name="connsiteX99" fmla="*/ 282 w 10000"/>
                <a:gd name="connsiteY99" fmla="*/ 1836 h 10007"/>
                <a:gd name="connsiteX100" fmla="*/ 237 w 10000"/>
                <a:gd name="connsiteY100" fmla="*/ 1946 h 10007"/>
                <a:gd name="connsiteX101" fmla="*/ 208 w 10000"/>
                <a:gd name="connsiteY101" fmla="*/ 2051 h 10007"/>
                <a:gd name="connsiteX102" fmla="*/ 170 w 10000"/>
                <a:gd name="connsiteY102" fmla="*/ 2161 h 10007"/>
                <a:gd name="connsiteX103" fmla="*/ 148 w 10000"/>
                <a:gd name="connsiteY103" fmla="*/ 2271 h 10007"/>
                <a:gd name="connsiteX104" fmla="*/ 119 w 10000"/>
                <a:gd name="connsiteY104" fmla="*/ 2376 h 10007"/>
                <a:gd name="connsiteX105" fmla="*/ 96 w 10000"/>
                <a:gd name="connsiteY105" fmla="*/ 2486 h 10007"/>
                <a:gd name="connsiteX106" fmla="*/ 74 w 10000"/>
                <a:gd name="connsiteY106" fmla="*/ 2596 h 10007"/>
                <a:gd name="connsiteX107" fmla="*/ 52 w 10000"/>
                <a:gd name="connsiteY107" fmla="*/ 2711 h 10007"/>
                <a:gd name="connsiteX108" fmla="*/ 37 w 10000"/>
                <a:gd name="connsiteY108" fmla="*/ 2821 h 10007"/>
                <a:gd name="connsiteX109" fmla="*/ 22 w 10000"/>
                <a:gd name="connsiteY109" fmla="*/ 2931 h 10007"/>
                <a:gd name="connsiteX110" fmla="*/ 15 w 10000"/>
                <a:gd name="connsiteY110" fmla="*/ 3041 h 10007"/>
                <a:gd name="connsiteX111" fmla="*/ 7 w 10000"/>
                <a:gd name="connsiteY111" fmla="*/ 3155 h 10007"/>
                <a:gd name="connsiteX112" fmla="*/ 0 w 10000"/>
                <a:gd name="connsiteY112" fmla="*/ 3265 h 10007"/>
                <a:gd name="connsiteX113" fmla="*/ 0 w 10000"/>
                <a:gd name="connsiteY113" fmla="*/ 3380 h 10007"/>
                <a:gd name="connsiteX114" fmla="*/ 7 w 10000"/>
                <a:gd name="connsiteY114" fmla="*/ 3527 h 10007"/>
                <a:gd name="connsiteX115" fmla="*/ 7 w 10000"/>
                <a:gd name="connsiteY115" fmla="*/ 3673 h 10007"/>
                <a:gd name="connsiteX116" fmla="*/ 22 w 10000"/>
                <a:gd name="connsiteY116" fmla="*/ 3811 h 10007"/>
                <a:gd name="connsiteX117" fmla="*/ 37 w 10000"/>
                <a:gd name="connsiteY117" fmla="*/ 3953 h 10007"/>
                <a:gd name="connsiteX118" fmla="*/ 59 w 10000"/>
                <a:gd name="connsiteY118" fmla="*/ 4095 h 10007"/>
                <a:gd name="connsiteX119" fmla="*/ 89 w 10000"/>
                <a:gd name="connsiteY119" fmla="*/ 4237 h 10007"/>
                <a:gd name="connsiteX120" fmla="*/ 119 w 10000"/>
                <a:gd name="connsiteY120" fmla="*/ 4379 h 10007"/>
                <a:gd name="connsiteX121" fmla="*/ 148 w 10000"/>
                <a:gd name="connsiteY121" fmla="*/ 4521 h 10007"/>
                <a:gd name="connsiteX122" fmla="*/ 193 w 10000"/>
                <a:gd name="connsiteY122" fmla="*/ 4659 h 10007"/>
                <a:gd name="connsiteX123" fmla="*/ 237 w 10000"/>
                <a:gd name="connsiteY123" fmla="*/ 4796 h 10007"/>
                <a:gd name="connsiteX124" fmla="*/ 282 w 10000"/>
                <a:gd name="connsiteY124" fmla="*/ 4934 h 10007"/>
                <a:gd name="connsiteX125" fmla="*/ 334 w 10000"/>
                <a:gd name="connsiteY125" fmla="*/ 5071 h 10007"/>
                <a:gd name="connsiteX126" fmla="*/ 393 w 10000"/>
                <a:gd name="connsiteY126" fmla="*/ 5204 h 10007"/>
                <a:gd name="connsiteX127" fmla="*/ 452 w 10000"/>
                <a:gd name="connsiteY127" fmla="*/ 5337 h 10007"/>
                <a:gd name="connsiteX128" fmla="*/ 519 w 10000"/>
                <a:gd name="connsiteY128" fmla="*/ 5470 h 10007"/>
                <a:gd name="connsiteX129" fmla="*/ 586 w 10000"/>
                <a:gd name="connsiteY129" fmla="*/ 5603 h 10007"/>
                <a:gd name="connsiteX130" fmla="*/ 660 w 10000"/>
                <a:gd name="connsiteY130" fmla="*/ 5731 h 10007"/>
                <a:gd name="connsiteX131" fmla="*/ 741 w 10000"/>
                <a:gd name="connsiteY131" fmla="*/ 5859 h 10007"/>
                <a:gd name="connsiteX132" fmla="*/ 823 w 10000"/>
                <a:gd name="connsiteY132" fmla="*/ 5992 h 10007"/>
                <a:gd name="connsiteX133" fmla="*/ 904 w 10000"/>
                <a:gd name="connsiteY133" fmla="*/ 6116 h 10007"/>
                <a:gd name="connsiteX134" fmla="*/ 993 w 10000"/>
                <a:gd name="connsiteY134" fmla="*/ 6240 h 10007"/>
                <a:gd name="connsiteX135" fmla="*/ 1090 w 10000"/>
                <a:gd name="connsiteY135" fmla="*/ 6359 h 10007"/>
                <a:gd name="connsiteX136" fmla="*/ 1186 w 10000"/>
                <a:gd name="connsiteY136" fmla="*/ 6483 h 10007"/>
                <a:gd name="connsiteX137" fmla="*/ 1290 w 10000"/>
                <a:gd name="connsiteY137" fmla="*/ 6606 h 10007"/>
                <a:gd name="connsiteX138" fmla="*/ 1386 w 10000"/>
                <a:gd name="connsiteY138" fmla="*/ 6726 h 10007"/>
                <a:gd name="connsiteX139" fmla="*/ 1497 w 10000"/>
                <a:gd name="connsiteY139" fmla="*/ 6845 h 10007"/>
                <a:gd name="connsiteX140" fmla="*/ 1609 w 10000"/>
                <a:gd name="connsiteY140" fmla="*/ 6959 h 10007"/>
                <a:gd name="connsiteX141" fmla="*/ 1727 w 10000"/>
                <a:gd name="connsiteY141" fmla="*/ 7078 h 10007"/>
                <a:gd name="connsiteX142" fmla="*/ 1846 w 10000"/>
                <a:gd name="connsiteY142" fmla="*/ 7193 h 10007"/>
                <a:gd name="connsiteX143" fmla="*/ 1964 w 10000"/>
                <a:gd name="connsiteY143" fmla="*/ 7303 h 10007"/>
                <a:gd name="connsiteX144" fmla="*/ 2090 w 10000"/>
                <a:gd name="connsiteY144" fmla="*/ 7413 h 10007"/>
                <a:gd name="connsiteX145" fmla="*/ 2224 w 10000"/>
                <a:gd name="connsiteY145" fmla="*/ 7523 h 10007"/>
                <a:gd name="connsiteX146" fmla="*/ 2350 w 10000"/>
                <a:gd name="connsiteY146" fmla="*/ 7633 h 10007"/>
                <a:gd name="connsiteX147" fmla="*/ 2491 w 10000"/>
                <a:gd name="connsiteY147" fmla="*/ 7738 h 10007"/>
                <a:gd name="connsiteX148" fmla="*/ 2617 w 10000"/>
                <a:gd name="connsiteY148" fmla="*/ 7844 h 10007"/>
                <a:gd name="connsiteX149" fmla="*/ 2765 w 10000"/>
                <a:gd name="connsiteY149" fmla="*/ 7945 h 10007"/>
                <a:gd name="connsiteX150" fmla="*/ 2906 w 10000"/>
                <a:gd name="connsiteY150" fmla="*/ 8045 h 10007"/>
                <a:gd name="connsiteX151" fmla="*/ 3054 w 10000"/>
                <a:gd name="connsiteY151" fmla="*/ 8146 h 10007"/>
                <a:gd name="connsiteX152" fmla="*/ 3210 w 10000"/>
                <a:gd name="connsiteY152" fmla="*/ 8243 h 10007"/>
                <a:gd name="connsiteX153" fmla="*/ 3358 w 10000"/>
                <a:gd name="connsiteY153" fmla="*/ 8339 h 10007"/>
                <a:gd name="connsiteX154" fmla="*/ 3514 w 10000"/>
                <a:gd name="connsiteY154" fmla="*/ 8435 h 10007"/>
                <a:gd name="connsiteX155" fmla="*/ 3677 w 10000"/>
                <a:gd name="connsiteY155" fmla="*/ 8527 h 10007"/>
                <a:gd name="connsiteX156" fmla="*/ 3840 w 10000"/>
                <a:gd name="connsiteY156" fmla="*/ 8614 h 10007"/>
                <a:gd name="connsiteX157" fmla="*/ 4010 w 10000"/>
                <a:gd name="connsiteY157" fmla="*/ 8705 h 10007"/>
                <a:gd name="connsiteX158" fmla="*/ 4181 w 10000"/>
                <a:gd name="connsiteY158" fmla="*/ 8783 h 10007"/>
                <a:gd name="connsiteX159" fmla="*/ 4351 w 10000"/>
                <a:gd name="connsiteY159" fmla="*/ 8870 h 10007"/>
                <a:gd name="connsiteX160" fmla="*/ 4522 w 10000"/>
                <a:gd name="connsiteY160" fmla="*/ 8948 h 10007"/>
                <a:gd name="connsiteX161" fmla="*/ 4700 w 10000"/>
                <a:gd name="connsiteY161" fmla="*/ 9031 h 10007"/>
                <a:gd name="connsiteX162" fmla="*/ 4878 w 10000"/>
                <a:gd name="connsiteY162" fmla="*/ 9109 h 10007"/>
                <a:gd name="connsiteX163" fmla="*/ 5063 w 10000"/>
                <a:gd name="connsiteY163" fmla="*/ 9182 h 10007"/>
                <a:gd name="connsiteX164" fmla="*/ 5248 w 10000"/>
                <a:gd name="connsiteY164" fmla="*/ 9260 h 10007"/>
                <a:gd name="connsiteX165" fmla="*/ 5426 w 10000"/>
                <a:gd name="connsiteY165" fmla="*/ 9329 h 10007"/>
                <a:gd name="connsiteX166" fmla="*/ 5619 w 10000"/>
                <a:gd name="connsiteY166" fmla="*/ 9397 h 10007"/>
                <a:gd name="connsiteX167" fmla="*/ 5812 w 10000"/>
                <a:gd name="connsiteY167" fmla="*/ 9466 h 10007"/>
                <a:gd name="connsiteX168" fmla="*/ 6004 w 10000"/>
                <a:gd name="connsiteY168" fmla="*/ 9530 h 10007"/>
                <a:gd name="connsiteX169" fmla="*/ 6205 w 10000"/>
                <a:gd name="connsiteY169" fmla="*/ 9595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61 h 10007"/>
                <a:gd name="connsiteX179" fmla="*/ 10000 w 10000"/>
                <a:gd name="connsiteY179" fmla="*/ 6148 h 10007"/>
                <a:gd name="connsiteX0" fmla="*/ 10000 w 10000"/>
                <a:gd name="connsiteY0" fmla="*/ 6127 h 9986"/>
                <a:gd name="connsiteX1" fmla="*/ 10000 w 10000"/>
                <a:gd name="connsiteY1" fmla="*/ 6127 h 9986"/>
                <a:gd name="connsiteX2" fmla="*/ 9911 w 10000"/>
                <a:gd name="connsiteY2" fmla="*/ 6113 h 9986"/>
                <a:gd name="connsiteX3" fmla="*/ 9815 w 10000"/>
                <a:gd name="connsiteY3" fmla="*/ 6095 h 9986"/>
                <a:gd name="connsiteX4" fmla="*/ 9726 w 10000"/>
                <a:gd name="connsiteY4" fmla="*/ 6077 h 9986"/>
                <a:gd name="connsiteX5" fmla="*/ 9637 w 10000"/>
                <a:gd name="connsiteY5" fmla="*/ 6054 h 9986"/>
                <a:gd name="connsiteX6" fmla="*/ 9548 w 10000"/>
                <a:gd name="connsiteY6" fmla="*/ 6035 h 9986"/>
                <a:gd name="connsiteX7" fmla="*/ 9466 w 10000"/>
                <a:gd name="connsiteY7" fmla="*/ 6013 h 9986"/>
                <a:gd name="connsiteX8" fmla="*/ 9377 w 10000"/>
                <a:gd name="connsiteY8" fmla="*/ 5990 h 9986"/>
                <a:gd name="connsiteX9" fmla="*/ 9288 w 10000"/>
                <a:gd name="connsiteY9" fmla="*/ 5967 h 9986"/>
                <a:gd name="connsiteX10" fmla="*/ 9118 w 10000"/>
                <a:gd name="connsiteY10" fmla="*/ 5916 h 9986"/>
                <a:gd name="connsiteX11" fmla="*/ 8955 w 10000"/>
                <a:gd name="connsiteY11" fmla="*/ 5861 h 9986"/>
                <a:gd name="connsiteX12" fmla="*/ 8792 w 10000"/>
                <a:gd name="connsiteY12" fmla="*/ 5802 h 9986"/>
                <a:gd name="connsiteX13" fmla="*/ 8636 w 10000"/>
                <a:gd name="connsiteY13" fmla="*/ 5738 h 9986"/>
                <a:gd name="connsiteX14" fmla="*/ 8480 w 10000"/>
                <a:gd name="connsiteY14" fmla="*/ 5673 h 9986"/>
                <a:gd name="connsiteX15" fmla="*/ 8340 w 10000"/>
                <a:gd name="connsiteY15" fmla="*/ 5605 h 9986"/>
                <a:gd name="connsiteX16" fmla="*/ 8199 w 10000"/>
                <a:gd name="connsiteY16" fmla="*/ 5531 h 9986"/>
                <a:gd name="connsiteX17" fmla="*/ 8058 w 10000"/>
                <a:gd name="connsiteY17" fmla="*/ 5453 h 9986"/>
                <a:gd name="connsiteX18" fmla="*/ 7924 w 10000"/>
                <a:gd name="connsiteY18" fmla="*/ 5371 h 9986"/>
                <a:gd name="connsiteX19" fmla="*/ 7798 w 10000"/>
                <a:gd name="connsiteY19" fmla="*/ 5288 h 9986"/>
                <a:gd name="connsiteX20" fmla="*/ 7672 w 10000"/>
                <a:gd name="connsiteY20" fmla="*/ 5201 h 9986"/>
                <a:gd name="connsiteX21" fmla="*/ 7554 w 10000"/>
                <a:gd name="connsiteY21" fmla="*/ 5114 h 9986"/>
                <a:gd name="connsiteX22" fmla="*/ 7450 w 10000"/>
                <a:gd name="connsiteY22" fmla="*/ 5018 h 9986"/>
                <a:gd name="connsiteX23" fmla="*/ 7346 w 10000"/>
                <a:gd name="connsiteY23" fmla="*/ 4922 h 9986"/>
                <a:gd name="connsiteX24" fmla="*/ 7250 w 10000"/>
                <a:gd name="connsiteY24" fmla="*/ 4826 h 9986"/>
                <a:gd name="connsiteX25" fmla="*/ 7161 w 10000"/>
                <a:gd name="connsiteY25" fmla="*/ 4725 h 9986"/>
                <a:gd name="connsiteX26" fmla="*/ 7072 w 10000"/>
                <a:gd name="connsiteY26" fmla="*/ 4624 h 9986"/>
                <a:gd name="connsiteX27" fmla="*/ 6990 w 10000"/>
                <a:gd name="connsiteY27" fmla="*/ 4514 h 9986"/>
                <a:gd name="connsiteX28" fmla="*/ 6953 w 10000"/>
                <a:gd name="connsiteY28" fmla="*/ 4464 h 9986"/>
                <a:gd name="connsiteX29" fmla="*/ 6916 w 10000"/>
                <a:gd name="connsiteY29" fmla="*/ 4409 h 9986"/>
                <a:gd name="connsiteX30" fmla="*/ 6887 w 10000"/>
                <a:gd name="connsiteY30" fmla="*/ 4354 h 9986"/>
                <a:gd name="connsiteX31" fmla="*/ 6850 w 10000"/>
                <a:gd name="connsiteY31" fmla="*/ 4299 h 9986"/>
                <a:gd name="connsiteX32" fmla="*/ 6820 w 10000"/>
                <a:gd name="connsiteY32" fmla="*/ 4244 h 9986"/>
                <a:gd name="connsiteX33" fmla="*/ 6790 w 10000"/>
                <a:gd name="connsiteY33" fmla="*/ 4189 h 9986"/>
                <a:gd name="connsiteX34" fmla="*/ 6768 w 10000"/>
                <a:gd name="connsiteY34" fmla="*/ 4129 h 9986"/>
                <a:gd name="connsiteX35" fmla="*/ 6738 w 10000"/>
                <a:gd name="connsiteY35" fmla="*/ 4074 h 9986"/>
                <a:gd name="connsiteX36" fmla="*/ 6723 w 10000"/>
                <a:gd name="connsiteY36" fmla="*/ 4014 h 9986"/>
                <a:gd name="connsiteX37" fmla="*/ 6694 w 10000"/>
                <a:gd name="connsiteY37" fmla="*/ 3959 h 9986"/>
                <a:gd name="connsiteX38" fmla="*/ 6679 w 10000"/>
                <a:gd name="connsiteY38" fmla="*/ 3900 h 9986"/>
                <a:gd name="connsiteX39" fmla="*/ 6664 w 10000"/>
                <a:gd name="connsiteY39" fmla="*/ 3840 h 9986"/>
                <a:gd name="connsiteX40" fmla="*/ 6649 w 10000"/>
                <a:gd name="connsiteY40" fmla="*/ 3781 h 9986"/>
                <a:gd name="connsiteX41" fmla="*/ 6635 w 10000"/>
                <a:gd name="connsiteY41" fmla="*/ 3726 h 9986"/>
                <a:gd name="connsiteX42" fmla="*/ 6620 w 10000"/>
                <a:gd name="connsiteY42" fmla="*/ 3666 h 9986"/>
                <a:gd name="connsiteX43" fmla="*/ 6612 w 10000"/>
                <a:gd name="connsiteY43" fmla="*/ 3607 h 9986"/>
                <a:gd name="connsiteX44" fmla="*/ 6605 w 10000"/>
                <a:gd name="connsiteY44" fmla="*/ 3547 h 9986"/>
                <a:gd name="connsiteX45" fmla="*/ 6597 w 10000"/>
                <a:gd name="connsiteY45" fmla="*/ 3483 h 9986"/>
                <a:gd name="connsiteX46" fmla="*/ 6597 w 10000"/>
                <a:gd name="connsiteY46" fmla="*/ 3423 h 9986"/>
                <a:gd name="connsiteX47" fmla="*/ 6590 w 10000"/>
                <a:gd name="connsiteY47" fmla="*/ 3359 h 9986"/>
                <a:gd name="connsiteX48" fmla="*/ 6597 w 10000"/>
                <a:gd name="connsiteY48" fmla="*/ 3299 h 9986"/>
                <a:gd name="connsiteX49" fmla="*/ 6605 w 10000"/>
                <a:gd name="connsiteY49" fmla="*/ 3231 h 9986"/>
                <a:gd name="connsiteX50" fmla="*/ 6605 w 10000"/>
                <a:gd name="connsiteY50" fmla="*/ 3167 h 9986"/>
                <a:gd name="connsiteX51" fmla="*/ 6612 w 10000"/>
                <a:gd name="connsiteY51" fmla="*/ 3102 h 9986"/>
                <a:gd name="connsiteX52" fmla="*/ 6620 w 10000"/>
                <a:gd name="connsiteY52" fmla="*/ 3038 h 9986"/>
                <a:gd name="connsiteX53" fmla="*/ 6635 w 10000"/>
                <a:gd name="connsiteY53" fmla="*/ 2979 h 9986"/>
                <a:gd name="connsiteX54" fmla="*/ 6649 w 10000"/>
                <a:gd name="connsiteY54" fmla="*/ 2915 h 9986"/>
                <a:gd name="connsiteX55" fmla="*/ 6664 w 10000"/>
                <a:gd name="connsiteY55" fmla="*/ 2855 h 9986"/>
                <a:gd name="connsiteX56" fmla="*/ 6686 w 10000"/>
                <a:gd name="connsiteY56" fmla="*/ 2791 h 9986"/>
                <a:gd name="connsiteX57" fmla="*/ 6709 w 10000"/>
                <a:gd name="connsiteY57" fmla="*/ 2731 h 9986"/>
                <a:gd name="connsiteX58" fmla="*/ 6731 w 10000"/>
                <a:gd name="connsiteY58" fmla="*/ 2672 h 9986"/>
                <a:gd name="connsiteX59" fmla="*/ 6753 w 10000"/>
                <a:gd name="connsiteY59" fmla="*/ 2607 h 9986"/>
                <a:gd name="connsiteX60" fmla="*/ 6783 w 10000"/>
                <a:gd name="connsiteY60" fmla="*/ 2552 h 9986"/>
                <a:gd name="connsiteX61" fmla="*/ 6812 w 10000"/>
                <a:gd name="connsiteY61" fmla="*/ 2493 h 9986"/>
                <a:gd name="connsiteX62" fmla="*/ 6842 w 10000"/>
                <a:gd name="connsiteY62" fmla="*/ 2433 h 9986"/>
                <a:gd name="connsiteX63" fmla="*/ 6879 w 10000"/>
                <a:gd name="connsiteY63" fmla="*/ 2374 h 9986"/>
                <a:gd name="connsiteX64" fmla="*/ 6909 w 10000"/>
                <a:gd name="connsiteY64" fmla="*/ 2319 h 9986"/>
                <a:gd name="connsiteX65" fmla="*/ 6946 w 10000"/>
                <a:gd name="connsiteY65" fmla="*/ 2259 h 9986"/>
                <a:gd name="connsiteX66" fmla="*/ 6990 w 10000"/>
                <a:gd name="connsiteY66" fmla="*/ 2204 h 9986"/>
                <a:gd name="connsiteX67" fmla="*/ 7027 w 10000"/>
                <a:gd name="connsiteY67" fmla="*/ 2149 h 9986"/>
                <a:gd name="connsiteX68" fmla="*/ 7072 w 10000"/>
                <a:gd name="connsiteY68" fmla="*/ 2094 h 9986"/>
                <a:gd name="connsiteX69" fmla="*/ 7109 w 10000"/>
                <a:gd name="connsiteY69" fmla="*/ 2039 h 9986"/>
                <a:gd name="connsiteX70" fmla="*/ 7161 w 10000"/>
                <a:gd name="connsiteY70" fmla="*/ 1989 h 9986"/>
                <a:gd name="connsiteX71" fmla="*/ 7213 w 10000"/>
                <a:gd name="connsiteY71" fmla="*/ 1934 h 9986"/>
                <a:gd name="connsiteX72" fmla="*/ 7257 w 10000"/>
                <a:gd name="connsiteY72" fmla="*/ 1879 h 9986"/>
                <a:gd name="connsiteX73" fmla="*/ 7309 w 10000"/>
                <a:gd name="connsiteY73" fmla="*/ 1828 h 9986"/>
                <a:gd name="connsiteX74" fmla="*/ 7361 w 10000"/>
                <a:gd name="connsiteY74" fmla="*/ 1778 h 9986"/>
                <a:gd name="connsiteX75" fmla="*/ 7413 w 10000"/>
                <a:gd name="connsiteY75" fmla="*/ 1728 h 9986"/>
                <a:gd name="connsiteX76" fmla="*/ 7472 w 10000"/>
                <a:gd name="connsiteY76" fmla="*/ 1677 h 9986"/>
                <a:gd name="connsiteX77" fmla="*/ 7524 w 10000"/>
                <a:gd name="connsiteY77" fmla="*/ 1631 h 9986"/>
                <a:gd name="connsiteX78" fmla="*/ 7583 w 10000"/>
                <a:gd name="connsiteY78" fmla="*/ 1585 h 9986"/>
                <a:gd name="connsiteX79" fmla="*/ 7643 w 10000"/>
                <a:gd name="connsiteY79" fmla="*/ 1535 h 9986"/>
                <a:gd name="connsiteX80" fmla="*/ 5390 w 10000"/>
                <a:gd name="connsiteY80" fmla="*/ 6 h 9986"/>
                <a:gd name="connsiteX81" fmla="*/ 1401 w 10000"/>
                <a:gd name="connsiteY81" fmla="*/ 0 h 9986"/>
                <a:gd name="connsiteX82" fmla="*/ 1305 w 10000"/>
                <a:gd name="connsiteY82" fmla="*/ 114 h 9986"/>
                <a:gd name="connsiteX83" fmla="*/ 1223 w 10000"/>
                <a:gd name="connsiteY83" fmla="*/ 206 h 9986"/>
                <a:gd name="connsiteX84" fmla="*/ 1149 w 10000"/>
                <a:gd name="connsiteY84" fmla="*/ 302 h 9986"/>
                <a:gd name="connsiteX85" fmla="*/ 1067 w 10000"/>
                <a:gd name="connsiteY85" fmla="*/ 398 h 9986"/>
                <a:gd name="connsiteX86" fmla="*/ 1001 w 10000"/>
                <a:gd name="connsiteY86" fmla="*/ 495 h 9986"/>
                <a:gd name="connsiteX87" fmla="*/ 927 w 10000"/>
                <a:gd name="connsiteY87" fmla="*/ 591 h 9986"/>
                <a:gd name="connsiteX88" fmla="*/ 860 w 10000"/>
                <a:gd name="connsiteY88" fmla="*/ 692 h 9986"/>
                <a:gd name="connsiteX89" fmla="*/ 793 w 10000"/>
                <a:gd name="connsiteY89" fmla="*/ 793 h 9986"/>
                <a:gd name="connsiteX90" fmla="*/ 734 w 10000"/>
                <a:gd name="connsiteY90" fmla="*/ 889 h 9986"/>
                <a:gd name="connsiteX91" fmla="*/ 675 w 10000"/>
                <a:gd name="connsiteY91" fmla="*/ 990 h 9986"/>
                <a:gd name="connsiteX92" fmla="*/ 615 w 10000"/>
                <a:gd name="connsiteY92" fmla="*/ 1090 h 9986"/>
                <a:gd name="connsiteX93" fmla="*/ 556 w 10000"/>
                <a:gd name="connsiteY93" fmla="*/ 1196 h 9986"/>
                <a:gd name="connsiteX94" fmla="*/ 504 w 10000"/>
                <a:gd name="connsiteY94" fmla="*/ 1292 h 9986"/>
                <a:gd name="connsiteX95" fmla="*/ 452 w 10000"/>
                <a:gd name="connsiteY95" fmla="*/ 1398 h 9986"/>
                <a:gd name="connsiteX96" fmla="*/ 408 w 10000"/>
                <a:gd name="connsiteY96" fmla="*/ 1498 h 9986"/>
                <a:gd name="connsiteX97" fmla="*/ 363 w 10000"/>
                <a:gd name="connsiteY97" fmla="*/ 1604 h 9986"/>
                <a:gd name="connsiteX98" fmla="*/ 319 w 10000"/>
                <a:gd name="connsiteY98" fmla="*/ 1709 h 9986"/>
                <a:gd name="connsiteX99" fmla="*/ 282 w 10000"/>
                <a:gd name="connsiteY99" fmla="*/ 1815 h 9986"/>
                <a:gd name="connsiteX100" fmla="*/ 237 w 10000"/>
                <a:gd name="connsiteY100" fmla="*/ 1925 h 9986"/>
                <a:gd name="connsiteX101" fmla="*/ 208 w 10000"/>
                <a:gd name="connsiteY101" fmla="*/ 2030 h 9986"/>
                <a:gd name="connsiteX102" fmla="*/ 170 w 10000"/>
                <a:gd name="connsiteY102" fmla="*/ 2140 h 9986"/>
                <a:gd name="connsiteX103" fmla="*/ 148 w 10000"/>
                <a:gd name="connsiteY103" fmla="*/ 2250 h 9986"/>
                <a:gd name="connsiteX104" fmla="*/ 119 w 10000"/>
                <a:gd name="connsiteY104" fmla="*/ 2355 h 9986"/>
                <a:gd name="connsiteX105" fmla="*/ 96 w 10000"/>
                <a:gd name="connsiteY105" fmla="*/ 2465 h 9986"/>
                <a:gd name="connsiteX106" fmla="*/ 74 w 10000"/>
                <a:gd name="connsiteY106" fmla="*/ 2575 h 9986"/>
                <a:gd name="connsiteX107" fmla="*/ 52 w 10000"/>
                <a:gd name="connsiteY107" fmla="*/ 2690 h 9986"/>
                <a:gd name="connsiteX108" fmla="*/ 37 w 10000"/>
                <a:gd name="connsiteY108" fmla="*/ 2800 h 9986"/>
                <a:gd name="connsiteX109" fmla="*/ 22 w 10000"/>
                <a:gd name="connsiteY109" fmla="*/ 2910 h 9986"/>
                <a:gd name="connsiteX110" fmla="*/ 15 w 10000"/>
                <a:gd name="connsiteY110" fmla="*/ 3020 h 9986"/>
                <a:gd name="connsiteX111" fmla="*/ 7 w 10000"/>
                <a:gd name="connsiteY111" fmla="*/ 3134 h 9986"/>
                <a:gd name="connsiteX112" fmla="*/ 0 w 10000"/>
                <a:gd name="connsiteY112" fmla="*/ 3244 h 9986"/>
                <a:gd name="connsiteX113" fmla="*/ 0 w 10000"/>
                <a:gd name="connsiteY113" fmla="*/ 3359 h 9986"/>
                <a:gd name="connsiteX114" fmla="*/ 7 w 10000"/>
                <a:gd name="connsiteY114" fmla="*/ 3506 h 9986"/>
                <a:gd name="connsiteX115" fmla="*/ 7 w 10000"/>
                <a:gd name="connsiteY115" fmla="*/ 3652 h 9986"/>
                <a:gd name="connsiteX116" fmla="*/ 22 w 10000"/>
                <a:gd name="connsiteY116" fmla="*/ 3790 h 9986"/>
                <a:gd name="connsiteX117" fmla="*/ 37 w 10000"/>
                <a:gd name="connsiteY117" fmla="*/ 3932 h 9986"/>
                <a:gd name="connsiteX118" fmla="*/ 59 w 10000"/>
                <a:gd name="connsiteY118" fmla="*/ 4074 h 9986"/>
                <a:gd name="connsiteX119" fmla="*/ 89 w 10000"/>
                <a:gd name="connsiteY119" fmla="*/ 4216 h 9986"/>
                <a:gd name="connsiteX120" fmla="*/ 119 w 10000"/>
                <a:gd name="connsiteY120" fmla="*/ 4358 h 9986"/>
                <a:gd name="connsiteX121" fmla="*/ 148 w 10000"/>
                <a:gd name="connsiteY121" fmla="*/ 4500 h 9986"/>
                <a:gd name="connsiteX122" fmla="*/ 193 w 10000"/>
                <a:gd name="connsiteY122" fmla="*/ 4638 h 9986"/>
                <a:gd name="connsiteX123" fmla="*/ 237 w 10000"/>
                <a:gd name="connsiteY123" fmla="*/ 4775 h 9986"/>
                <a:gd name="connsiteX124" fmla="*/ 282 w 10000"/>
                <a:gd name="connsiteY124" fmla="*/ 4913 h 9986"/>
                <a:gd name="connsiteX125" fmla="*/ 334 w 10000"/>
                <a:gd name="connsiteY125" fmla="*/ 5050 h 9986"/>
                <a:gd name="connsiteX126" fmla="*/ 393 w 10000"/>
                <a:gd name="connsiteY126" fmla="*/ 5183 h 9986"/>
                <a:gd name="connsiteX127" fmla="*/ 452 w 10000"/>
                <a:gd name="connsiteY127" fmla="*/ 5316 h 9986"/>
                <a:gd name="connsiteX128" fmla="*/ 519 w 10000"/>
                <a:gd name="connsiteY128" fmla="*/ 5449 h 9986"/>
                <a:gd name="connsiteX129" fmla="*/ 586 w 10000"/>
                <a:gd name="connsiteY129" fmla="*/ 5582 h 9986"/>
                <a:gd name="connsiteX130" fmla="*/ 660 w 10000"/>
                <a:gd name="connsiteY130" fmla="*/ 5710 h 9986"/>
                <a:gd name="connsiteX131" fmla="*/ 741 w 10000"/>
                <a:gd name="connsiteY131" fmla="*/ 5838 h 9986"/>
                <a:gd name="connsiteX132" fmla="*/ 823 w 10000"/>
                <a:gd name="connsiteY132" fmla="*/ 5971 h 9986"/>
                <a:gd name="connsiteX133" fmla="*/ 904 w 10000"/>
                <a:gd name="connsiteY133" fmla="*/ 6095 h 9986"/>
                <a:gd name="connsiteX134" fmla="*/ 993 w 10000"/>
                <a:gd name="connsiteY134" fmla="*/ 6219 h 9986"/>
                <a:gd name="connsiteX135" fmla="*/ 1090 w 10000"/>
                <a:gd name="connsiteY135" fmla="*/ 6338 h 9986"/>
                <a:gd name="connsiteX136" fmla="*/ 1186 w 10000"/>
                <a:gd name="connsiteY136" fmla="*/ 6462 h 9986"/>
                <a:gd name="connsiteX137" fmla="*/ 1290 w 10000"/>
                <a:gd name="connsiteY137" fmla="*/ 6585 h 9986"/>
                <a:gd name="connsiteX138" fmla="*/ 1386 w 10000"/>
                <a:gd name="connsiteY138" fmla="*/ 6705 h 9986"/>
                <a:gd name="connsiteX139" fmla="*/ 1497 w 10000"/>
                <a:gd name="connsiteY139" fmla="*/ 6824 h 9986"/>
                <a:gd name="connsiteX140" fmla="*/ 1609 w 10000"/>
                <a:gd name="connsiteY140" fmla="*/ 6938 h 9986"/>
                <a:gd name="connsiteX141" fmla="*/ 1727 w 10000"/>
                <a:gd name="connsiteY141" fmla="*/ 7057 h 9986"/>
                <a:gd name="connsiteX142" fmla="*/ 1846 w 10000"/>
                <a:gd name="connsiteY142" fmla="*/ 7172 h 9986"/>
                <a:gd name="connsiteX143" fmla="*/ 1964 w 10000"/>
                <a:gd name="connsiteY143" fmla="*/ 7282 h 9986"/>
                <a:gd name="connsiteX144" fmla="*/ 2090 w 10000"/>
                <a:gd name="connsiteY144" fmla="*/ 7392 h 9986"/>
                <a:gd name="connsiteX145" fmla="*/ 2224 w 10000"/>
                <a:gd name="connsiteY145" fmla="*/ 7502 h 9986"/>
                <a:gd name="connsiteX146" fmla="*/ 2350 w 10000"/>
                <a:gd name="connsiteY146" fmla="*/ 7612 h 9986"/>
                <a:gd name="connsiteX147" fmla="*/ 2491 w 10000"/>
                <a:gd name="connsiteY147" fmla="*/ 7717 h 9986"/>
                <a:gd name="connsiteX148" fmla="*/ 2617 w 10000"/>
                <a:gd name="connsiteY148" fmla="*/ 7823 h 9986"/>
                <a:gd name="connsiteX149" fmla="*/ 2765 w 10000"/>
                <a:gd name="connsiteY149" fmla="*/ 7924 h 9986"/>
                <a:gd name="connsiteX150" fmla="*/ 2906 w 10000"/>
                <a:gd name="connsiteY150" fmla="*/ 8024 h 9986"/>
                <a:gd name="connsiteX151" fmla="*/ 3054 w 10000"/>
                <a:gd name="connsiteY151" fmla="*/ 8125 h 9986"/>
                <a:gd name="connsiteX152" fmla="*/ 3210 w 10000"/>
                <a:gd name="connsiteY152" fmla="*/ 8222 h 9986"/>
                <a:gd name="connsiteX153" fmla="*/ 3358 w 10000"/>
                <a:gd name="connsiteY153" fmla="*/ 8318 h 9986"/>
                <a:gd name="connsiteX154" fmla="*/ 3514 w 10000"/>
                <a:gd name="connsiteY154" fmla="*/ 8414 h 9986"/>
                <a:gd name="connsiteX155" fmla="*/ 3677 w 10000"/>
                <a:gd name="connsiteY155" fmla="*/ 8506 h 9986"/>
                <a:gd name="connsiteX156" fmla="*/ 3840 w 10000"/>
                <a:gd name="connsiteY156" fmla="*/ 8593 h 9986"/>
                <a:gd name="connsiteX157" fmla="*/ 4010 w 10000"/>
                <a:gd name="connsiteY157" fmla="*/ 8684 h 9986"/>
                <a:gd name="connsiteX158" fmla="*/ 4181 w 10000"/>
                <a:gd name="connsiteY158" fmla="*/ 8762 h 9986"/>
                <a:gd name="connsiteX159" fmla="*/ 4351 w 10000"/>
                <a:gd name="connsiteY159" fmla="*/ 8849 h 9986"/>
                <a:gd name="connsiteX160" fmla="*/ 4522 w 10000"/>
                <a:gd name="connsiteY160" fmla="*/ 8927 h 9986"/>
                <a:gd name="connsiteX161" fmla="*/ 4700 w 10000"/>
                <a:gd name="connsiteY161" fmla="*/ 9010 h 9986"/>
                <a:gd name="connsiteX162" fmla="*/ 4878 w 10000"/>
                <a:gd name="connsiteY162" fmla="*/ 9088 h 9986"/>
                <a:gd name="connsiteX163" fmla="*/ 5063 w 10000"/>
                <a:gd name="connsiteY163" fmla="*/ 9161 h 9986"/>
                <a:gd name="connsiteX164" fmla="*/ 5248 w 10000"/>
                <a:gd name="connsiteY164" fmla="*/ 9239 h 9986"/>
                <a:gd name="connsiteX165" fmla="*/ 5426 w 10000"/>
                <a:gd name="connsiteY165" fmla="*/ 9308 h 9986"/>
                <a:gd name="connsiteX166" fmla="*/ 5619 w 10000"/>
                <a:gd name="connsiteY166" fmla="*/ 9376 h 9986"/>
                <a:gd name="connsiteX167" fmla="*/ 5812 w 10000"/>
                <a:gd name="connsiteY167" fmla="*/ 9445 h 9986"/>
                <a:gd name="connsiteX168" fmla="*/ 6004 w 10000"/>
                <a:gd name="connsiteY168" fmla="*/ 9509 h 9986"/>
                <a:gd name="connsiteX169" fmla="*/ 6205 w 10000"/>
                <a:gd name="connsiteY169" fmla="*/ 9574 h 9986"/>
                <a:gd name="connsiteX170" fmla="*/ 6397 w 10000"/>
                <a:gd name="connsiteY170" fmla="*/ 9633 h 9986"/>
                <a:gd name="connsiteX171" fmla="*/ 6605 w 10000"/>
                <a:gd name="connsiteY171" fmla="*/ 9688 h 9986"/>
                <a:gd name="connsiteX172" fmla="*/ 6805 w 10000"/>
                <a:gd name="connsiteY172" fmla="*/ 9743 h 9986"/>
                <a:gd name="connsiteX173" fmla="*/ 7005 w 10000"/>
                <a:gd name="connsiteY173" fmla="*/ 9798 h 9986"/>
                <a:gd name="connsiteX174" fmla="*/ 7213 w 10000"/>
                <a:gd name="connsiteY174" fmla="*/ 9849 h 9986"/>
                <a:gd name="connsiteX175" fmla="*/ 7420 w 10000"/>
                <a:gd name="connsiteY175" fmla="*/ 9894 h 9986"/>
                <a:gd name="connsiteX176" fmla="*/ 7628 w 10000"/>
                <a:gd name="connsiteY176" fmla="*/ 9940 h 9986"/>
                <a:gd name="connsiteX177" fmla="*/ 7835 w 10000"/>
                <a:gd name="connsiteY177" fmla="*/ 9986 h 9986"/>
                <a:gd name="connsiteX178" fmla="*/ 7539 w 10000"/>
                <a:gd name="connsiteY178" fmla="*/ 7740 h 9986"/>
                <a:gd name="connsiteX179" fmla="*/ 10000 w 10000"/>
                <a:gd name="connsiteY179" fmla="*/ 6127 h 9986"/>
                <a:gd name="connsiteX0" fmla="*/ 10000 w 10000"/>
                <a:gd name="connsiteY0" fmla="*/ 6136 h 10000"/>
                <a:gd name="connsiteX1" fmla="*/ 10000 w 10000"/>
                <a:gd name="connsiteY1" fmla="*/ 6136 h 10000"/>
                <a:gd name="connsiteX2" fmla="*/ 9911 w 10000"/>
                <a:gd name="connsiteY2" fmla="*/ 6122 h 10000"/>
                <a:gd name="connsiteX3" fmla="*/ 9815 w 10000"/>
                <a:gd name="connsiteY3" fmla="*/ 6104 h 10000"/>
                <a:gd name="connsiteX4" fmla="*/ 9726 w 10000"/>
                <a:gd name="connsiteY4" fmla="*/ 6086 h 10000"/>
                <a:gd name="connsiteX5" fmla="*/ 9637 w 10000"/>
                <a:gd name="connsiteY5" fmla="*/ 6062 h 10000"/>
                <a:gd name="connsiteX6" fmla="*/ 9548 w 10000"/>
                <a:gd name="connsiteY6" fmla="*/ 6043 h 10000"/>
                <a:gd name="connsiteX7" fmla="*/ 9466 w 10000"/>
                <a:gd name="connsiteY7" fmla="*/ 6021 h 10000"/>
                <a:gd name="connsiteX8" fmla="*/ 9377 w 10000"/>
                <a:gd name="connsiteY8" fmla="*/ 5998 h 10000"/>
                <a:gd name="connsiteX9" fmla="*/ 9288 w 10000"/>
                <a:gd name="connsiteY9" fmla="*/ 5975 h 10000"/>
                <a:gd name="connsiteX10" fmla="*/ 9118 w 10000"/>
                <a:gd name="connsiteY10" fmla="*/ 5924 h 10000"/>
                <a:gd name="connsiteX11" fmla="*/ 8955 w 10000"/>
                <a:gd name="connsiteY11" fmla="*/ 5869 h 10000"/>
                <a:gd name="connsiteX12" fmla="*/ 8792 w 10000"/>
                <a:gd name="connsiteY12" fmla="*/ 5810 h 10000"/>
                <a:gd name="connsiteX13" fmla="*/ 8636 w 10000"/>
                <a:gd name="connsiteY13" fmla="*/ 5746 h 10000"/>
                <a:gd name="connsiteX14" fmla="*/ 8480 w 10000"/>
                <a:gd name="connsiteY14" fmla="*/ 5681 h 10000"/>
                <a:gd name="connsiteX15" fmla="*/ 8340 w 10000"/>
                <a:gd name="connsiteY15" fmla="*/ 5613 h 10000"/>
                <a:gd name="connsiteX16" fmla="*/ 8199 w 10000"/>
                <a:gd name="connsiteY16" fmla="*/ 5539 h 10000"/>
                <a:gd name="connsiteX17" fmla="*/ 8058 w 10000"/>
                <a:gd name="connsiteY17" fmla="*/ 5461 h 10000"/>
                <a:gd name="connsiteX18" fmla="*/ 7924 w 10000"/>
                <a:gd name="connsiteY18" fmla="*/ 5379 h 10000"/>
                <a:gd name="connsiteX19" fmla="*/ 7798 w 10000"/>
                <a:gd name="connsiteY19" fmla="*/ 5295 h 10000"/>
                <a:gd name="connsiteX20" fmla="*/ 7672 w 10000"/>
                <a:gd name="connsiteY20" fmla="*/ 5208 h 10000"/>
                <a:gd name="connsiteX21" fmla="*/ 7554 w 10000"/>
                <a:gd name="connsiteY21" fmla="*/ 5121 h 10000"/>
                <a:gd name="connsiteX22" fmla="*/ 7450 w 10000"/>
                <a:gd name="connsiteY22" fmla="*/ 5025 h 10000"/>
                <a:gd name="connsiteX23" fmla="*/ 7346 w 10000"/>
                <a:gd name="connsiteY23" fmla="*/ 4929 h 10000"/>
                <a:gd name="connsiteX24" fmla="*/ 7250 w 10000"/>
                <a:gd name="connsiteY24" fmla="*/ 4833 h 10000"/>
                <a:gd name="connsiteX25" fmla="*/ 7161 w 10000"/>
                <a:gd name="connsiteY25" fmla="*/ 4732 h 10000"/>
                <a:gd name="connsiteX26" fmla="*/ 7072 w 10000"/>
                <a:gd name="connsiteY26" fmla="*/ 4630 h 10000"/>
                <a:gd name="connsiteX27" fmla="*/ 6990 w 10000"/>
                <a:gd name="connsiteY27" fmla="*/ 4520 h 10000"/>
                <a:gd name="connsiteX28" fmla="*/ 6953 w 10000"/>
                <a:gd name="connsiteY28" fmla="*/ 4470 h 10000"/>
                <a:gd name="connsiteX29" fmla="*/ 6916 w 10000"/>
                <a:gd name="connsiteY29" fmla="*/ 4415 h 10000"/>
                <a:gd name="connsiteX30" fmla="*/ 6887 w 10000"/>
                <a:gd name="connsiteY30" fmla="*/ 4360 h 10000"/>
                <a:gd name="connsiteX31" fmla="*/ 6850 w 10000"/>
                <a:gd name="connsiteY31" fmla="*/ 4305 h 10000"/>
                <a:gd name="connsiteX32" fmla="*/ 6820 w 10000"/>
                <a:gd name="connsiteY32" fmla="*/ 4250 h 10000"/>
                <a:gd name="connsiteX33" fmla="*/ 6790 w 10000"/>
                <a:gd name="connsiteY33" fmla="*/ 4195 h 10000"/>
                <a:gd name="connsiteX34" fmla="*/ 6768 w 10000"/>
                <a:gd name="connsiteY34" fmla="*/ 4135 h 10000"/>
                <a:gd name="connsiteX35" fmla="*/ 6738 w 10000"/>
                <a:gd name="connsiteY35" fmla="*/ 4080 h 10000"/>
                <a:gd name="connsiteX36" fmla="*/ 6723 w 10000"/>
                <a:gd name="connsiteY36" fmla="*/ 4020 h 10000"/>
                <a:gd name="connsiteX37" fmla="*/ 6694 w 10000"/>
                <a:gd name="connsiteY37" fmla="*/ 3965 h 10000"/>
                <a:gd name="connsiteX38" fmla="*/ 6679 w 10000"/>
                <a:gd name="connsiteY38" fmla="*/ 3905 h 10000"/>
                <a:gd name="connsiteX39" fmla="*/ 6664 w 10000"/>
                <a:gd name="connsiteY39" fmla="*/ 3845 h 10000"/>
                <a:gd name="connsiteX40" fmla="*/ 6649 w 10000"/>
                <a:gd name="connsiteY40" fmla="*/ 3786 h 10000"/>
                <a:gd name="connsiteX41" fmla="*/ 6635 w 10000"/>
                <a:gd name="connsiteY41" fmla="*/ 3731 h 10000"/>
                <a:gd name="connsiteX42" fmla="*/ 6620 w 10000"/>
                <a:gd name="connsiteY42" fmla="*/ 3671 h 10000"/>
                <a:gd name="connsiteX43" fmla="*/ 6612 w 10000"/>
                <a:gd name="connsiteY43" fmla="*/ 3612 h 10000"/>
                <a:gd name="connsiteX44" fmla="*/ 6605 w 10000"/>
                <a:gd name="connsiteY44" fmla="*/ 3552 h 10000"/>
                <a:gd name="connsiteX45" fmla="*/ 6597 w 10000"/>
                <a:gd name="connsiteY45" fmla="*/ 3488 h 10000"/>
                <a:gd name="connsiteX46" fmla="*/ 6597 w 10000"/>
                <a:gd name="connsiteY46" fmla="*/ 3428 h 10000"/>
                <a:gd name="connsiteX47" fmla="*/ 6590 w 10000"/>
                <a:gd name="connsiteY47" fmla="*/ 3364 h 10000"/>
                <a:gd name="connsiteX48" fmla="*/ 6597 w 10000"/>
                <a:gd name="connsiteY48" fmla="*/ 3304 h 10000"/>
                <a:gd name="connsiteX49" fmla="*/ 6605 w 10000"/>
                <a:gd name="connsiteY49" fmla="*/ 3236 h 10000"/>
                <a:gd name="connsiteX50" fmla="*/ 6605 w 10000"/>
                <a:gd name="connsiteY50" fmla="*/ 3171 h 10000"/>
                <a:gd name="connsiteX51" fmla="*/ 6612 w 10000"/>
                <a:gd name="connsiteY51" fmla="*/ 3106 h 10000"/>
                <a:gd name="connsiteX52" fmla="*/ 6620 w 10000"/>
                <a:gd name="connsiteY52" fmla="*/ 3042 h 10000"/>
                <a:gd name="connsiteX53" fmla="*/ 6635 w 10000"/>
                <a:gd name="connsiteY53" fmla="*/ 2983 h 10000"/>
                <a:gd name="connsiteX54" fmla="*/ 6649 w 10000"/>
                <a:gd name="connsiteY54" fmla="*/ 2919 h 10000"/>
                <a:gd name="connsiteX55" fmla="*/ 6664 w 10000"/>
                <a:gd name="connsiteY55" fmla="*/ 2859 h 10000"/>
                <a:gd name="connsiteX56" fmla="*/ 6686 w 10000"/>
                <a:gd name="connsiteY56" fmla="*/ 2795 h 10000"/>
                <a:gd name="connsiteX57" fmla="*/ 6709 w 10000"/>
                <a:gd name="connsiteY57" fmla="*/ 2735 h 10000"/>
                <a:gd name="connsiteX58" fmla="*/ 6731 w 10000"/>
                <a:gd name="connsiteY58" fmla="*/ 2676 h 10000"/>
                <a:gd name="connsiteX59" fmla="*/ 6753 w 10000"/>
                <a:gd name="connsiteY59" fmla="*/ 2611 h 10000"/>
                <a:gd name="connsiteX60" fmla="*/ 6783 w 10000"/>
                <a:gd name="connsiteY60" fmla="*/ 2556 h 10000"/>
                <a:gd name="connsiteX61" fmla="*/ 6812 w 10000"/>
                <a:gd name="connsiteY61" fmla="*/ 2496 h 10000"/>
                <a:gd name="connsiteX62" fmla="*/ 6842 w 10000"/>
                <a:gd name="connsiteY62" fmla="*/ 2436 h 10000"/>
                <a:gd name="connsiteX63" fmla="*/ 6879 w 10000"/>
                <a:gd name="connsiteY63" fmla="*/ 2377 h 10000"/>
                <a:gd name="connsiteX64" fmla="*/ 6909 w 10000"/>
                <a:gd name="connsiteY64" fmla="*/ 2322 h 10000"/>
                <a:gd name="connsiteX65" fmla="*/ 6946 w 10000"/>
                <a:gd name="connsiteY65" fmla="*/ 2262 h 10000"/>
                <a:gd name="connsiteX66" fmla="*/ 6990 w 10000"/>
                <a:gd name="connsiteY66" fmla="*/ 2207 h 10000"/>
                <a:gd name="connsiteX67" fmla="*/ 7027 w 10000"/>
                <a:gd name="connsiteY67" fmla="*/ 2152 h 10000"/>
                <a:gd name="connsiteX68" fmla="*/ 7072 w 10000"/>
                <a:gd name="connsiteY68" fmla="*/ 2097 h 10000"/>
                <a:gd name="connsiteX69" fmla="*/ 7109 w 10000"/>
                <a:gd name="connsiteY69" fmla="*/ 2042 h 10000"/>
                <a:gd name="connsiteX70" fmla="*/ 7161 w 10000"/>
                <a:gd name="connsiteY70" fmla="*/ 1992 h 10000"/>
                <a:gd name="connsiteX71" fmla="*/ 7213 w 10000"/>
                <a:gd name="connsiteY71" fmla="*/ 1937 h 10000"/>
                <a:gd name="connsiteX72" fmla="*/ 7257 w 10000"/>
                <a:gd name="connsiteY72" fmla="*/ 1882 h 10000"/>
                <a:gd name="connsiteX73" fmla="*/ 7309 w 10000"/>
                <a:gd name="connsiteY73" fmla="*/ 1831 h 10000"/>
                <a:gd name="connsiteX74" fmla="*/ 7361 w 10000"/>
                <a:gd name="connsiteY74" fmla="*/ 1780 h 10000"/>
                <a:gd name="connsiteX75" fmla="*/ 7413 w 10000"/>
                <a:gd name="connsiteY75" fmla="*/ 1730 h 10000"/>
                <a:gd name="connsiteX76" fmla="*/ 7472 w 10000"/>
                <a:gd name="connsiteY76" fmla="*/ 1679 h 10000"/>
                <a:gd name="connsiteX77" fmla="*/ 7524 w 10000"/>
                <a:gd name="connsiteY77" fmla="*/ 1633 h 10000"/>
                <a:gd name="connsiteX78" fmla="*/ 7583 w 10000"/>
                <a:gd name="connsiteY78" fmla="*/ 1587 h 10000"/>
                <a:gd name="connsiteX79" fmla="*/ 7610 w 10000"/>
                <a:gd name="connsiteY79" fmla="*/ 1558 h 10000"/>
                <a:gd name="connsiteX80" fmla="*/ 5390 w 10000"/>
                <a:gd name="connsiteY80" fmla="*/ 6 h 10000"/>
                <a:gd name="connsiteX81" fmla="*/ 1401 w 10000"/>
                <a:gd name="connsiteY81" fmla="*/ 0 h 10000"/>
                <a:gd name="connsiteX82" fmla="*/ 1305 w 10000"/>
                <a:gd name="connsiteY82" fmla="*/ 114 h 10000"/>
                <a:gd name="connsiteX83" fmla="*/ 1223 w 10000"/>
                <a:gd name="connsiteY83" fmla="*/ 206 h 10000"/>
                <a:gd name="connsiteX84" fmla="*/ 1149 w 10000"/>
                <a:gd name="connsiteY84" fmla="*/ 302 h 10000"/>
                <a:gd name="connsiteX85" fmla="*/ 1067 w 10000"/>
                <a:gd name="connsiteY85" fmla="*/ 399 h 10000"/>
                <a:gd name="connsiteX86" fmla="*/ 1001 w 10000"/>
                <a:gd name="connsiteY86" fmla="*/ 496 h 10000"/>
                <a:gd name="connsiteX87" fmla="*/ 927 w 10000"/>
                <a:gd name="connsiteY87" fmla="*/ 592 h 10000"/>
                <a:gd name="connsiteX88" fmla="*/ 860 w 10000"/>
                <a:gd name="connsiteY88" fmla="*/ 693 h 10000"/>
                <a:gd name="connsiteX89" fmla="*/ 793 w 10000"/>
                <a:gd name="connsiteY89" fmla="*/ 794 h 10000"/>
                <a:gd name="connsiteX90" fmla="*/ 734 w 10000"/>
                <a:gd name="connsiteY90" fmla="*/ 890 h 10000"/>
                <a:gd name="connsiteX91" fmla="*/ 675 w 10000"/>
                <a:gd name="connsiteY91" fmla="*/ 991 h 10000"/>
                <a:gd name="connsiteX92" fmla="*/ 615 w 10000"/>
                <a:gd name="connsiteY92" fmla="*/ 1092 h 10000"/>
                <a:gd name="connsiteX93" fmla="*/ 556 w 10000"/>
                <a:gd name="connsiteY93" fmla="*/ 1198 h 10000"/>
                <a:gd name="connsiteX94" fmla="*/ 504 w 10000"/>
                <a:gd name="connsiteY94" fmla="*/ 1294 h 10000"/>
                <a:gd name="connsiteX95" fmla="*/ 452 w 10000"/>
                <a:gd name="connsiteY95" fmla="*/ 1400 h 10000"/>
                <a:gd name="connsiteX96" fmla="*/ 408 w 10000"/>
                <a:gd name="connsiteY96" fmla="*/ 1500 h 10000"/>
                <a:gd name="connsiteX97" fmla="*/ 363 w 10000"/>
                <a:gd name="connsiteY97" fmla="*/ 1606 h 10000"/>
                <a:gd name="connsiteX98" fmla="*/ 319 w 10000"/>
                <a:gd name="connsiteY98" fmla="*/ 1711 h 10000"/>
                <a:gd name="connsiteX99" fmla="*/ 282 w 10000"/>
                <a:gd name="connsiteY99" fmla="*/ 1818 h 10000"/>
                <a:gd name="connsiteX100" fmla="*/ 237 w 10000"/>
                <a:gd name="connsiteY100" fmla="*/ 1928 h 10000"/>
                <a:gd name="connsiteX101" fmla="*/ 208 w 10000"/>
                <a:gd name="connsiteY101" fmla="*/ 2033 h 10000"/>
                <a:gd name="connsiteX102" fmla="*/ 170 w 10000"/>
                <a:gd name="connsiteY102" fmla="*/ 2143 h 10000"/>
                <a:gd name="connsiteX103" fmla="*/ 148 w 10000"/>
                <a:gd name="connsiteY103" fmla="*/ 2253 h 10000"/>
                <a:gd name="connsiteX104" fmla="*/ 119 w 10000"/>
                <a:gd name="connsiteY104" fmla="*/ 2358 h 10000"/>
                <a:gd name="connsiteX105" fmla="*/ 96 w 10000"/>
                <a:gd name="connsiteY105" fmla="*/ 2468 h 10000"/>
                <a:gd name="connsiteX106" fmla="*/ 74 w 10000"/>
                <a:gd name="connsiteY106" fmla="*/ 2579 h 10000"/>
                <a:gd name="connsiteX107" fmla="*/ 52 w 10000"/>
                <a:gd name="connsiteY107" fmla="*/ 2694 h 10000"/>
                <a:gd name="connsiteX108" fmla="*/ 37 w 10000"/>
                <a:gd name="connsiteY108" fmla="*/ 2804 h 10000"/>
                <a:gd name="connsiteX109" fmla="*/ 22 w 10000"/>
                <a:gd name="connsiteY109" fmla="*/ 2914 h 10000"/>
                <a:gd name="connsiteX110" fmla="*/ 15 w 10000"/>
                <a:gd name="connsiteY110" fmla="*/ 3024 h 10000"/>
                <a:gd name="connsiteX111" fmla="*/ 7 w 10000"/>
                <a:gd name="connsiteY111" fmla="*/ 3138 h 10000"/>
                <a:gd name="connsiteX112" fmla="*/ 0 w 10000"/>
                <a:gd name="connsiteY112" fmla="*/ 3249 h 10000"/>
                <a:gd name="connsiteX113" fmla="*/ 0 w 10000"/>
                <a:gd name="connsiteY113" fmla="*/ 3364 h 10000"/>
                <a:gd name="connsiteX114" fmla="*/ 7 w 10000"/>
                <a:gd name="connsiteY114" fmla="*/ 3511 h 10000"/>
                <a:gd name="connsiteX115" fmla="*/ 7 w 10000"/>
                <a:gd name="connsiteY115" fmla="*/ 3657 h 10000"/>
                <a:gd name="connsiteX116" fmla="*/ 22 w 10000"/>
                <a:gd name="connsiteY116" fmla="*/ 3795 h 10000"/>
                <a:gd name="connsiteX117" fmla="*/ 37 w 10000"/>
                <a:gd name="connsiteY117" fmla="*/ 3938 h 10000"/>
                <a:gd name="connsiteX118" fmla="*/ 59 w 10000"/>
                <a:gd name="connsiteY118" fmla="*/ 4080 h 10000"/>
                <a:gd name="connsiteX119" fmla="*/ 89 w 10000"/>
                <a:gd name="connsiteY119" fmla="*/ 4222 h 10000"/>
                <a:gd name="connsiteX120" fmla="*/ 119 w 10000"/>
                <a:gd name="connsiteY120" fmla="*/ 4364 h 10000"/>
                <a:gd name="connsiteX121" fmla="*/ 148 w 10000"/>
                <a:gd name="connsiteY121" fmla="*/ 4506 h 10000"/>
                <a:gd name="connsiteX122" fmla="*/ 193 w 10000"/>
                <a:gd name="connsiteY122" fmla="*/ 4645 h 10000"/>
                <a:gd name="connsiteX123" fmla="*/ 237 w 10000"/>
                <a:gd name="connsiteY123" fmla="*/ 4782 h 10000"/>
                <a:gd name="connsiteX124" fmla="*/ 282 w 10000"/>
                <a:gd name="connsiteY124" fmla="*/ 4920 h 10000"/>
                <a:gd name="connsiteX125" fmla="*/ 334 w 10000"/>
                <a:gd name="connsiteY125" fmla="*/ 5057 h 10000"/>
                <a:gd name="connsiteX126" fmla="*/ 393 w 10000"/>
                <a:gd name="connsiteY126" fmla="*/ 5190 h 10000"/>
                <a:gd name="connsiteX127" fmla="*/ 452 w 10000"/>
                <a:gd name="connsiteY127" fmla="*/ 5323 h 10000"/>
                <a:gd name="connsiteX128" fmla="*/ 519 w 10000"/>
                <a:gd name="connsiteY128" fmla="*/ 5457 h 10000"/>
                <a:gd name="connsiteX129" fmla="*/ 586 w 10000"/>
                <a:gd name="connsiteY129" fmla="*/ 5590 h 10000"/>
                <a:gd name="connsiteX130" fmla="*/ 660 w 10000"/>
                <a:gd name="connsiteY130" fmla="*/ 5718 h 10000"/>
                <a:gd name="connsiteX131" fmla="*/ 741 w 10000"/>
                <a:gd name="connsiteY131" fmla="*/ 5846 h 10000"/>
                <a:gd name="connsiteX132" fmla="*/ 823 w 10000"/>
                <a:gd name="connsiteY132" fmla="*/ 5979 h 10000"/>
                <a:gd name="connsiteX133" fmla="*/ 904 w 10000"/>
                <a:gd name="connsiteY133" fmla="*/ 6104 h 10000"/>
                <a:gd name="connsiteX134" fmla="*/ 993 w 10000"/>
                <a:gd name="connsiteY134" fmla="*/ 6228 h 10000"/>
                <a:gd name="connsiteX135" fmla="*/ 1090 w 10000"/>
                <a:gd name="connsiteY135" fmla="*/ 6347 h 10000"/>
                <a:gd name="connsiteX136" fmla="*/ 1186 w 10000"/>
                <a:gd name="connsiteY136" fmla="*/ 6471 h 10000"/>
                <a:gd name="connsiteX137" fmla="*/ 1290 w 10000"/>
                <a:gd name="connsiteY137" fmla="*/ 6594 h 10000"/>
                <a:gd name="connsiteX138" fmla="*/ 1386 w 10000"/>
                <a:gd name="connsiteY138" fmla="*/ 6714 h 10000"/>
                <a:gd name="connsiteX139" fmla="*/ 1497 w 10000"/>
                <a:gd name="connsiteY139" fmla="*/ 6834 h 10000"/>
                <a:gd name="connsiteX140" fmla="*/ 1609 w 10000"/>
                <a:gd name="connsiteY140" fmla="*/ 6948 h 10000"/>
                <a:gd name="connsiteX141" fmla="*/ 1727 w 10000"/>
                <a:gd name="connsiteY141" fmla="*/ 7067 h 10000"/>
                <a:gd name="connsiteX142" fmla="*/ 1846 w 10000"/>
                <a:gd name="connsiteY142" fmla="*/ 7182 h 10000"/>
                <a:gd name="connsiteX143" fmla="*/ 1964 w 10000"/>
                <a:gd name="connsiteY143" fmla="*/ 7292 h 10000"/>
                <a:gd name="connsiteX144" fmla="*/ 2090 w 10000"/>
                <a:gd name="connsiteY144" fmla="*/ 7402 h 10000"/>
                <a:gd name="connsiteX145" fmla="*/ 2224 w 10000"/>
                <a:gd name="connsiteY145" fmla="*/ 7513 h 10000"/>
                <a:gd name="connsiteX146" fmla="*/ 2350 w 10000"/>
                <a:gd name="connsiteY146" fmla="*/ 7623 h 10000"/>
                <a:gd name="connsiteX147" fmla="*/ 2491 w 10000"/>
                <a:gd name="connsiteY147" fmla="*/ 7728 h 10000"/>
                <a:gd name="connsiteX148" fmla="*/ 2617 w 10000"/>
                <a:gd name="connsiteY148" fmla="*/ 7834 h 10000"/>
                <a:gd name="connsiteX149" fmla="*/ 2765 w 10000"/>
                <a:gd name="connsiteY149" fmla="*/ 7935 h 10000"/>
                <a:gd name="connsiteX150" fmla="*/ 2906 w 10000"/>
                <a:gd name="connsiteY150" fmla="*/ 8035 h 10000"/>
                <a:gd name="connsiteX151" fmla="*/ 3054 w 10000"/>
                <a:gd name="connsiteY151" fmla="*/ 8136 h 10000"/>
                <a:gd name="connsiteX152" fmla="*/ 3210 w 10000"/>
                <a:gd name="connsiteY152" fmla="*/ 8234 h 10000"/>
                <a:gd name="connsiteX153" fmla="*/ 3358 w 10000"/>
                <a:gd name="connsiteY153" fmla="*/ 8330 h 10000"/>
                <a:gd name="connsiteX154" fmla="*/ 3514 w 10000"/>
                <a:gd name="connsiteY154" fmla="*/ 8426 h 10000"/>
                <a:gd name="connsiteX155" fmla="*/ 3677 w 10000"/>
                <a:gd name="connsiteY155" fmla="*/ 8518 h 10000"/>
                <a:gd name="connsiteX156" fmla="*/ 3840 w 10000"/>
                <a:gd name="connsiteY156" fmla="*/ 8605 h 10000"/>
                <a:gd name="connsiteX157" fmla="*/ 4010 w 10000"/>
                <a:gd name="connsiteY157" fmla="*/ 8696 h 10000"/>
                <a:gd name="connsiteX158" fmla="*/ 4181 w 10000"/>
                <a:gd name="connsiteY158" fmla="*/ 8774 h 10000"/>
                <a:gd name="connsiteX159" fmla="*/ 4351 w 10000"/>
                <a:gd name="connsiteY159" fmla="*/ 8861 h 10000"/>
                <a:gd name="connsiteX160" fmla="*/ 4522 w 10000"/>
                <a:gd name="connsiteY160" fmla="*/ 8940 h 10000"/>
                <a:gd name="connsiteX161" fmla="*/ 4700 w 10000"/>
                <a:gd name="connsiteY161" fmla="*/ 9023 h 10000"/>
                <a:gd name="connsiteX162" fmla="*/ 4878 w 10000"/>
                <a:gd name="connsiteY162" fmla="*/ 9101 h 10000"/>
                <a:gd name="connsiteX163" fmla="*/ 5063 w 10000"/>
                <a:gd name="connsiteY163" fmla="*/ 9174 h 10000"/>
                <a:gd name="connsiteX164" fmla="*/ 5248 w 10000"/>
                <a:gd name="connsiteY164" fmla="*/ 9252 h 10000"/>
                <a:gd name="connsiteX165" fmla="*/ 5426 w 10000"/>
                <a:gd name="connsiteY165" fmla="*/ 9321 h 10000"/>
                <a:gd name="connsiteX166" fmla="*/ 5619 w 10000"/>
                <a:gd name="connsiteY166" fmla="*/ 9389 h 10000"/>
                <a:gd name="connsiteX167" fmla="*/ 5812 w 10000"/>
                <a:gd name="connsiteY167" fmla="*/ 9458 h 10000"/>
                <a:gd name="connsiteX168" fmla="*/ 6004 w 10000"/>
                <a:gd name="connsiteY168" fmla="*/ 9522 h 10000"/>
                <a:gd name="connsiteX169" fmla="*/ 6205 w 10000"/>
                <a:gd name="connsiteY169" fmla="*/ 9587 h 10000"/>
                <a:gd name="connsiteX170" fmla="*/ 6397 w 10000"/>
                <a:gd name="connsiteY170" fmla="*/ 9647 h 10000"/>
                <a:gd name="connsiteX171" fmla="*/ 6605 w 10000"/>
                <a:gd name="connsiteY171" fmla="*/ 9702 h 10000"/>
                <a:gd name="connsiteX172" fmla="*/ 6805 w 10000"/>
                <a:gd name="connsiteY172" fmla="*/ 9757 h 10000"/>
                <a:gd name="connsiteX173" fmla="*/ 7005 w 10000"/>
                <a:gd name="connsiteY173" fmla="*/ 9812 h 10000"/>
                <a:gd name="connsiteX174" fmla="*/ 7213 w 10000"/>
                <a:gd name="connsiteY174" fmla="*/ 9863 h 10000"/>
                <a:gd name="connsiteX175" fmla="*/ 7420 w 10000"/>
                <a:gd name="connsiteY175" fmla="*/ 9908 h 10000"/>
                <a:gd name="connsiteX176" fmla="*/ 7628 w 10000"/>
                <a:gd name="connsiteY176" fmla="*/ 9954 h 10000"/>
                <a:gd name="connsiteX177" fmla="*/ 7835 w 10000"/>
                <a:gd name="connsiteY177" fmla="*/ 10000 h 10000"/>
                <a:gd name="connsiteX178" fmla="*/ 7539 w 10000"/>
                <a:gd name="connsiteY178" fmla="*/ 7751 h 10000"/>
                <a:gd name="connsiteX179" fmla="*/ 10000 w 10000"/>
                <a:gd name="connsiteY179" fmla="*/ 6136 h 10000"/>
                <a:gd name="connsiteX0" fmla="*/ 10000 w 10000"/>
                <a:gd name="connsiteY0" fmla="*/ 6151 h 10015"/>
                <a:gd name="connsiteX1" fmla="*/ 10000 w 10000"/>
                <a:gd name="connsiteY1" fmla="*/ 6151 h 10015"/>
                <a:gd name="connsiteX2" fmla="*/ 9911 w 10000"/>
                <a:gd name="connsiteY2" fmla="*/ 6137 h 10015"/>
                <a:gd name="connsiteX3" fmla="*/ 9815 w 10000"/>
                <a:gd name="connsiteY3" fmla="*/ 6119 h 10015"/>
                <a:gd name="connsiteX4" fmla="*/ 9726 w 10000"/>
                <a:gd name="connsiteY4" fmla="*/ 6101 h 10015"/>
                <a:gd name="connsiteX5" fmla="*/ 9637 w 10000"/>
                <a:gd name="connsiteY5" fmla="*/ 6077 h 10015"/>
                <a:gd name="connsiteX6" fmla="*/ 9548 w 10000"/>
                <a:gd name="connsiteY6" fmla="*/ 6058 h 10015"/>
                <a:gd name="connsiteX7" fmla="*/ 9466 w 10000"/>
                <a:gd name="connsiteY7" fmla="*/ 6036 h 10015"/>
                <a:gd name="connsiteX8" fmla="*/ 9377 w 10000"/>
                <a:gd name="connsiteY8" fmla="*/ 6013 h 10015"/>
                <a:gd name="connsiteX9" fmla="*/ 9288 w 10000"/>
                <a:gd name="connsiteY9" fmla="*/ 5990 h 10015"/>
                <a:gd name="connsiteX10" fmla="*/ 9118 w 10000"/>
                <a:gd name="connsiteY10" fmla="*/ 5939 h 10015"/>
                <a:gd name="connsiteX11" fmla="*/ 8955 w 10000"/>
                <a:gd name="connsiteY11" fmla="*/ 5884 h 10015"/>
                <a:gd name="connsiteX12" fmla="*/ 8792 w 10000"/>
                <a:gd name="connsiteY12" fmla="*/ 5825 h 10015"/>
                <a:gd name="connsiteX13" fmla="*/ 8636 w 10000"/>
                <a:gd name="connsiteY13" fmla="*/ 5761 h 10015"/>
                <a:gd name="connsiteX14" fmla="*/ 8480 w 10000"/>
                <a:gd name="connsiteY14" fmla="*/ 5696 h 10015"/>
                <a:gd name="connsiteX15" fmla="*/ 8340 w 10000"/>
                <a:gd name="connsiteY15" fmla="*/ 5628 h 10015"/>
                <a:gd name="connsiteX16" fmla="*/ 8199 w 10000"/>
                <a:gd name="connsiteY16" fmla="*/ 5554 h 10015"/>
                <a:gd name="connsiteX17" fmla="*/ 8058 w 10000"/>
                <a:gd name="connsiteY17" fmla="*/ 5476 h 10015"/>
                <a:gd name="connsiteX18" fmla="*/ 7924 w 10000"/>
                <a:gd name="connsiteY18" fmla="*/ 5394 h 10015"/>
                <a:gd name="connsiteX19" fmla="*/ 7798 w 10000"/>
                <a:gd name="connsiteY19" fmla="*/ 5310 h 10015"/>
                <a:gd name="connsiteX20" fmla="*/ 7672 w 10000"/>
                <a:gd name="connsiteY20" fmla="*/ 5223 h 10015"/>
                <a:gd name="connsiteX21" fmla="*/ 7554 w 10000"/>
                <a:gd name="connsiteY21" fmla="*/ 5136 h 10015"/>
                <a:gd name="connsiteX22" fmla="*/ 7450 w 10000"/>
                <a:gd name="connsiteY22" fmla="*/ 5040 h 10015"/>
                <a:gd name="connsiteX23" fmla="*/ 7346 w 10000"/>
                <a:gd name="connsiteY23" fmla="*/ 4944 h 10015"/>
                <a:gd name="connsiteX24" fmla="*/ 7250 w 10000"/>
                <a:gd name="connsiteY24" fmla="*/ 4848 h 10015"/>
                <a:gd name="connsiteX25" fmla="*/ 7161 w 10000"/>
                <a:gd name="connsiteY25" fmla="*/ 4747 h 10015"/>
                <a:gd name="connsiteX26" fmla="*/ 7072 w 10000"/>
                <a:gd name="connsiteY26" fmla="*/ 4645 h 10015"/>
                <a:gd name="connsiteX27" fmla="*/ 6990 w 10000"/>
                <a:gd name="connsiteY27" fmla="*/ 4535 h 10015"/>
                <a:gd name="connsiteX28" fmla="*/ 6953 w 10000"/>
                <a:gd name="connsiteY28" fmla="*/ 4485 h 10015"/>
                <a:gd name="connsiteX29" fmla="*/ 6916 w 10000"/>
                <a:gd name="connsiteY29" fmla="*/ 4430 h 10015"/>
                <a:gd name="connsiteX30" fmla="*/ 6887 w 10000"/>
                <a:gd name="connsiteY30" fmla="*/ 4375 h 10015"/>
                <a:gd name="connsiteX31" fmla="*/ 6850 w 10000"/>
                <a:gd name="connsiteY31" fmla="*/ 4320 h 10015"/>
                <a:gd name="connsiteX32" fmla="*/ 6820 w 10000"/>
                <a:gd name="connsiteY32" fmla="*/ 4265 h 10015"/>
                <a:gd name="connsiteX33" fmla="*/ 6790 w 10000"/>
                <a:gd name="connsiteY33" fmla="*/ 4210 h 10015"/>
                <a:gd name="connsiteX34" fmla="*/ 6768 w 10000"/>
                <a:gd name="connsiteY34" fmla="*/ 4150 h 10015"/>
                <a:gd name="connsiteX35" fmla="*/ 6738 w 10000"/>
                <a:gd name="connsiteY35" fmla="*/ 4095 h 10015"/>
                <a:gd name="connsiteX36" fmla="*/ 6723 w 10000"/>
                <a:gd name="connsiteY36" fmla="*/ 4035 h 10015"/>
                <a:gd name="connsiteX37" fmla="*/ 6694 w 10000"/>
                <a:gd name="connsiteY37" fmla="*/ 3980 h 10015"/>
                <a:gd name="connsiteX38" fmla="*/ 6679 w 10000"/>
                <a:gd name="connsiteY38" fmla="*/ 3920 h 10015"/>
                <a:gd name="connsiteX39" fmla="*/ 6664 w 10000"/>
                <a:gd name="connsiteY39" fmla="*/ 3860 h 10015"/>
                <a:gd name="connsiteX40" fmla="*/ 6649 w 10000"/>
                <a:gd name="connsiteY40" fmla="*/ 3801 h 10015"/>
                <a:gd name="connsiteX41" fmla="*/ 6635 w 10000"/>
                <a:gd name="connsiteY41" fmla="*/ 3746 h 10015"/>
                <a:gd name="connsiteX42" fmla="*/ 6620 w 10000"/>
                <a:gd name="connsiteY42" fmla="*/ 3686 h 10015"/>
                <a:gd name="connsiteX43" fmla="*/ 6612 w 10000"/>
                <a:gd name="connsiteY43" fmla="*/ 3627 h 10015"/>
                <a:gd name="connsiteX44" fmla="*/ 6605 w 10000"/>
                <a:gd name="connsiteY44" fmla="*/ 3567 h 10015"/>
                <a:gd name="connsiteX45" fmla="*/ 6597 w 10000"/>
                <a:gd name="connsiteY45" fmla="*/ 3503 h 10015"/>
                <a:gd name="connsiteX46" fmla="*/ 6597 w 10000"/>
                <a:gd name="connsiteY46" fmla="*/ 3443 h 10015"/>
                <a:gd name="connsiteX47" fmla="*/ 6590 w 10000"/>
                <a:gd name="connsiteY47" fmla="*/ 3379 h 10015"/>
                <a:gd name="connsiteX48" fmla="*/ 6597 w 10000"/>
                <a:gd name="connsiteY48" fmla="*/ 3319 h 10015"/>
                <a:gd name="connsiteX49" fmla="*/ 6605 w 10000"/>
                <a:gd name="connsiteY49" fmla="*/ 3251 h 10015"/>
                <a:gd name="connsiteX50" fmla="*/ 6605 w 10000"/>
                <a:gd name="connsiteY50" fmla="*/ 3186 h 10015"/>
                <a:gd name="connsiteX51" fmla="*/ 6612 w 10000"/>
                <a:gd name="connsiteY51" fmla="*/ 3121 h 10015"/>
                <a:gd name="connsiteX52" fmla="*/ 6620 w 10000"/>
                <a:gd name="connsiteY52" fmla="*/ 3057 h 10015"/>
                <a:gd name="connsiteX53" fmla="*/ 6635 w 10000"/>
                <a:gd name="connsiteY53" fmla="*/ 2998 h 10015"/>
                <a:gd name="connsiteX54" fmla="*/ 6649 w 10000"/>
                <a:gd name="connsiteY54" fmla="*/ 2934 h 10015"/>
                <a:gd name="connsiteX55" fmla="*/ 6664 w 10000"/>
                <a:gd name="connsiteY55" fmla="*/ 2874 h 10015"/>
                <a:gd name="connsiteX56" fmla="*/ 6686 w 10000"/>
                <a:gd name="connsiteY56" fmla="*/ 2810 h 10015"/>
                <a:gd name="connsiteX57" fmla="*/ 6709 w 10000"/>
                <a:gd name="connsiteY57" fmla="*/ 2750 h 10015"/>
                <a:gd name="connsiteX58" fmla="*/ 6731 w 10000"/>
                <a:gd name="connsiteY58" fmla="*/ 2691 h 10015"/>
                <a:gd name="connsiteX59" fmla="*/ 6753 w 10000"/>
                <a:gd name="connsiteY59" fmla="*/ 2626 h 10015"/>
                <a:gd name="connsiteX60" fmla="*/ 6783 w 10000"/>
                <a:gd name="connsiteY60" fmla="*/ 2571 h 10015"/>
                <a:gd name="connsiteX61" fmla="*/ 6812 w 10000"/>
                <a:gd name="connsiteY61" fmla="*/ 2511 h 10015"/>
                <a:gd name="connsiteX62" fmla="*/ 6842 w 10000"/>
                <a:gd name="connsiteY62" fmla="*/ 2451 h 10015"/>
                <a:gd name="connsiteX63" fmla="*/ 6879 w 10000"/>
                <a:gd name="connsiteY63" fmla="*/ 2392 h 10015"/>
                <a:gd name="connsiteX64" fmla="*/ 6909 w 10000"/>
                <a:gd name="connsiteY64" fmla="*/ 2337 h 10015"/>
                <a:gd name="connsiteX65" fmla="*/ 6946 w 10000"/>
                <a:gd name="connsiteY65" fmla="*/ 2277 h 10015"/>
                <a:gd name="connsiteX66" fmla="*/ 6990 w 10000"/>
                <a:gd name="connsiteY66" fmla="*/ 2222 h 10015"/>
                <a:gd name="connsiteX67" fmla="*/ 7027 w 10000"/>
                <a:gd name="connsiteY67" fmla="*/ 2167 h 10015"/>
                <a:gd name="connsiteX68" fmla="*/ 7072 w 10000"/>
                <a:gd name="connsiteY68" fmla="*/ 2112 h 10015"/>
                <a:gd name="connsiteX69" fmla="*/ 7109 w 10000"/>
                <a:gd name="connsiteY69" fmla="*/ 2057 h 10015"/>
                <a:gd name="connsiteX70" fmla="*/ 7161 w 10000"/>
                <a:gd name="connsiteY70" fmla="*/ 2007 h 10015"/>
                <a:gd name="connsiteX71" fmla="*/ 7213 w 10000"/>
                <a:gd name="connsiteY71" fmla="*/ 1952 h 10015"/>
                <a:gd name="connsiteX72" fmla="*/ 7257 w 10000"/>
                <a:gd name="connsiteY72" fmla="*/ 1897 h 10015"/>
                <a:gd name="connsiteX73" fmla="*/ 7309 w 10000"/>
                <a:gd name="connsiteY73" fmla="*/ 1846 h 10015"/>
                <a:gd name="connsiteX74" fmla="*/ 7361 w 10000"/>
                <a:gd name="connsiteY74" fmla="*/ 1795 h 10015"/>
                <a:gd name="connsiteX75" fmla="*/ 7413 w 10000"/>
                <a:gd name="connsiteY75" fmla="*/ 1745 h 10015"/>
                <a:gd name="connsiteX76" fmla="*/ 7472 w 10000"/>
                <a:gd name="connsiteY76" fmla="*/ 1694 h 10015"/>
                <a:gd name="connsiteX77" fmla="*/ 7524 w 10000"/>
                <a:gd name="connsiteY77" fmla="*/ 1648 h 10015"/>
                <a:gd name="connsiteX78" fmla="*/ 7583 w 10000"/>
                <a:gd name="connsiteY78" fmla="*/ 1602 h 10015"/>
                <a:gd name="connsiteX79" fmla="*/ 7610 w 10000"/>
                <a:gd name="connsiteY79" fmla="*/ 1573 h 10015"/>
                <a:gd name="connsiteX80" fmla="*/ 5390 w 10000"/>
                <a:gd name="connsiteY80" fmla="*/ 0 h 10015"/>
                <a:gd name="connsiteX81" fmla="*/ 1401 w 10000"/>
                <a:gd name="connsiteY81" fmla="*/ 15 h 10015"/>
                <a:gd name="connsiteX82" fmla="*/ 1305 w 10000"/>
                <a:gd name="connsiteY82" fmla="*/ 129 h 10015"/>
                <a:gd name="connsiteX83" fmla="*/ 1223 w 10000"/>
                <a:gd name="connsiteY83" fmla="*/ 221 h 10015"/>
                <a:gd name="connsiteX84" fmla="*/ 1149 w 10000"/>
                <a:gd name="connsiteY84" fmla="*/ 317 h 10015"/>
                <a:gd name="connsiteX85" fmla="*/ 1067 w 10000"/>
                <a:gd name="connsiteY85" fmla="*/ 414 h 10015"/>
                <a:gd name="connsiteX86" fmla="*/ 1001 w 10000"/>
                <a:gd name="connsiteY86" fmla="*/ 511 h 10015"/>
                <a:gd name="connsiteX87" fmla="*/ 927 w 10000"/>
                <a:gd name="connsiteY87" fmla="*/ 607 h 10015"/>
                <a:gd name="connsiteX88" fmla="*/ 860 w 10000"/>
                <a:gd name="connsiteY88" fmla="*/ 708 h 10015"/>
                <a:gd name="connsiteX89" fmla="*/ 793 w 10000"/>
                <a:gd name="connsiteY89" fmla="*/ 809 h 10015"/>
                <a:gd name="connsiteX90" fmla="*/ 734 w 10000"/>
                <a:gd name="connsiteY90" fmla="*/ 905 h 10015"/>
                <a:gd name="connsiteX91" fmla="*/ 675 w 10000"/>
                <a:gd name="connsiteY91" fmla="*/ 1006 h 10015"/>
                <a:gd name="connsiteX92" fmla="*/ 615 w 10000"/>
                <a:gd name="connsiteY92" fmla="*/ 1107 h 10015"/>
                <a:gd name="connsiteX93" fmla="*/ 556 w 10000"/>
                <a:gd name="connsiteY93" fmla="*/ 1213 h 10015"/>
                <a:gd name="connsiteX94" fmla="*/ 504 w 10000"/>
                <a:gd name="connsiteY94" fmla="*/ 1309 h 10015"/>
                <a:gd name="connsiteX95" fmla="*/ 452 w 10000"/>
                <a:gd name="connsiteY95" fmla="*/ 1415 h 10015"/>
                <a:gd name="connsiteX96" fmla="*/ 408 w 10000"/>
                <a:gd name="connsiteY96" fmla="*/ 1515 h 10015"/>
                <a:gd name="connsiteX97" fmla="*/ 363 w 10000"/>
                <a:gd name="connsiteY97" fmla="*/ 1621 h 10015"/>
                <a:gd name="connsiteX98" fmla="*/ 319 w 10000"/>
                <a:gd name="connsiteY98" fmla="*/ 1726 h 10015"/>
                <a:gd name="connsiteX99" fmla="*/ 282 w 10000"/>
                <a:gd name="connsiteY99" fmla="*/ 1833 h 10015"/>
                <a:gd name="connsiteX100" fmla="*/ 237 w 10000"/>
                <a:gd name="connsiteY100" fmla="*/ 1943 h 10015"/>
                <a:gd name="connsiteX101" fmla="*/ 208 w 10000"/>
                <a:gd name="connsiteY101" fmla="*/ 2048 h 10015"/>
                <a:gd name="connsiteX102" fmla="*/ 170 w 10000"/>
                <a:gd name="connsiteY102" fmla="*/ 2158 h 10015"/>
                <a:gd name="connsiteX103" fmla="*/ 148 w 10000"/>
                <a:gd name="connsiteY103" fmla="*/ 2268 h 10015"/>
                <a:gd name="connsiteX104" fmla="*/ 119 w 10000"/>
                <a:gd name="connsiteY104" fmla="*/ 2373 h 10015"/>
                <a:gd name="connsiteX105" fmla="*/ 96 w 10000"/>
                <a:gd name="connsiteY105" fmla="*/ 2483 h 10015"/>
                <a:gd name="connsiteX106" fmla="*/ 74 w 10000"/>
                <a:gd name="connsiteY106" fmla="*/ 2594 h 10015"/>
                <a:gd name="connsiteX107" fmla="*/ 52 w 10000"/>
                <a:gd name="connsiteY107" fmla="*/ 2709 h 10015"/>
                <a:gd name="connsiteX108" fmla="*/ 37 w 10000"/>
                <a:gd name="connsiteY108" fmla="*/ 2819 h 10015"/>
                <a:gd name="connsiteX109" fmla="*/ 22 w 10000"/>
                <a:gd name="connsiteY109" fmla="*/ 2929 h 10015"/>
                <a:gd name="connsiteX110" fmla="*/ 15 w 10000"/>
                <a:gd name="connsiteY110" fmla="*/ 3039 h 10015"/>
                <a:gd name="connsiteX111" fmla="*/ 7 w 10000"/>
                <a:gd name="connsiteY111" fmla="*/ 3153 h 10015"/>
                <a:gd name="connsiteX112" fmla="*/ 0 w 10000"/>
                <a:gd name="connsiteY112" fmla="*/ 3264 h 10015"/>
                <a:gd name="connsiteX113" fmla="*/ 0 w 10000"/>
                <a:gd name="connsiteY113" fmla="*/ 3379 h 10015"/>
                <a:gd name="connsiteX114" fmla="*/ 7 w 10000"/>
                <a:gd name="connsiteY114" fmla="*/ 3526 h 10015"/>
                <a:gd name="connsiteX115" fmla="*/ 7 w 10000"/>
                <a:gd name="connsiteY115" fmla="*/ 3672 h 10015"/>
                <a:gd name="connsiteX116" fmla="*/ 22 w 10000"/>
                <a:gd name="connsiteY116" fmla="*/ 3810 h 10015"/>
                <a:gd name="connsiteX117" fmla="*/ 37 w 10000"/>
                <a:gd name="connsiteY117" fmla="*/ 3953 h 10015"/>
                <a:gd name="connsiteX118" fmla="*/ 59 w 10000"/>
                <a:gd name="connsiteY118" fmla="*/ 4095 h 10015"/>
                <a:gd name="connsiteX119" fmla="*/ 89 w 10000"/>
                <a:gd name="connsiteY119" fmla="*/ 4237 h 10015"/>
                <a:gd name="connsiteX120" fmla="*/ 119 w 10000"/>
                <a:gd name="connsiteY120" fmla="*/ 4379 h 10015"/>
                <a:gd name="connsiteX121" fmla="*/ 148 w 10000"/>
                <a:gd name="connsiteY121" fmla="*/ 4521 h 10015"/>
                <a:gd name="connsiteX122" fmla="*/ 193 w 10000"/>
                <a:gd name="connsiteY122" fmla="*/ 4660 h 10015"/>
                <a:gd name="connsiteX123" fmla="*/ 237 w 10000"/>
                <a:gd name="connsiteY123" fmla="*/ 4797 h 10015"/>
                <a:gd name="connsiteX124" fmla="*/ 282 w 10000"/>
                <a:gd name="connsiteY124" fmla="*/ 4935 h 10015"/>
                <a:gd name="connsiteX125" fmla="*/ 334 w 10000"/>
                <a:gd name="connsiteY125" fmla="*/ 5072 h 10015"/>
                <a:gd name="connsiteX126" fmla="*/ 393 w 10000"/>
                <a:gd name="connsiteY126" fmla="*/ 5205 h 10015"/>
                <a:gd name="connsiteX127" fmla="*/ 452 w 10000"/>
                <a:gd name="connsiteY127" fmla="*/ 5338 h 10015"/>
                <a:gd name="connsiteX128" fmla="*/ 519 w 10000"/>
                <a:gd name="connsiteY128" fmla="*/ 5472 h 10015"/>
                <a:gd name="connsiteX129" fmla="*/ 586 w 10000"/>
                <a:gd name="connsiteY129" fmla="*/ 5605 h 10015"/>
                <a:gd name="connsiteX130" fmla="*/ 660 w 10000"/>
                <a:gd name="connsiteY130" fmla="*/ 5733 h 10015"/>
                <a:gd name="connsiteX131" fmla="*/ 741 w 10000"/>
                <a:gd name="connsiteY131" fmla="*/ 5861 h 10015"/>
                <a:gd name="connsiteX132" fmla="*/ 823 w 10000"/>
                <a:gd name="connsiteY132" fmla="*/ 5994 h 10015"/>
                <a:gd name="connsiteX133" fmla="*/ 904 w 10000"/>
                <a:gd name="connsiteY133" fmla="*/ 6119 h 10015"/>
                <a:gd name="connsiteX134" fmla="*/ 993 w 10000"/>
                <a:gd name="connsiteY134" fmla="*/ 6243 h 10015"/>
                <a:gd name="connsiteX135" fmla="*/ 1090 w 10000"/>
                <a:gd name="connsiteY135" fmla="*/ 6362 h 10015"/>
                <a:gd name="connsiteX136" fmla="*/ 1186 w 10000"/>
                <a:gd name="connsiteY136" fmla="*/ 6486 h 10015"/>
                <a:gd name="connsiteX137" fmla="*/ 1290 w 10000"/>
                <a:gd name="connsiteY137" fmla="*/ 6609 h 10015"/>
                <a:gd name="connsiteX138" fmla="*/ 1386 w 10000"/>
                <a:gd name="connsiteY138" fmla="*/ 6729 h 10015"/>
                <a:gd name="connsiteX139" fmla="*/ 1497 w 10000"/>
                <a:gd name="connsiteY139" fmla="*/ 6849 h 10015"/>
                <a:gd name="connsiteX140" fmla="*/ 1609 w 10000"/>
                <a:gd name="connsiteY140" fmla="*/ 6963 h 10015"/>
                <a:gd name="connsiteX141" fmla="*/ 1727 w 10000"/>
                <a:gd name="connsiteY141" fmla="*/ 7082 h 10015"/>
                <a:gd name="connsiteX142" fmla="*/ 1846 w 10000"/>
                <a:gd name="connsiteY142" fmla="*/ 7197 h 10015"/>
                <a:gd name="connsiteX143" fmla="*/ 1964 w 10000"/>
                <a:gd name="connsiteY143" fmla="*/ 7307 h 10015"/>
                <a:gd name="connsiteX144" fmla="*/ 2090 w 10000"/>
                <a:gd name="connsiteY144" fmla="*/ 7417 h 10015"/>
                <a:gd name="connsiteX145" fmla="*/ 2224 w 10000"/>
                <a:gd name="connsiteY145" fmla="*/ 7528 h 10015"/>
                <a:gd name="connsiteX146" fmla="*/ 2350 w 10000"/>
                <a:gd name="connsiteY146" fmla="*/ 7638 h 10015"/>
                <a:gd name="connsiteX147" fmla="*/ 2491 w 10000"/>
                <a:gd name="connsiteY147" fmla="*/ 7743 h 10015"/>
                <a:gd name="connsiteX148" fmla="*/ 2617 w 10000"/>
                <a:gd name="connsiteY148" fmla="*/ 7849 h 10015"/>
                <a:gd name="connsiteX149" fmla="*/ 2765 w 10000"/>
                <a:gd name="connsiteY149" fmla="*/ 7950 h 10015"/>
                <a:gd name="connsiteX150" fmla="*/ 2906 w 10000"/>
                <a:gd name="connsiteY150" fmla="*/ 8050 h 10015"/>
                <a:gd name="connsiteX151" fmla="*/ 3054 w 10000"/>
                <a:gd name="connsiteY151" fmla="*/ 8151 h 10015"/>
                <a:gd name="connsiteX152" fmla="*/ 3210 w 10000"/>
                <a:gd name="connsiteY152" fmla="*/ 8249 h 10015"/>
                <a:gd name="connsiteX153" fmla="*/ 3358 w 10000"/>
                <a:gd name="connsiteY153" fmla="*/ 8345 h 10015"/>
                <a:gd name="connsiteX154" fmla="*/ 3514 w 10000"/>
                <a:gd name="connsiteY154" fmla="*/ 8441 h 10015"/>
                <a:gd name="connsiteX155" fmla="*/ 3677 w 10000"/>
                <a:gd name="connsiteY155" fmla="*/ 8533 h 10015"/>
                <a:gd name="connsiteX156" fmla="*/ 3840 w 10000"/>
                <a:gd name="connsiteY156" fmla="*/ 8620 h 10015"/>
                <a:gd name="connsiteX157" fmla="*/ 4010 w 10000"/>
                <a:gd name="connsiteY157" fmla="*/ 8711 h 10015"/>
                <a:gd name="connsiteX158" fmla="*/ 4181 w 10000"/>
                <a:gd name="connsiteY158" fmla="*/ 8789 h 10015"/>
                <a:gd name="connsiteX159" fmla="*/ 4351 w 10000"/>
                <a:gd name="connsiteY159" fmla="*/ 8876 h 10015"/>
                <a:gd name="connsiteX160" fmla="*/ 4522 w 10000"/>
                <a:gd name="connsiteY160" fmla="*/ 8955 h 10015"/>
                <a:gd name="connsiteX161" fmla="*/ 4700 w 10000"/>
                <a:gd name="connsiteY161" fmla="*/ 9038 h 10015"/>
                <a:gd name="connsiteX162" fmla="*/ 4878 w 10000"/>
                <a:gd name="connsiteY162" fmla="*/ 9116 h 10015"/>
                <a:gd name="connsiteX163" fmla="*/ 5063 w 10000"/>
                <a:gd name="connsiteY163" fmla="*/ 9189 h 10015"/>
                <a:gd name="connsiteX164" fmla="*/ 5248 w 10000"/>
                <a:gd name="connsiteY164" fmla="*/ 9267 h 10015"/>
                <a:gd name="connsiteX165" fmla="*/ 5426 w 10000"/>
                <a:gd name="connsiteY165" fmla="*/ 9336 h 10015"/>
                <a:gd name="connsiteX166" fmla="*/ 5619 w 10000"/>
                <a:gd name="connsiteY166" fmla="*/ 9404 h 10015"/>
                <a:gd name="connsiteX167" fmla="*/ 5812 w 10000"/>
                <a:gd name="connsiteY167" fmla="*/ 9473 h 10015"/>
                <a:gd name="connsiteX168" fmla="*/ 6004 w 10000"/>
                <a:gd name="connsiteY168" fmla="*/ 9537 h 10015"/>
                <a:gd name="connsiteX169" fmla="*/ 6205 w 10000"/>
                <a:gd name="connsiteY169" fmla="*/ 9602 h 10015"/>
                <a:gd name="connsiteX170" fmla="*/ 6397 w 10000"/>
                <a:gd name="connsiteY170" fmla="*/ 9662 h 10015"/>
                <a:gd name="connsiteX171" fmla="*/ 6605 w 10000"/>
                <a:gd name="connsiteY171" fmla="*/ 9717 h 10015"/>
                <a:gd name="connsiteX172" fmla="*/ 6805 w 10000"/>
                <a:gd name="connsiteY172" fmla="*/ 9772 h 10015"/>
                <a:gd name="connsiteX173" fmla="*/ 7005 w 10000"/>
                <a:gd name="connsiteY173" fmla="*/ 9827 h 10015"/>
                <a:gd name="connsiteX174" fmla="*/ 7213 w 10000"/>
                <a:gd name="connsiteY174" fmla="*/ 9878 h 10015"/>
                <a:gd name="connsiteX175" fmla="*/ 7420 w 10000"/>
                <a:gd name="connsiteY175" fmla="*/ 9923 h 10015"/>
                <a:gd name="connsiteX176" fmla="*/ 7628 w 10000"/>
                <a:gd name="connsiteY176" fmla="*/ 9969 h 10015"/>
                <a:gd name="connsiteX177" fmla="*/ 7835 w 10000"/>
                <a:gd name="connsiteY177" fmla="*/ 10015 h 10015"/>
                <a:gd name="connsiteX178" fmla="*/ 7539 w 10000"/>
                <a:gd name="connsiteY178" fmla="*/ 7766 h 10015"/>
                <a:gd name="connsiteX179" fmla="*/ 10000 w 10000"/>
                <a:gd name="connsiteY179" fmla="*/ 6151 h 10015"/>
                <a:gd name="connsiteX0" fmla="*/ 10000 w 10000"/>
                <a:gd name="connsiteY0" fmla="*/ 6151 h 10015"/>
                <a:gd name="connsiteX1" fmla="*/ 10000 w 10000"/>
                <a:gd name="connsiteY1" fmla="*/ 6151 h 10015"/>
                <a:gd name="connsiteX2" fmla="*/ 9911 w 10000"/>
                <a:gd name="connsiteY2" fmla="*/ 6137 h 10015"/>
                <a:gd name="connsiteX3" fmla="*/ 9815 w 10000"/>
                <a:gd name="connsiteY3" fmla="*/ 6119 h 10015"/>
                <a:gd name="connsiteX4" fmla="*/ 9726 w 10000"/>
                <a:gd name="connsiteY4" fmla="*/ 6101 h 10015"/>
                <a:gd name="connsiteX5" fmla="*/ 9637 w 10000"/>
                <a:gd name="connsiteY5" fmla="*/ 6077 h 10015"/>
                <a:gd name="connsiteX6" fmla="*/ 9548 w 10000"/>
                <a:gd name="connsiteY6" fmla="*/ 6058 h 10015"/>
                <a:gd name="connsiteX7" fmla="*/ 9466 w 10000"/>
                <a:gd name="connsiteY7" fmla="*/ 6036 h 10015"/>
                <a:gd name="connsiteX8" fmla="*/ 9377 w 10000"/>
                <a:gd name="connsiteY8" fmla="*/ 6013 h 10015"/>
                <a:gd name="connsiteX9" fmla="*/ 9288 w 10000"/>
                <a:gd name="connsiteY9" fmla="*/ 5990 h 10015"/>
                <a:gd name="connsiteX10" fmla="*/ 9118 w 10000"/>
                <a:gd name="connsiteY10" fmla="*/ 5939 h 10015"/>
                <a:gd name="connsiteX11" fmla="*/ 8955 w 10000"/>
                <a:gd name="connsiteY11" fmla="*/ 5884 h 10015"/>
                <a:gd name="connsiteX12" fmla="*/ 8792 w 10000"/>
                <a:gd name="connsiteY12" fmla="*/ 5825 h 10015"/>
                <a:gd name="connsiteX13" fmla="*/ 8636 w 10000"/>
                <a:gd name="connsiteY13" fmla="*/ 5761 h 10015"/>
                <a:gd name="connsiteX14" fmla="*/ 8480 w 10000"/>
                <a:gd name="connsiteY14" fmla="*/ 5696 h 10015"/>
                <a:gd name="connsiteX15" fmla="*/ 8340 w 10000"/>
                <a:gd name="connsiteY15" fmla="*/ 5628 h 10015"/>
                <a:gd name="connsiteX16" fmla="*/ 8199 w 10000"/>
                <a:gd name="connsiteY16" fmla="*/ 5554 h 10015"/>
                <a:gd name="connsiteX17" fmla="*/ 8058 w 10000"/>
                <a:gd name="connsiteY17" fmla="*/ 5476 h 10015"/>
                <a:gd name="connsiteX18" fmla="*/ 7924 w 10000"/>
                <a:gd name="connsiteY18" fmla="*/ 5394 h 10015"/>
                <a:gd name="connsiteX19" fmla="*/ 7798 w 10000"/>
                <a:gd name="connsiteY19" fmla="*/ 5310 h 10015"/>
                <a:gd name="connsiteX20" fmla="*/ 7672 w 10000"/>
                <a:gd name="connsiteY20" fmla="*/ 5223 h 10015"/>
                <a:gd name="connsiteX21" fmla="*/ 7554 w 10000"/>
                <a:gd name="connsiteY21" fmla="*/ 5136 h 10015"/>
                <a:gd name="connsiteX22" fmla="*/ 7450 w 10000"/>
                <a:gd name="connsiteY22" fmla="*/ 5040 h 10015"/>
                <a:gd name="connsiteX23" fmla="*/ 7346 w 10000"/>
                <a:gd name="connsiteY23" fmla="*/ 4944 h 10015"/>
                <a:gd name="connsiteX24" fmla="*/ 7250 w 10000"/>
                <a:gd name="connsiteY24" fmla="*/ 4848 h 10015"/>
                <a:gd name="connsiteX25" fmla="*/ 7161 w 10000"/>
                <a:gd name="connsiteY25" fmla="*/ 4747 h 10015"/>
                <a:gd name="connsiteX26" fmla="*/ 7072 w 10000"/>
                <a:gd name="connsiteY26" fmla="*/ 4645 h 10015"/>
                <a:gd name="connsiteX27" fmla="*/ 6990 w 10000"/>
                <a:gd name="connsiteY27" fmla="*/ 4535 h 10015"/>
                <a:gd name="connsiteX28" fmla="*/ 6953 w 10000"/>
                <a:gd name="connsiteY28" fmla="*/ 4485 h 10015"/>
                <a:gd name="connsiteX29" fmla="*/ 6916 w 10000"/>
                <a:gd name="connsiteY29" fmla="*/ 4430 h 10015"/>
                <a:gd name="connsiteX30" fmla="*/ 6887 w 10000"/>
                <a:gd name="connsiteY30" fmla="*/ 4375 h 10015"/>
                <a:gd name="connsiteX31" fmla="*/ 6850 w 10000"/>
                <a:gd name="connsiteY31" fmla="*/ 4320 h 10015"/>
                <a:gd name="connsiteX32" fmla="*/ 6820 w 10000"/>
                <a:gd name="connsiteY32" fmla="*/ 4265 h 10015"/>
                <a:gd name="connsiteX33" fmla="*/ 6790 w 10000"/>
                <a:gd name="connsiteY33" fmla="*/ 4210 h 10015"/>
                <a:gd name="connsiteX34" fmla="*/ 6768 w 10000"/>
                <a:gd name="connsiteY34" fmla="*/ 4150 h 10015"/>
                <a:gd name="connsiteX35" fmla="*/ 6738 w 10000"/>
                <a:gd name="connsiteY35" fmla="*/ 4095 h 10015"/>
                <a:gd name="connsiteX36" fmla="*/ 6723 w 10000"/>
                <a:gd name="connsiteY36" fmla="*/ 4035 h 10015"/>
                <a:gd name="connsiteX37" fmla="*/ 6694 w 10000"/>
                <a:gd name="connsiteY37" fmla="*/ 3980 h 10015"/>
                <a:gd name="connsiteX38" fmla="*/ 6679 w 10000"/>
                <a:gd name="connsiteY38" fmla="*/ 3920 h 10015"/>
                <a:gd name="connsiteX39" fmla="*/ 6664 w 10000"/>
                <a:gd name="connsiteY39" fmla="*/ 3860 h 10015"/>
                <a:gd name="connsiteX40" fmla="*/ 6649 w 10000"/>
                <a:gd name="connsiteY40" fmla="*/ 3801 h 10015"/>
                <a:gd name="connsiteX41" fmla="*/ 6635 w 10000"/>
                <a:gd name="connsiteY41" fmla="*/ 3746 h 10015"/>
                <a:gd name="connsiteX42" fmla="*/ 6620 w 10000"/>
                <a:gd name="connsiteY42" fmla="*/ 3686 h 10015"/>
                <a:gd name="connsiteX43" fmla="*/ 6612 w 10000"/>
                <a:gd name="connsiteY43" fmla="*/ 3627 h 10015"/>
                <a:gd name="connsiteX44" fmla="*/ 6605 w 10000"/>
                <a:gd name="connsiteY44" fmla="*/ 3567 h 10015"/>
                <a:gd name="connsiteX45" fmla="*/ 6597 w 10000"/>
                <a:gd name="connsiteY45" fmla="*/ 3503 h 10015"/>
                <a:gd name="connsiteX46" fmla="*/ 6597 w 10000"/>
                <a:gd name="connsiteY46" fmla="*/ 3443 h 10015"/>
                <a:gd name="connsiteX47" fmla="*/ 6590 w 10000"/>
                <a:gd name="connsiteY47" fmla="*/ 3379 h 10015"/>
                <a:gd name="connsiteX48" fmla="*/ 6597 w 10000"/>
                <a:gd name="connsiteY48" fmla="*/ 3319 h 10015"/>
                <a:gd name="connsiteX49" fmla="*/ 6605 w 10000"/>
                <a:gd name="connsiteY49" fmla="*/ 3251 h 10015"/>
                <a:gd name="connsiteX50" fmla="*/ 6605 w 10000"/>
                <a:gd name="connsiteY50" fmla="*/ 3186 h 10015"/>
                <a:gd name="connsiteX51" fmla="*/ 6612 w 10000"/>
                <a:gd name="connsiteY51" fmla="*/ 3121 h 10015"/>
                <a:gd name="connsiteX52" fmla="*/ 6620 w 10000"/>
                <a:gd name="connsiteY52" fmla="*/ 3057 h 10015"/>
                <a:gd name="connsiteX53" fmla="*/ 6635 w 10000"/>
                <a:gd name="connsiteY53" fmla="*/ 2998 h 10015"/>
                <a:gd name="connsiteX54" fmla="*/ 6649 w 10000"/>
                <a:gd name="connsiteY54" fmla="*/ 2934 h 10015"/>
                <a:gd name="connsiteX55" fmla="*/ 6664 w 10000"/>
                <a:gd name="connsiteY55" fmla="*/ 2874 h 10015"/>
                <a:gd name="connsiteX56" fmla="*/ 6686 w 10000"/>
                <a:gd name="connsiteY56" fmla="*/ 2810 h 10015"/>
                <a:gd name="connsiteX57" fmla="*/ 6709 w 10000"/>
                <a:gd name="connsiteY57" fmla="*/ 2750 h 10015"/>
                <a:gd name="connsiteX58" fmla="*/ 6731 w 10000"/>
                <a:gd name="connsiteY58" fmla="*/ 2691 h 10015"/>
                <a:gd name="connsiteX59" fmla="*/ 6753 w 10000"/>
                <a:gd name="connsiteY59" fmla="*/ 2626 h 10015"/>
                <a:gd name="connsiteX60" fmla="*/ 6783 w 10000"/>
                <a:gd name="connsiteY60" fmla="*/ 2571 h 10015"/>
                <a:gd name="connsiteX61" fmla="*/ 6812 w 10000"/>
                <a:gd name="connsiteY61" fmla="*/ 2511 h 10015"/>
                <a:gd name="connsiteX62" fmla="*/ 6842 w 10000"/>
                <a:gd name="connsiteY62" fmla="*/ 2451 h 10015"/>
                <a:gd name="connsiteX63" fmla="*/ 6879 w 10000"/>
                <a:gd name="connsiteY63" fmla="*/ 2392 h 10015"/>
                <a:gd name="connsiteX64" fmla="*/ 6909 w 10000"/>
                <a:gd name="connsiteY64" fmla="*/ 2337 h 10015"/>
                <a:gd name="connsiteX65" fmla="*/ 6946 w 10000"/>
                <a:gd name="connsiteY65" fmla="*/ 2277 h 10015"/>
                <a:gd name="connsiteX66" fmla="*/ 6990 w 10000"/>
                <a:gd name="connsiteY66" fmla="*/ 2222 h 10015"/>
                <a:gd name="connsiteX67" fmla="*/ 7027 w 10000"/>
                <a:gd name="connsiteY67" fmla="*/ 2167 h 10015"/>
                <a:gd name="connsiteX68" fmla="*/ 7072 w 10000"/>
                <a:gd name="connsiteY68" fmla="*/ 2112 h 10015"/>
                <a:gd name="connsiteX69" fmla="*/ 7109 w 10000"/>
                <a:gd name="connsiteY69" fmla="*/ 2057 h 10015"/>
                <a:gd name="connsiteX70" fmla="*/ 7161 w 10000"/>
                <a:gd name="connsiteY70" fmla="*/ 2007 h 10015"/>
                <a:gd name="connsiteX71" fmla="*/ 7213 w 10000"/>
                <a:gd name="connsiteY71" fmla="*/ 1952 h 10015"/>
                <a:gd name="connsiteX72" fmla="*/ 7257 w 10000"/>
                <a:gd name="connsiteY72" fmla="*/ 1897 h 10015"/>
                <a:gd name="connsiteX73" fmla="*/ 7309 w 10000"/>
                <a:gd name="connsiteY73" fmla="*/ 1846 h 10015"/>
                <a:gd name="connsiteX74" fmla="*/ 7361 w 10000"/>
                <a:gd name="connsiteY74" fmla="*/ 1795 h 10015"/>
                <a:gd name="connsiteX75" fmla="*/ 7413 w 10000"/>
                <a:gd name="connsiteY75" fmla="*/ 1745 h 10015"/>
                <a:gd name="connsiteX76" fmla="*/ 7472 w 10000"/>
                <a:gd name="connsiteY76" fmla="*/ 1694 h 10015"/>
                <a:gd name="connsiteX77" fmla="*/ 7524 w 10000"/>
                <a:gd name="connsiteY77" fmla="*/ 1648 h 10015"/>
                <a:gd name="connsiteX78" fmla="*/ 7583 w 10000"/>
                <a:gd name="connsiteY78" fmla="*/ 1602 h 10015"/>
                <a:gd name="connsiteX79" fmla="*/ 7610 w 10000"/>
                <a:gd name="connsiteY79" fmla="*/ 1573 h 10015"/>
                <a:gd name="connsiteX80" fmla="*/ 5390 w 10000"/>
                <a:gd name="connsiteY80" fmla="*/ 0 h 10015"/>
                <a:gd name="connsiteX81" fmla="*/ 1423 w 10000"/>
                <a:gd name="connsiteY81" fmla="*/ 8 h 10015"/>
                <a:gd name="connsiteX82" fmla="*/ 1305 w 10000"/>
                <a:gd name="connsiteY82" fmla="*/ 129 h 10015"/>
                <a:gd name="connsiteX83" fmla="*/ 1223 w 10000"/>
                <a:gd name="connsiteY83" fmla="*/ 221 h 10015"/>
                <a:gd name="connsiteX84" fmla="*/ 1149 w 10000"/>
                <a:gd name="connsiteY84" fmla="*/ 317 h 10015"/>
                <a:gd name="connsiteX85" fmla="*/ 1067 w 10000"/>
                <a:gd name="connsiteY85" fmla="*/ 414 h 10015"/>
                <a:gd name="connsiteX86" fmla="*/ 1001 w 10000"/>
                <a:gd name="connsiteY86" fmla="*/ 511 h 10015"/>
                <a:gd name="connsiteX87" fmla="*/ 927 w 10000"/>
                <a:gd name="connsiteY87" fmla="*/ 607 h 10015"/>
                <a:gd name="connsiteX88" fmla="*/ 860 w 10000"/>
                <a:gd name="connsiteY88" fmla="*/ 708 h 10015"/>
                <a:gd name="connsiteX89" fmla="*/ 793 w 10000"/>
                <a:gd name="connsiteY89" fmla="*/ 809 h 10015"/>
                <a:gd name="connsiteX90" fmla="*/ 734 w 10000"/>
                <a:gd name="connsiteY90" fmla="*/ 905 h 10015"/>
                <a:gd name="connsiteX91" fmla="*/ 675 w 10000"/>
                <a:gd name="connsiteY91" fmla="*/ 1006 h 10015"/>
                <a:gd name="connsiteX92" fmla="*/ 615 w 10000"/>
                <a:gd name="connsiteY92" fmla="*/ 1107 h 10015"/>
                <a:gd name="connsiteX93" fmla="*/ 556 w 10000"/>
                <a:gd name="connsiteY93" fmla="*/ 1213 h 10015"/>
                <a:gd name="connsiteX94" fmla="*/ 504 w 10000"/>
                <a:gd name="connsiteY94" fmla="*/ 1309 h 10015"/>
                <a:gd name="connsiteX95" fmla="*/ 452 w 10000"/>
                <a:gd name="connsiteY95" fmla="*/ 1415 h 10015"/>
                <a:gd name="connsiteX96" fmla="*/ 408 w 10000"/>
                <a:gd name="connsiteY96" fmla="*/ 1515 h 10015"/>
                <a:gd name="connsiteX97" fmla="*/ 363 w 10000"/>
                <a:gd name="connsiteY97" fmla="*/ 1621 h 10015"/>
                <a:gd name="connsiteX98" fmla="*/ 319 w 10000"/>
                <a:gd name="connsiteY98" fmla="*/ 1726 h 10015"/>
                <a:gd name="connsiteX99" fmla="*/ 282 w 10000"/>
                <a:gd name="connsiteY99" fmla="*/ 1833 h 10015"/>
                <a:gd name="connsiteX100" fmla="*/ 237 w 10000"/>
                <a:gd name="connsiteY100" fmla="*/ 1943 h 10015"/>
                <a:gd name="connsiteX101" fmla="*/ 208 w 10000"/>
                <a:gd name="connsiteY101" fmla="*/ 2048 h 10015"/>
                <a:gd name="connsiteX102" fmla="*/ 170 w 10000"/>
                <a:gd name="connsiteY102" fmla="*/ 2158 h 10015"/>
                <a:gd name="connsiteX103" fmla="*/ 148 w 10000"/>
                <a:gd name="connsiteY103" fmla="*/ 2268 h 10015"/>
                <a:gd name="connsiteX104" fmla="*/ 119 w 10000"/>
                <a:gd name="connsiteY104" fmla="*/ 2373 h 10015"/>
                <a:gd name="connsiteX105" fmla="*/ 96 w 10000"/>
                <a:gd name="connsiteY105" fmla="*/ 2483 h 10015"/>
                <a:gd name="connsiteX106" fmla="*/ 74 w 10000"/>
                <a:gd name="connsiteY106" fmla="*/ 2594 h 10015"/>
                <a:gd name="connsiteX107" fmla="*/ 52 w 10000"/>
                <a:gd name="connsiteY107" fmla="*/ 2709 h 10015"/>
                <a:gd name="connsiteX108" fmla="*/ 37 w 10000"/>
                <a:gd name="connsiteY108" fmla="*/ 2819 h 10015"/>
                <a:gd name="connsiteX109" fmla="*/ 22 w 10000"/>
                <a:gd name="connsiteY109" fmla="*/ 2929 h 10015"/>
                <a:gd name="connsiteX110" fmla="*/ 15 w 10000"/>
                <a:gd name="connsiteY110" fmla="*/ 3039 h 10015"/>
                <a:gd name="connsiteX111" fmla="*/ 7 w 10000"/>
                <a:gd name="connsiteY111" fmla="*/ 3153 h 10015"/>
                <a:gd name="connsiteX112" fmla="*/ 0 w 10000"/>
                <a:gd name="connsiteY112" fmla="*/ 3264 h 10015"/>
                <a:gd name="connsiteX113" fmla="*/ 0 w 10000"/>
                <a:gd name="connsiteY113" fmla="*/ 3379 h 10015"/>
                <a:gd name="connsiteX114" fmla="*/ 7 w 10000"/>
                <a:gd name="connsiteY114" fmla="*/ 3526 h 10015"/>
                <a:gd name="connsiteX115" fmla="*/ 7 w 10000"/>
                <a:gd name="connsiteY115" fmla="*/ 3672 h 10015"/>
                <a:gd name="connsiteX116" fmla="*/ 22 w 10000"/>
                <a:gd name="connsiteY116" fmla="*/ 3810 h 10015"/>
                <a:gd name="connsiteX117" fmla="*/ 37 w 10000"/>
                <a:gd name="connsiteY117" fmla="*/ 3953 h 10015"/>
                <a:gd name="connsiteX118" fmla="*/ 59 w 10000"/>
                <a:gd name="connsiteY118" fmla="*/ 4095 h 10015"/>
                <a:gd name="connsiteX119" fmla="*/ 89 w 10000"/>
                <a:gd name="connsiteY119" fmla="*/ 4237 h 10015"/>
                <a:gd name="connsiteX120" fmla="*/ 119 w 10000"/>
                <a:gd name="connsiteY120" fmla="*/ 4379 h 10015"/>
                <a:gd name="connsiteX121" fmla="*/ 148 w 10000"/>
                <a:gd name="connsiteY121" fmla="*/ 4521 h 10015"/>
                <a:gd name="connsiteX122" fmla="*/ 193 w 10000"/>
                <a:gd name="connsiteY122" fmla="*/ 4660 h 10015"/>
                <a:gd name="connsiteX123" fmla="*/ 237 w 10000"/>
                <a:gd name="connsiteY123" fmla="*/ 4797 h 10015"/>
                <a:gd name="connsiteX124" fmla="*/ 282 w 10000"/>
                <a:gd name="connsiteY124" fmla="*/ 4935 h 10015"/>
                <a:gd name="connsiteX125" fmla="*/ 334 w 10000"/>
                <a:gd name="connsiteY125" fmla="*/ 5072 h 10015"/>
                <a:gd name="connsiteX126" fmla="*/ 393 w 10000"/>
                <a:gd name="connsiteY126" fmla="*/ 5205 h 10015"/>
                <a:gd name="connsiteX127" fmla="*/ 452 w 10000"/>
                <a:gd name="connsiteY127" fmla="*/ 5338 h 10015"/>
                <a:gd name="connsiteX128" fmla="*/ 519 w 10000"/>
                <a:gd name="connsiteY128" fmla="*/ 5472 h 10015"/>
                <a:gd name="connsiteX129" fmla="*/ 586 w 10000"/>
                <a:gd name="connsiteY129" fmla="*/ 5605 h 10015"/>
                <a:gd name="connsiteX130" fmla="*/ 660 w 10000"/>
                <a:gd name="connsiteY130" fmla="*/ 5733 h 10015"/>
                <a:gd name="connsiteX131" fmla="*/ 741 w 10000"/>
                <a:gd name="connsiteY131" fmla="*/ 5861 h 10015"/>
                <a:gd name="connsiteX132" fmla="*/ 823 w 10000"/>
                <a:gd name="connsiteY132" fmla="*/ 5994 h 10015"/>
                <a:gd name="connsiteX133" fmla="*/ 904 w 10000"/>
                <a:gd name="connsiteY133" fmla="*/ 6119 h 10015"/>
                <a:gd name="connsiteX134" fmla="*/ 993 w 10000"/>
                <a:gd name="connsiteY134" fmla="*/ 6243 h 10015"/>
                <a:gd name="connsiteX135" fmla="*/ 1090 w 10000"/>
                <a:gd name="connsiteY135" fmla="*/ 6362 h 10015"/>
                <a:gd name="connsiteX136" fmla="*/ 1186 w 10000"/>
                <a:gd name="connsiteY136" fmla="*/ 6486 h 10015"/>
                <a:gd name="connsiteX137" fmla="*/ 1290 w 10000"/>
                <a:gd name="connsiteY137" fmla="*/ 6609 h 10015"/>
                <a:gd name="connsiteX138" fmla="*/ 1386 w 10000"/>
                <a:gd name="connsiteY138" fmla="*/ 6729 h 10015"/>
                <a:gd name="connsiteX139" fmla="*/ 1497 w 10000"/>
                <a:gd name="connsiteY139" fmla="*/ 6849 h 10015"/>
                <a:gd name="connsiteX140" fmla="*/ 1609 w 10000"/>
                <a:gd name="connsiteY140" fmla="*/ 6963 h 10015"/>
                <a:gd name="connsiteX141" fmla="*/ 1727 w 10000"/>
                <a:gd name="connsiteY141" fmla="*/ 7082 h 10015"/>
                <a:gd name="connsiteX142" fmla="*/ 1846 w 10000"/>
                <a:gd name="connsiteY142" fmla="*/ 7197 h 10015"/>
                <a:gd name="connsiteX143" fmla="*/ 1964 w 10000"/>
                <a:gd name="connsiteY143" fmla="*/ 7307 h 10015"/>
                <a:gd name="connsiteX144" fmla="*/ 2090 w 10000"/>
                <a:gd name="connsiteY144" fmla="*/ 7417 h 10015"/>
                <a:gd name="connsiteX145" fmla="*/ 2224 w 10000"/>
                <a:gd name="connsiteY145" fmla="*/ 7528 h 10015"/>
                <a:gd name="connsiteX146" fmla="*/ 2350 w 10000"/>
                <a:gd name="connsiteY146" fmla="*/ 7638 h 10015"/>
                <a:gd name="connsiteX147" fmla="*/ 2491 w 10000"/>
                <a:gd name="connsiteY147" fmla="*/ 7743 h 10015"/>
                <a:gd name="connsiteX148" fmla="*/ 2617 w 10000"/>
                <a:gd name="connsiteY148" fmla="*/ 7849 h 10015"/>
                <a:gd name="connsiteX149" fmla="*/ 2765 w 10000"/>
                <a:gd name="connsiteY149" fmla="*/ 7950 h 10015"/>
                <a:gd name="connsiteX150" fmla="*/ 2906 w 10000"/>
                <a:gd name="connsiteY150" fmla="*/ 8050 h 10015"/>
                <a:gd name="connsiteX151" fmla="*/ 3054 w 10000"/>
                <a:gd name="connsiteY151" fmla="*/ 8151 h 10015"/>
                <a:gd name="connsiteX152" fmla="*/ 3210 w 10000"/>
                <a:gd name="connsiteY152" fmla="*/ 8249 h 10015"/>
                <a:gd name="connsiteX153" fmla="*/ 3358 w 10000"/>
                <a:gd name="connsiteY153" fmla="*/ 8345 h 10015"/>
                <a:gd name="connsiteX154" fmla="*/ 3514 w 10000"/>
                <a:gd name="connsiteY154" fmla="*/ 8441 h 10015"/>
                <a:gd name="connsiteX155" fmla="*/ 3677 w 10000"/>
                <a:gd name="connsiteY155" fmla="*/ 8533 h 10015"/>
                <a:gd name="connsiteX156" fmla="*/ 3840 w 10000"/>
                <a:gd name="connsiteY156" fmla="*/ 8620 h 10015"/>
                <a:gd name="connsiteX157" fmla="*/ 4010 w 10000"/>
                <a:gd name="connsiteY157" fmla="*/ 8711 h 10015"/>
                <a:gd name="connsiteX158" fmla="*/ 4181 w 10000"/>
                <a:gd name="connsiteY158" fmla="*/ 8789 h 10015"/>
                <a:gd name="connsiteX159" fmla="*/ 4351 w 10000"/>
                <a:gd name="connsiteY159" fmla="*/ 8876 h 10015"/>
                <a:gd name="connsiteX160" fmla="*/ 4522 w 10000"/>
                <a:gd name="connsiteY160" fmla="*/ 8955 h 10015"/>
                <a:gd name="connsiteX161" fmla="*/ 4700 w 10000"/>
                <a:gd name="connsiteY161" fmla="*/ 9038 h 10015"/>
                <a:gd name="connsiteX162" fmla="*/ 4878 w 10000"/>
                <a:gd name="connsiteY162" fmla="*/ 9116 h 10015"/>
                <a:gd name="connsiteX163" fmla="*/ 5063 w 10000"/>
                <a:gd name="connsiteY163" fmla="*/ 9189 h 10015"/>
                <a:gd name="connsiteX164" fmla="*/ 5248 w 10000"/>
                <a:gd name="connsiteY164" fmla="*/ 9267 h 10015"/>
                <a:gd name="connsiteX165" fmla="*/ 5426 w 10000"/>
                <a:gd name="connsiteY165" fmla="*/ 9336 h 10015"/>
                <a:gd name="connsiteX166" fmla="*/ 5619 w 10000"/>
                <a:gd name="connsiteY166" fmla="*/ 9404 h 10015"/>
                <a:gd name="connsiteX167" fmla="*/ 5812 w 10000"/>
                <a:gd name="connsiteY167" fmla="*/ 9473 h 10015"/>
                <a:gd name="connsiteX168" fmla="*/ 6004 w 10000"/>
                <a:gd name="connsiteY168" fmla="*/ 9537 h 10015"/>
                <a:gd name="connsiteX169" fmla="*/ 6205 w 10000"/>
                <a:gd name="connsiteY169" fmla="*/ 9602 h 10015"/>
                <a:gd name="connsiteX170" fmla="*/ 6397 w 10000"/>
                <a:gd name="connsiteY170" fmla="*/ 9662 h 10015"/>
                <a:gd name="connsiteX171" fmla="*/ 6605 w 10000"/>
                <a:gd name="connsiteY171" fmla="*/ 9717 h 10015"/>
                <a:gd name="connsiteX172" fmla="*/ 6805 w 10000"/>
                <a:gd name="connsiteY172" fmla="*/ 9772 h 10015"/>
                <a:gd name="connsiteX173" fmla="*/ 7005 w 10000"/>
                <a:gd name="connsiteY173" fmla="*/ 9827 h 10015"/>
                <a:gd name="connsiteX174" fmla="*/ 7213 w 10000"/>
                <a:gd name="connsiteY174" fmla="*/ 9878 h 10015"/>
                <a:gd name="connsiteX175" fmla="*/ 7420 w 10000"/>
                <a:gd name="connsiteY175" fmla="*/ 9923 h 10015"/>
                <a:gd name="connsiteX176" fmla="*/ 7628 w 10000"/>
                <a:gd name="connsiteY176" fmla="*/ 9969 h 10015"/>
                <a:gd name="connsiteX177" fmla="*/ 7835 w 10000"/>
                <a:gd name="connsiteY177" fmla="*/ 10015 h 10015"/>
                <a:gd name="connsiteX178" fmla="*/ 7539 w 10000"/>
                <a:gd name="connsiteY178" fmla="*/ 7766 h 10015"/>
                <a:gd name="connsiteX179" fmla="*/ 10000 w 10000"/>
                <a:gd name="connsiteY179" fmla="*/ 6151 h 10015"/>
                <a:gd name="connsiteX0" fmla="*/ 10000 w 10000"/>
                <a:gd name="connsiteY0" fmla="*/ 6143 h 10007"/>
                <a:gd name="connsiteX1" fmla="*/ 10000 w 10000"/>
                <a:gd name="connsiteY1" fmla="*/ 6143 h 10007"/>
                <a:gd name="connsiteX2" fmla="*/ 9911 w 10000"/>
                <a:gd name="connsiteY2" fmla="*/ 6129 h 10007"/>
                <a:gd name="connsiteX3" fmla="*/ 9815 w 10000"/>
                <a:gd name="connsiteY3" fmla="*/ 6111 h 10007"/>
                <a:gd name="connsiteX4" fmla="*/ 9726 w 10000"/>
                <a:gd name="connsiteY4" fmla="*/ 6093 h 10007"/>
                <a:gd name="connsiteX5" fmla="*/ 9637 w 10000"/>
                <a:gd name="connsiteY5" fmla="*/ 6069 h 10007"/>
                <a:gd name="connsiteX6" fmla="*/ 9548 w 10000"/>
                <a:gd name="connsiteY6" fmla="*/ 6050 h 10007"/>
                <a:gd name="connsiteX7" fmla="*/ 9466 w 10000"/>
                <a:gd name="connsiteY7" fmla="*/ 6028 h 10007"/>
                <a:gd name="connsiteX8" fmla="*/ 9377 w 10000"/>
                <a:gd name="connsiteY8" fmla="*/ 6005 h 10007"/>
                <a:gd name="connsiteX9" fmla="*/ 9288 w 10000"/>
                <a:gd name="connsiteY9" fmla="*/ 5982 h 10007"/>
                <a:gd name="connsiteX10" fmla="*/ 9118 w 10000"/>
                <a:gd name="connsiteY10" fmla="*/ 5931 h 10007"/>
                <a:gd name="connsiteX11" fmla="*/ 8955 w 10000"/>
                <a:gd name="connsiteY11" fmla="*/ 5876 h 10007"/>
                <a:gd name="connsiteX12" fmla="*/ 8792 w 10000"/>
                <a:gd name="connsiteY12" fmla="*/ 5817 h 10007"/>
                <a:gd name="connsiteX13" fmla="*/ 8636 w 10000"/>
                <a:gd name="connsiteY13" fmla="*/ 5753 h 10007"/>
                <a:gd name="connsiteX14" fmla="*/ 8480 w 10000"/>
                <a:gd name="connsiteY14" fmla="*/ 5688 h 10007"/>
                <a:gd name="connsiteX15" fmla="*/ 8340 w 10000"/>
                <a:gd name="connsiteY15" fmla="*/ 5620 h 10007"/>
                <a:gd name="connsiteX16" fmla="*/ 8199 w 10000"/>
                <a:gd name="connsiteY16" fmla="*/ 5546 h 10007"/>
                <a:gd name="connsiteX17" fmla="*/ 8058 w 10000"/>
                <a:gd name="connsiteY17" fmla="*/ 5468 h 10007"/>
                <a:gd name="connsiteX18" fmla="*/ 7924 w 10000"/>
                <a:gd name="connsiteY18" fmla="*/ 5386 h 10007"/>
                <a:gd name="connsiteX19" fmla="*/ 7798 w 10000"/>
                <a:gd name="connsiteY19" fmla="*/ 5302 h 10007"/>
                <a:gd name="connsiteX20" fmla="*/ 7672 w 10000"/>
                <a:gd name="connsiteY20" fmla="*/ 5215 h 10007"/>
                <a:gd name="connsiteX21" fmla="*/ 7554 w 10000"/>
                <a:gd name="connsiteY21" fmla="*/ 5128 h 10007"/>
                <a:gd name="connsiteX22" fmla="*/ 7450 w 10000"/>
                <a:gd name="connsiteY22" fmla="*/ 5032 h 10007"/>
                <a:gd name="connsiteX23" fmla="*/ 7346 w 10000"/>
                <a:gd name="connsiteY23" fmla="*/ 4936 h 10007"/>
                <a:gd name="connsiteX24" fmla="*/ 7250 w 10000"/>
                <a:gd name="connsiteY24" fmla="*/ 4840 h 10007"/>
                <a:gd name="connsiteX25" fmla="*/ 7161 w 10000"/>
                <a:gd name="connsiteY25" fmla="*/ 4739 h 10007"/>
                <a:gd name="connsiteX26" fmla="*/ 7072 w 10000"/>
                <a:gd name="connsiteY26" fmla="*/ 4637 h 10007"/>
                <a:gd name="connsiteX27" fmla="*/ 6990 w 10000"/>
                <a:gd name="connsiteY27" fmla="*/ 4527 h 10007"/>
                <a:gd name="connsiteX28" fmla="*/ 6953 w 10000"/>
                <a:gd name="connsiteY28" fmla="*/ 4477 h 10007"/>
                <a:gd name="connsiteX29" fmla="*/ 6916 w 10000"/>
                <a:gd name="connsiteY29" fmla="*/ 4422 h 10007"/>
                <a:gd name="connsiteX30" fmla="*/ 6887 w 10000"/>
                <a:gd name="connsiteY30" fmla="*/ 4367 h 10007"/>
                <a:gd name="connsiteX31" fmla="*/ 6850 w 10000"/>
                <a:gd name="connsiteY31" fmla="*/ 4312 h 10007"/>
                <a:gd name="connsiteX32" fmla="*/ 6820 w 10000"/>
                <a:gd name="connsiteY32" fmla="*/ 4257 h 10007"/>
                <a:gd name="connsiteX33" fmla="*/ 6790 w 10000"/>
                <a:gd name="connsiteY33" fmla="*/ 4202 h 10007"/>
                <a:gd name="connsiteX34" fmla="*/ 6768 w 10000"/>
                <a:gd name="connsiteY34" fmla="*/ 4142 h 10007"/>
                <a:gd name="connsiteX35" fmla="*/ 6738 w 10000"/>
                <a:gd name="connsiteY35" fmla="*/ 4087 h 10007"/>
                <a:gd name="connsiteX36" fmla="*/ 6723 w 10000"/>
                <a:gd name="connsiteY36" fmla="*/ 4027 h 10007"/>
                <a:gd name="connsiteX37" fmla="*/ 6694 w 10000"/>
                <a:gd name="connsiteY37" fmla="*/ 3972 h 10007"/>
                <a:gd name="connsiteX38" fmla="*/ 6679 w 10000"/>
                <a:gd name="connsiteY38" fmla="*/ 3912 h 10007"/>
                <a:gd name="connsiteX39" fmla="*/ 6664 w 10000"/>
                <a:gd name="connsiteY39" fmla="*/ 3852 h 10007"/>
                <a:gd name="connsiteX40" fmla="*/ 6649 w 10000"/>
                <a:gd name="connsiteY40" fmla="*/ 3793 h 10007"/>
                <a:gd name="connsiteX41" fmla="*/ 6635 w 10000"/>
                <a:gd name="connsiteY41" fmla="*/ 3738 h 10007"/>
                <a:gd name="connsiteX42" fmla="*/ 6620 w 10000"/>
                <a:gd name="connsiteY42" fmla="*/ 3678 h 10007"/>
                <a:gd name="connsiteX43" fmla="*/ 6612 w 10000"/>
                <a:gd name="connsiteY43" fmla="*/ 3619 h 10007"/>
                <a:gd name="connsiteX44" fmla="*/ 6605 w 10000"/>
                <a:gd name="connsiteY44" fmla="*/ 3559 h 10007"/>
                <a:gd name="connsiteX45" fmla="*/ 6597 w 10000"/>
                <a:gd name="connsiteY45" fmla="*/ 3495 h 10007"/>
                <a:gd name="connsiteX46" fmla="*/ 6597 w 10000"/>
                <a:gd name="connsiteY46" fmla="*/ 3435 h 10007"/>
                <a:gd name="connsiteX47" fmla="*/ 6590 w 10000"/>
                <a:gd name="connsiteY47" fmla="*/ 3371 h 10007"/>
                <a:gd name="connsiteX48" fmla="*/ 6597 w 10000"/>
                <a:gd name="connsiteY48" fmla="*/ 3311 h 10007"/>
                <a:gd name="connsiteX49" fmla="*/ 6605 w 10000"/>
                <a:gd name="connsiteY49" fmla="*/ 3243 h 10007"/>
                <a:gd name="connsiteX50" fmla="*/ 6605 w 10000"/>
                <a:gd name="connsiteY50" fmla="*/ 3178 h 10007"/>
                <a:gd name="connsiteX51" fmla="*/ 6612 w 10000"/>
                <a:gd name="connsiteY51" fmla="*/ 3113 h 10007"/>
                <a:gd name="connsiteX52" fmla="*/ 6620 w 10000"/>
                <a:gd name="connsiteY52" fmla="*/ 3049 h 10007"/>
                <a:gd name="connsiteX53" fmla="*/ 6635 w 10000"/>
                <a:gd name="connsiteY53" fmla="*/ 2990 h 10007"/>
                <a:gd name="connsiteX54" fmla="*/ 6649 w 10000"/>
                <a:gd name="connsiteY54" fmla="*/ 2926 h 10007"/>
                <a:gd name="connsiteX55" fmla="*/ 6664 w 10000"/>
                <a:gd name="connsiteY55" fmla="*/ 2866 h 10007"/>
                <a:gd name="connsiteX56" fmla="*/ 6686 w 10000"/>
                <a:gd name="connsiteY56" fmla="*/ 2802 h 10007"/>
                <a:gd name="connsiteX57" fmla="*/ 6709 w 10000"/>
                <a:gd name="connsiteY57" fmla="*/ 2742 h 10007"/>
                <a:gd name="connsiteX58" fmla="*/ 6731 w 10000"/>
                <a:gd name="connsiteY58" fmla="*/ 2683 h 10007"/>
                <a:gd name="connsiteX59" fmla="*/ 6753 w 10000"/>
                <a:gd name="connsiteY59" fmla="*/ 2618 h 10007"/>
                <a:gd name="connsiteX60" fmla="*/ 6783 w 10000"/>
                <a:gd name="connsiteY60" fmla="*/ 2563 h 10007"/>
                <a:gd name="connsiteX61" fmla="*/ 6812 w 10000"/>
                <a:gd name="connsiteY61" fmla="*/ 2503 h 10007"/>
                <a:gd name="connsiteX62" fmla="*/ 6842 w 10000"/>
                <a:gd name="connsiteY62" fmla="*/ 2443 h 10007"/>
                <a:gd name="connsiteX63" fmla="*/ 6879 w 10000"/>
                <a:gd name="connsiteY63" fmla="*/ 2384 h 10007"/>
                <a:gd name="connsiteX64" fmla="*/ 6909 w 10000"/>
                <a:gd name="connsiteY64" fmla="*/ 2329 h 10007"/>
                <a:gd name="connsiteX65" fmla="*/ 6946 w 10000"/>
                <a:gd name="connsiteY65" fmla="*/ 2269 h 10007"/>
                <a:gd name="connsiteX66" fmla="*/ 6990 w 10000"/>
                <a:gd name="connsiteY66" fmla="*/ 2214 h 10007"/>
                <a:gd name="connsiteX67" fmla="*/ 7027 w 10000"/>
                <a:gd name="connsiteY67" fmla="*/ 2159 h 10007"/>
                <a:gd name="connsiteX68" fmla="*/ 7072 w 10000"/>
                <a:gd name="connsiteY68" fmla="*/ 2104 h 10007"/>
                <a:gd name="connsiteX69" fmla="*/ 7109 w 10000"/>
                <a:gd name="connsiteY69" fmla="*/ 2049 h 10007"/>
                <a:gd name="connsiteX70" fmla="*/ 7161 w 10000"/>
                <a:gd name="connsiteY70" fmla="*/ 1999 h 10007"/>
                <a:gd name="connsiteX71" fmla="*/ 7213 w 10000"/>
                <a:gd name="connsiteY71" fmla="*/ 1944 h 10007"/>
                <a:gd name="connsiteX72" fmla="*/ 7257 w 10000"/>
                <a:gd name="connsiteY72" fmla="*/ 1889 h 10007"/>
                <a:gd name="connsiteX73" fmla="*/ 7309 w 10000"/>
                <a:gd name="connsiteY73" fmla="*/ 1838 h 10007"/>
                <a:gd name="connsiteX74" fmla="*/ 7361 w 10000"/>
                <a:gd name="connsiteY74" fmla="*/ 1787 h 10007"/>
                <a:gd name="connsiteX75" fmla="*/ 7413 w 10000"/>
                <a:gd name="connsiteY75" fmla="*/ 1737 h 10007"/>
                <a:gd name="connsiteX76" fmla="*/ 7472 w 10000"/>
                <a:gd name="connsiteY76" fmla="*/ 1686 h 10007"/>
                <a:gd name="connsiteX77" fmla="*/ 7524 w 10000"/>
                <a:gd name="connsiteY77" fmla="*/ 1640 h 10007"/>
                <a:gd name="connsiteX78" fmla="*/ 7583 w 10000"/>
                <a:gd name="connsiteY78" fmla="*/ 1594 h 10007"/>
                <a:gd name="connsiteX79" fmla="*/ 7610 w 10000"/>
                <a:gd name="connsiteY79" fmla="*/ 1565 h 10007"/>
                <a:gd name="connsiteX80" fmla="*/ 5379 w 10000"/>
                <a:gd name="connsiteY80" fmla="*/ 20 h 10007"/>
                <a:gd name="connsiteX81" fmla="*/ 1423 w 10000"/>
                <a:gd name="connsiteY81" fmla="*/ 0 h 10007"/>
                <a:gd name="connsiteX82" fmla="*/ 1305 w 10000"/>
                <a:gd name="connsiteY82" fmla="*/ 121 h 10007"/>
                <a:gd name="connsiteX83" fmla="*/ 1223 w 10000"/>
                <a:gd name="connsiteY83" fmla="*/ 213 h 10007"/>
                <a:gd name="connsiteX84" fmla="*/ 1149 w 10000"/>
                <a:gd name="connsiteY84" fmla="*/ 309 h 10007"/>
                <a:gd name="connsiteX85" fmla="*/ 1067 w 10000"/>
                <a:gd name="connsiteY85" fmla="*/ 406 h 10007"/>
                <a:gd name="connsiteX86" fmla="*/ 1001 w 10000"/>
                <a:gd name="connsiteY86" fmla="*/ 503 h 10007"/>
                <a:gd name="connsiteX87" fmla="*/ 927 w 10000"/>
                <a:gd name="connsiteY87" fmla="*/ 599 h 10007"/>
                <a:gd name="connsiteX88" fmla="*/ 860 w 10000"/>
                <a:gd name="connsiteY88" fmla="*/ 700 h 10007"/>
                <a:gd name="connsiteX89" fmla="*/ 793 w 10000"/>
                <a:gd name="connsiteY89" fmla="*/ 801 h 10007"/>
                <a:gd name="connsiteX90" fmla="*/ 734 w 10000"/>
                <a:gd name="connsiteY90" fmla="*/ 897 h 10007"/>
                <a:gd name="connsiteX91" fmla="*/ 675 w 10000"/>
                <a:gd name="connsiteY91" fmla="*/ 998 h 10007"/>
                <a:gd name="connsiteX92" fmla="*/ 615 w 10000"/>
                <a:gd name="connsiteY92" fmla="*/ 1099 h 10007"/>
                <a:gd name="connsiteX93" fmla="*/ 556 w 10000"/>
                <a:gd name="connsiteY93" fmla="*/ 1205 h 10007"/>
                <a:gd name="connsiteX94" fmla="*/ 504 w 10000"/>
                <a:gd name="connsiteY94" fmla="*/ 1301 h 10007"/>
                <a:gd name="connsiteX95" fmla="*/ 452 w 10000"/>
                <a:gd name="connsiteY95" fmla="*/ 1407 h 10007"/>
                <a:gd name="connsiteX96" fmla="*/ 408 w 10000"/>
                <a:gd name="connsiteY96" fmla="*/ 1507 h 10007"/>
                <a:gd name="connsiteX97" fmla="*/ 363 w 10000"/>
                <a:gd name="connsiteY97" fmla="*/ 1613 h 10007"/>
                <a:gd name="connsiteX98" fmla="*/ 319 w 10000"/>
                <a:gd name="connsiteY98" fmla="*/ 1718 h 10007"/>
                <a:gd name="connsiteX99" fmla="*/ 282 w 10000"/>
                <a:gd name="connsiteY99" fmla="*/ 1825 h 10007"/>
                <a:gd name="connsiteX100" fmla="*/ 237 w 10000"/>
                <a:gd name="connsiteY100" fmla="*/ 1935 h 10007"/>
                <a:gd name="connsiteX101" fmla="*/ 208 w 10000"/>
                <a:gd name="connsiteY101" fmla="*/ 2040 h 10007"/>
                <a:gd name="connsiteX102" fmla="*/ 170 w 10000"/>
                <a:gd name="connsiteY102" fmla="*/ 2150 h 10007"/>
                <a:gd name="connsiteX103" fmla="*/ 148 w 10000"/>
                <a:gd name="connsiteY103" fmla="*/ 2260 h 10007"/>
                <a:gd name="connsiteX104" fmla="*/ 119 w 10000"/>
                <a:gd name="connsiteY104" fmla="*/ 2365 h 10007"/>
                <a:gd name="connsiteX105" fmla="*/ 96 w 10000"/>
                <a:gd name="connsiteY105" fmla="*/ 2475 h 10007"/>
                <a:gd name="connsiteX106" fmla="*/ 74 w 10000"/>
                <a:gd name="connsiteY106" fmla="*/ 2586 h 10007"/>
                <a:gd name="connsiteX107" fmla="*/ 52 w 10000"/>
                <a:gd name="connsiteY107" fmla="*/ 2701 h 10007"/>
                <a:gd name="connsiteX108" fmla="*/ 37 w 10000"/>
                <a:gd name="connsiteY108" fmla="*/ 2811 h 10007"/>
                <a:gd name="connsiteX109" fmla="*/ 22 w 10000"/>
                <a:gd name="connsiteY109" fmla="*/ 2921 h 10007"/>
                <a:gd name="connsiteX110" fmla="*/ 15 w 10000"/>
                <a:gd name="connsiteY110" fmla="*/ 3031 h 10007"/>
                <a:gd name="connsiteX111" fmla="*/ 7 w 10000"/>
                <a:gd name="connsiteY111" fmla="*/ 3145 h 10007"/>
                <a:gd name="connsiteX112" fmla="*/ 0 w 10000"/>
                <a:gd name="connsiteY112" fmla="*/ 3256 h 10007"/>
                <a:gd name="connsiteX113" fmla="*/ 0 w 10000"/>
                <a:gd name="connsiteY113" fmla="*/ 3371 h 10007"/>
                <a:gd name="connsiteX114" fmla="*/ 7 w 10000"/>
                <a:gd name="connsiteY114" fmla="*/ 3518 h 10007"/>
                <a:gd name="connsiteX115" fmla="*/ 7 w 10000"/>
                <a:gd name="connsiteY115" fmla="*/ 3664 h 10007"/>
                <a:gd name="connsiteX116" fmla="*/ 22 w 10000"/>
                <a:gd name="connsiteY116" fmla="*/ 3802 h 10007"/>
                <a:gd name="connsiteX117" fmla="*/ 37 w 10000"/>
                <a:gd name="connsiteY117" fmla="*/ 3945 h 10007"/>
                <a:gd name="connsiteX118" fmla="*/ 59 w 10000"/>
                <a:gd name="connsiteY118" fmla="*/ 4087 h 10007"/>
                <a:gd name="connsiteX119" fmla="*/ 89 w 10000"/>
                <a:gd name="connsiteY119" fmla="*/ 4229 h 10007"/>
                <a:gd name="connsiteX120" fmla="*/ 119 w 10000"/>
                <a:gd name="connsiteY120" fmla="*/ 4371 h 10007"/>
                <a:gd name="connsiteX121" fmla="*/ 148 w 10000"/>
                <a:gd name="connsiteY121" fmla="*/ 4513 h 10007"/>
                <a:gd name="connsiteX122" fmla="*/ 193 w 10000"/>
                <a:gd name="connsiteY122" fmla="*/ 4652 h 10007"/>
                <a:gd name="connsiteX123" fmla="*/ 237 w 10000"/>
                <a:gd name="connsiteY123" fmla="*/ 4789 h 10007"/>
                <a:gd name="connsiteX124" fmla="*/ 282 w 10000"/>
                <a:gd name="connsiteY124" fmla="*/ 4927 h 10007"/>
                <a:gd name="connsiteX125" fmla="*/ 334 w 10000"/>
                <a:gd name="connsiteY125" fmla="*/ 5064 h 10007"/>
                <a:gd name="connsiteX126" fmla="*/ 393 w 10000"/>
                <a:gd name="connsiteY126" fmla="*/ 5197 h 10007"/>
                <a:gd name="connsiteX127" fmla="*/ 452 w 10000"/>
                <a:gd name="connsiteY127" fmla="*/ 5330 h 10007"/>
                <a:gd name="connsiteX128" fmla="*/ 519 w 10000"/>
                <a:gd name="connsiteY128" fmla="*/ 5464 h 10007"/>
                <a:gd name="connsiteX129" fmla="*/ 586 w 10000"/>
                <a:gd name="connsiteY129" fmla="*/ 5597 h 10007"/>
                <a:gd name="connsiteX130" fmla="*/ 660 w 10000"/>
                <a:gd name="connsiteY130" fmla="*/ 5725 h 10007"/>
                <a:gd name="connsiteX131" fmla="*/ 741 w 10000"/>
                <a:gd name="connsiteY131" fmla="*/ 5853 h 10007"/>
                <a:gd name="connsiteX132" fmla="*/ 823 w 10000"/>
                <a:gd name="connsiteY132" fmla="*/ 5986 h 10007"/>
                <a:gd name="connsiteX133" fmla="*/ 904 w 10000"/>
                <a:gd name="connsiteY133" fmla="*/ 6111 h 10007"/>
                <a:gd name="connsiteX134" fmla="*/ 993 w 10000"/>
                <a:gd name="connsiteY134" fmla="*/ 6235 h 10007"/>
                <a:gd name="connsiteX135" fmla="*/ 1090 w 10000"/>
                <a:gd name="connsiteY135" fmla="*/ 6354 h 10007"/>
                <a:gd name="connsiteX136" fmla="*/ 1186 w 10000"/>
                <a:gd name="connsiteY136" fmla="*/ 6478 h 10007"/>
                <a:gd name="connsiteX137" fmla="*/ 1290 w 10000"/>
                <a:gd name="connsiteY137" fmla="*/ 6601 h 10007"/>
                <a:gd name="connsiteX138" fmla="*/ 1386 w 10000"/>
                <a:gd name="connsiteY138" fmla="*/ 6721 h 10007"/>
                <a:gd name="connsiteX139" fmla="*/ 1497 w 10000"/>
                <a:gd name="connsiteY139" fmla="*/ 6841 h 10007"/>
                <a:gd name="connsiteX140" fmla="*/ 1609 w 10000"/>
                <a:gd name="connsiteY140" fmla="*/ 6955 h 10007"/>
                <a:gd name="connsiteX141" fmla="*/ 1727 w 10000"/>
                <a:gd name="connsiteY141" fmla="*/ 7074 h 10007"/>
                <a:gd name="connsiteX142" fmla="*/ 1846 w 10000"/>
                <a:gd name="connsiteY142" fmla="*/ 7189 h 10007"/>
                <a:gd name="connsiteX143" fmla="*/ 1964 w 10000"/>
                <a:gd name="connsiteY143" fmla="*/ 7299 h 10007"/>
                <a:gd name="connsiteX144" fmla="*/ 2090 w 10000"/>
                <a:gd name="connsiteY144" fmla="*/ 7409 h 10007"/>
                <a:gd name="connsiteX145" fmla="*/ 2224 w 10000"/>
                <a:gd name="connsiteY145" fmla="*/ 7520 h 10007"/>
                <a:gd name="connsiteX146" fmla="*/ 2350 w 10000"/>
                <a:gd name="connsiteY146" fmla="*/ 7630 h 10007"/>
                <a:gd name="connsiteX147" fmla="*/ 2491 w 10000"/>
                <a:gd name="connsiteY147" fmla="*/ 7735 h 10007"/>
                <a:gd name="connsiteX148" fmla="*/ 2617 w 10000"/>
                <a:gd name="connsiteY148" fmla="*/ 7841 h 10007"/>
                <a:gd name="connsiteX149" fmla="*/ 2765 w 10000"/>
                <a:gd name="connsiteY149" fmla="*/ 7942 h 10007"/>
                <a:gd name="connsiteX150" fmla="*/ 2906 w 10000"/>
                <a:gd name="connsiteY150" fmla="*/ 8042 h 10007"/>
                <a:gd name="connsiteX151" fmla="*/ 3054 w 10000"/>
                <a:gd name="connsiteY151" fmla="*/ 8143 h 10007"/>
                <a:gd name="connsiteX152" fmla="*/ 3210 w 10000"/>
                <a:gd name="connsiteY152" fmla="*/ 8241 h 10007"/>
                <a:gd name="connsiteX153" fmla="*/ 3358 w 10000"/>
                <a:gd name="connsiteY153" fmla="*/ 8337 h 10007"/>
                <a:gd name="connsiteX154" fmla="*/ 3514 w 10000"/>
                <a:gd name="connsiteY154" fmla="*/ 8433 h 10007"/>
                <a:gd name="connsiteX155" fmla="*/ 3677 w 10000"/>
                <a:gd name="connsiteY155" fmla="*/ 8525 h 10007"/>
                <a:gd name="connsiteX156" fmla="*/ 3840 w 10000"/>
                <a:gd name="connsiteY156" fmla="*/ 8612 h 10007"/>
                <a:gd name="connsiteX157" fmla="*/ 4010 w 10000"/>
                <a:gd name="connsiteY157" fmla="*/ 8703 h 10007"/>
                <a:gd name="connsiteX158" fmla="*/ 4181 w 10000"/>
                <a:gd name="connsiteY158" fmla="*/ 8781 h 10007"/>
                <a:gd name="connsiteX159" fmla="*/ 4351 w 10000"/>
                <a:gd name="connsiteY159" fmla="*/ 8868 h 10007"/>
                <a:gd name="connsiteX160" fmla="*/ 4522 w 10000"/>
                <a:gd name="connsiteY160" fmla="*/ 8947 h 10007"/>
                <a:gd name="connsiteX161" fmla="*/ 4700 w 10000"/>
                <a:gd name="connsiteY161" fmla="*/ 9030 h 10007"/>
                <a:gd name="connsiteX162" fmla="*/ 4878 w 10000"/>
                <a:gd name="connsiteY162" fmla="*/ 9108 h 10007"/>
                <a:gd name="connsiteX163" fmla="*/ 5063 w 10000"/>
                <a:gd name="connsiteY163" fmla="*/ 9181 h 10007"/>
                <a:gd name="connsiteX164" fmla="*/ 5248 w 10000"/>
                <a:gd name="connsiteY164" fmla="*/ 9259 h 10007"/>
                <a:gd name="connsiteX165" fmla="*/ 5426 w 10000"/>
                <a:gd name="connsiteY165" fmla="*/ 9328 h 10007"/>
                <a:gd name="connsiteX166" fmla="*/ 5619 w 10000"/>
                <a:gd name="connsiteY166" fmla="*/ 9396 h 10007"/>
                <a:gd name="connsiteX167" fmla="*/ 5812 w 10000"/>
                <a:gd name="connsiteY167" fmla="*/ 9465 h 10007"/>
                <a:gd name="connsiteX168" fmla="*/ 6004 w 10000"/>
                <a:gd name="connsiteY168" fmla="*/ 9529 h 10007"/>
                <a:gd name="connsiteX169" fmla="*/ 6205 w 10000"/>
                <a:gd name="connsiteY169" fmla="*/ 9594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58 h 10007"/>
                <a:gd name="connsiteX179" fmla="*/ 10000 w 10000"/>
                <a:gd name="connsiteY179" fmla="*/ 6143 h 10007"/>
                <a:gd name="connsiteX0" fmla="*/ 10000 w 10000"/>
                <a:gd name="connsiteY0" fmla="*/ 6143 h 10007"/>
                <a:gd name="connsiteX1" fmla="*/ 10000 w 10000"/>
                <a:gd name="connsiteY1" fmla="*/ 6143 h 10007"/>
                <a:gd name="connsiteX2" fmla="*/ 9911 w 10000"/>
                <a:gd name="connsiteY2" fmla="*/ 6129 h 10007"/>
                <a:gd name="connsiteX3" fmla="*/ 9815 w 10000"/>
                <a:gd name="connsiteY3" fmla="*/ 6111 h 10007"/>
                <a:gd name="connsiteX4" fmla="*/ 9726 w 10000"/>
                <a:gd name="connsiteY4" fmla="*/ 6093 h 10007"/>
                <a:gd name="connsiteX5" fmla="*/ 9637 w 10000"/>
                <a:gd name="connsiteY5" fmla="*/ 6069 h 10007"/>
                <a:gd name="connsiteX6" fmla="*/ 9548 w 10000"/>
                <a:gd name="connsiteY6" fmla="*/ 6050 h 10007"/>
                <a:gd name="connsiteX7" fmla="*/ 9466 w 10000"/>
                <a:gd name="connsiteY7" fmla="*/ 6028 h 10007"/>
                <a:gd name="connsiteX8" fmla="*/ 9377 w 10000"/>
                <a:gd name="connsiteY8" fmla="*/ 6005 h 10007"/>
                <a:gd name="connsiteX9" fmla="*/ 9288 w 10000"/>
                <a:gd name="connsiteY9" fmla="*/ 5982 h 10007"/>
                <a:gd name="connsiteX10" fmla="*/ 9118 w 10000"/>
                <a:gd name="connsiteY10" fmla="*/ 5931 h 10007"/>
                <a:gd name="connsiteX11" fmla="*/ 8955 w 10000"/>
                <a:gd name="connsiteY11" fmla="*/ 5876 h 10007"/>
                <a:gd name="connsiteX12" fmla="*/ 8792 w 10000"/>
                <a:gd name="connsiteY12" fmla="*/ 5817 h 10007"/>
                <a:gd name="connsiteX13" fmla="*/ 8636 w 10000"/>
                <a:gd name="connsiteY13" fmla="*/ 5753 h 10007"/>
                <a:gd name="connsiteX14" fmla="*/ 8480 w 10000"/>
                <a:gd name="connsiteY14" fmla="*/ 5688 h 10007"/>
                <a:gd name="connsiteX15" fmla="*/ 8340 w 10000"/>
                <a:gd name="connsiteY15" fmla="*/ 5620 h 10007"/>
                <a:gd name="connsiteX16" fmla="*/ 8199 w 10000"/>
                <a:gd name="connsiteY16" fmla="*/ 5546 h 10007"/>
                <a:gd name="connsiteX17" fmla="*/ 8058 w 10000"/>
                <a:gd name="connsiteY17" fmla="*/ 5468 h 10007"/>
                <a:gd name="connsiteX18" fmla="*/ 7924 w 10000"/>
                <a:gd name="connsiteY18" fmla="*/ 5386 h 10007"/>
                <a:gd name="connsiteX19" fmla="*/ 7798 w 10000"/>
                <a:gd name="connsiteY19" fmla="*/ 5302 h 10007"/>
                <a:gd name="connsiteX20" fmla="*/ 7672 w 10000"/>
                <a:gd name="connsiteY20" fmla="*/ 5215 h 10007"/>
                <a:gd name="connsiteX21" fmla="*/ 7554 w 10000"/>
                <a:gd name="connsiteY21" fmla="*/ 5128 h 10007"/>
                <a:gd name="connsiteX22" fmla="*/ 7450 w 10000"/>
                <a:gd name="connsiteY22" fmla="*/ 5032 h 10007"/>
                <a:gd name="connsiteX23" fmla="*/ 7346 w 10000"/>
                <a:gd name="connsiteY23" fmla="*/ 4936 h 10007"/>
                <a:gd name="connsiteX24" fmla="*/ 7250 w 10000"/>
                <a:gd name="connsiteY24" fmla="*/ 4840 h 10007"/>
                <a:gd name="connsiteX25" fmla="*/ 7161 w 10000"/>
                <a:gd name="connsiteY25" fmla="*/ 4739 h 10007"/>
                <a:gd name="connsiteX26" fmla="*/ 7072 w 10000"/>
                <a:gd name="connsiteY26" fmla="*/ 4637 h 10007"/>
                <a:gd name="connsiteX27" fmla="*/ 6990 w 10000"/>
                <a:gd name="connsiteY27" fmla="*/ 4527 h 10007"/>
                <a:gd name="connsiteX28" fmla="*/ 6953 w 10000"/>
                <a:gd name="connsiteY28" fmla="*/ 4477 h 10007"/>
                <a:gd name="connsiteX29" fmla="*/ 6916 w 10000"/>
                <a:gd name="connsiteY29" fmla="*/ 4422 h 10007"/>
                <a:gd name="connsiteX30" fmla="*/ 6887 w 10000"/>
                <a:gd name="connsiteY30" fmla="*/ 4367 h 10007"/>
                <a:gd name="connsiteX31" fmla="*/ 6850 w 10000"/>
                <a:gd name="connsiteY31" fmla="*/ 4312 h 10007"/>
                <a:gd name="connsiteX32" fmla="*/ 6820 w 10000"/>
                <a:gd name="connsiteY32" fmla="*/ 4257 h 10007"/>
                <a:gd name="connsiteX33" fmla="*/ 6790 w 10000"/>
                <a:gd name="connsiteY33" fmla="*/ 4202 h 10007"/>
                <a:gd name="connsiteX34" fmla="*/ 6768 w 10000"/>
                <a:gd name="connsiteY34" fmla="*/ 4142 h 10007"/>
                <a:gd name="connsiteX35" fmla="*/ 6738 w 10000"/>
                <a:gd name="connsiteY35" fmla="*/ 4087 h 10007"/>
                <a:gd name="connsiteX36" fmla="*/ 6723 w 10000"/>
                <a:gd name="connsiteY36" fmla="*/ 4027 h 10007"/>
                <a:gd name="connsiteX37" fmla="*/ 6694 w 10000"/>
                <a:gd name="connsiteY37" fmla="*/ 3972 h 10007"/>
                <a:gd name="connsiteX38" fmla="*/ 6679 w 10000"/>
                <a:gd name="connsiteY38" fmla="*/ 3912 h 10007"/>
                <a:gd name="connsiteX39" fmla="*/ 6664 w 10000"/>
                <a:gd name="connsiteY39" fmla="*/ 3852 h 10007"/>
                <a:gd name="connsiteX40" fmla="*/ 6649 w 10000"/>
                <a:gd name="connsiteY40" fmla="*/ 3793 h 10007"/>
                <a:gd name="connsiteX41" fmla="*/ 6635 w 10000"/>
                <a:gd name="connsiteY41" fmla="*/ 3738 h 10007"/>
                <a:gd name="connsiteX42" fmla="*/ 6620 w 10000"/>
                <a:gd name="connsiteY42" fmla="*/ 3678 h 10007"/>
                <a:gd name="connsiteX43" fmla="*/ 6612 w 10000"/>
                <a:gd name="connsiteY43" fmla="*/ 3619 h 10007"/>
                <a:gd name="connsiteX44" fmla="*/ 6605 w 10000"/>
                <a:gd name="connsiteY44" fmla="*/ 3559 h 10007"/>
                <a:gd name="connsiteX45" fmla="*/ 6597 w 10000"/>
                <a:gd name="connsiteY45" fmla="*/ 3495 h 10007"/>
                <a:gd name="connsiteX46" fmla="*/ 6597 w 10000"/>
                <a:gd name="connsiteY46" fmla="*/ 3435 h 10007"/>
                <a:gd name="connsiteX47" fmla="*/ 6590 w 10000"/>
                <a:gd name="connsiteY47" fmla="*/ 3371 h 10007"/>
                <a:gd name="connsiteX48" fmla="*/ 6597 w 10000"/>
                <a:gd name="connsiteY48" fmla="*/ 3311 h 10007"/>
                <a:gd name="connsiteX49" fmla="*/ 6605 w 10000"/>
                <a:gd name="connsiteY49" fmla="*/ 3243 h 10007"/>
                <a:gd name="connsiteX50" fmla="*/ 6605 w 10000"/>
                <a:gd name="connsiteY50" fmla="*/ 3178 h 10007"/>
                <a:gd name="connsiteX51" fmla="*/ 6612 w 10000"/>
                <a:gd name="connsiteY51" fmla="*/ 3113 h 10007"/>
                <a:gd name="connsiteX52" fmla="*/ 6620 w 10000"/>
                <a:gd name="connsiteY52" fmla="*/ 3049 h 10007"/>
                <a:gd name="connsiteX53" fmla="*/ 6635 w 10000"/>
                <a:gd name="connsiteY53" fmla="*/ 2990 h 10007"/>
                <a:gd name="connsiteX54" fmla="*/ 6649 w 10000"/>
                <a:gd name="connsiteY54" fmla="*/ 2926 h 10007"/>
                <a:gd name="connsiteX55" fmla="*/ 6664 w 10000"/>
                <a:gd name="connsiteY55" fmla="*/ 2866 h 10007"/>
                <a:gd name="connsiteX56" fmla="*/ 6686 w 10000"/>
                <a:gd name="connsiteY56" fmla="*/ 2802 h 10007"/>
                <a:gd name="connsiteX57" fmla="*/ 6709 w 10000"/>
                <a:gd name="connsiteY57" fmla="*/ 2742 h 10007"/>
                <a:gd name="connsiteX58" fmla="*/ 6731 w 10000"/>
                <a:gd name="connsiteY58" fmla="*/ 2683 h 10007"/>
                <a:gd name="connsiteX59" fmla="*/ 6753 w 10000"/>
                <a:gd name="connsiteY59" fmla="*/ 2618 h 10007"/>
                <a:gd name="connsiteX60" fmla="*/ 6783 w 10000"/>
                <a:gd name="connsiteY60" fmla="*/ 2563 h 10007"/>
                <a:gd name="connsiteX61" fmla="*/ 6812 w 10000"/>
                <a:gd name="connsiteY61" fmla="*/ 2503 h 10007"/>
                <a:gd name="connsiteX62" fmla="*/ 6842 w 10000"/>
                <a:gd name="connsiteY62" fmla="*/ 2443 h 10007"/>
                <a:gd name="connsiteX63" fmla="*/ 6879 w 10000"/>
                <a:gd name="connsiteY63" fmla="*/ 2384 h 10007"/>
                <a:gd name="connsiteX64" fmla="*/ 6909 w 10000"/>
                <a:gd name="connsiteY64" fmla="*/ 2329 h 10007"/>
                <a:gd name="connsiteX65" fmla="*/ 6946 w 10000"/>
                <a:gd name="connsiteY65" fmla="*/ 2269 h 10007"/>
                <a:gd name="connsiteX66" fmla="*/ 6990 w 10000"/>
                <a:gd name="connsiteY66" fmla="*/ 2214 h 10007"/>
                <a:gd name="connsiteX67" fmla="*/ 7027 w 10000"/>
                <a:gd name="connsiteY67" fmla="*/ 2159 h 10007"/>
                <a:gd name="connsiteX68" fmla="*/ 7072 w 10000"/>
                <a:gd name="connsiteY68" fmla="*/ 2104 h 10007"/>
                <a:gd name="connsiteX69" fmla="*/ 7109 w 10000"/>
                <a:gd name="connsiteY69" fmla="*/ 2049 h 10007"/>
                <a:gd name="connsiteX70" fmla="*/ 7161 w 10000"/>
                <a:gd name="connsiteY70" fmla="*/ 1999 h 10007"/>
                <a:gd name="connsiteX71" fmla="*/ 7213 w 10000"/>
                <a:gd name="connsiteY71" fmla="*/ 1944 h 10007"/>
                <a:gd name="connsiteX72" fmla="*/ 7257 w 10000"/>
                <a:gd name="connsiteY72" fmla="*/ 1889 h 10007"/>
                <a:gd name="connsiteX73" fmla="*/ 7309 w 10000"/>
                <a:gd name="connsiteY73" fmla="*/ 1838 h 10007"/>
                <a:gd name="connsiteX74" fmla="*/ 7361 w 10000"/>
                <a:gd name="connsiteY74" fmla="*/ 1787 h 10007"/>
                <a:gd name="connsiteX75" fmla="*/ 7413 w 10000"/>
                <a:gd name="connsiteY75" fmla="*/ 1737 h 10007"/>
                <a:gd name="connsiteX76" fmla="*/ 7472 w 10000"/>
                <a:gd name="connsiteY76" fmla="*/ 1686 h 10007"/>
                <a:gd name="connsiteX77" fmla="*/ 7524 w 10000"/>
                <a:gd name="connsiteY77" fmla="*/ 1640 h 10007"/>
                <a:gd name="connsiteX78" fmla="*/ 7583 w 10000"/>
                <a:gd name="connsiteY78" fmla="*/ 1594 h 10007"/>
                <a:gd name="connsiteX79" fmla="*/ 7610 w 10000"/>
                <a:gd name="connsiteY79" fmla="*/ 1565 h 10007"/>
                <a:gd name="connsiteX80" fmla="*/ 5423 w 10000"/>
                <a:gd name="connsiteY80" fmla="*/ 6 h 10007"/>
                <a:gd name="connsiteX81" fmla="*/ 1423 w 10000"/>
                <a:gd name="connsiteY81" fmla="*/ 0 h 10007"/>
                <a:gd name="connsiteX82" fmla="*/ 1305 w 10000"/>
                <a:gd name="connsiteY82" fmla="*/ 121 h 10007"/>
                <a:gd name="connsiteX83" fmla="*/ 1223 w 10000"/>
                <a:gd name="connsiteY83" fmla="*/ 213 h 10007"/>
                <a:gd name="connsiteX84" fmla="*/ 1149 w 10000"/>
                <a:gd name="connsiteY84" fmla="*/ 309 h 10007"/>
                <a:gd name="connsiteX85" fmla="*/ 1067 w 10000"/>
                <a:gd name="connsiteY85" fmla="*/ 406 h 10007"/>
                <a:gd name="connsiteX86" fmla="*/ 1001 w 10000"/>
                <a:gd name="connsiteY86" fmla="*/ 503 h 10007"/>
                <a:gd name="connsiteX87" fmla="*/ 927 w 10000"/>
                <a:gd name="connsiteY87" fmla="*/ 599 h 10007"/>
                <a:gd name="connsiteX88" fmla="*/ 860 w 10000"/>
                <a:gd name="connsiteY88" fmla="*/ 700 h 10007"/>
                <a:gd name="connsiteX89" fmla="*/ 793 w 10000"/>
                <a:gd name="connsiteY89" fmla="*/ 801 h 10007"/>
                <a:gd name="connsiteX90" fmla="*/ 734 w 10000"/>
                <a:gd name="connsiteY90" fmla="*/ 897 h 10007"/>
                <a:gd name="connsiteX91" fmla="*/ 675 w 10000"/>
                <a:gd name="connsiteY91" fmla="*/ 998 h 10007"/>
                <a:gd name="connsiteX92" fmla="*/ 615 w 10000"/>
                <a:gd name="connsiteY92" fmla="*/ 1099 h 10007"/>
                <a:gd name="connsiteX93" fmla="*/ 556 w 10000"/>
                <a:gd name="connsiteY93" fmla="*/ 1205 h 10007"/>
                <a:gd name="connsiteX94" fmla="*/ 504 w 10000"/>
                <a:gd name="connsiteY94" fmla="*/ 1301 h 10007"/>
                <a:gd name="connsiteX95" fmla="*/ 452 w 10000"/>
                <a:gd name="connsiteY95" fmla="*/ 1407 h 10007"/>
                <a:gd name="connsiteX96" fmla="*/ 408 w 10000"/>
                <a:gd name="connsiteY96" fmla="*/ 1507 h 10007"/>
                <a:gd name="connsiteX97" fmla="*/ 363 w 10000"/>
                <a:gd name="connsiteY97" fmla="*/ 1613 h 10007"/>
                <a:gd name="connsiteX98" fmla="*/ 319 w 10000"/>
                <a:gd name="connsiteY98" fmla="*/ 1718 h 10007"/>
                <a:gd name="connsiteX99" fmla="*/ 282 w 10000"/>
                <a:gd name="connsiteY99" fmla="*/ 1825 h 10007"/>
                <a:gd name="connsiteX100" fmla="*/ 237 w 10000"/>
                <a:gd name="connsiteY100" fmla="*/ 1935 h 10007"/>
                <a:gd name="connsiteX101" fmla="*/ 208 w 10000"/>
                <a:gd name="connsiteY101" fmla="*/ 2040 h 10007"/>
                <a:gd name="connsiteX102" fmla="*/ 170 w 10000"/>
                <a:gd name="connsiteY102" fmla="*/ 2150 h 10007"/>
                <a:gd name="connsiteX103" fmla="*/ 148 w 10000"/>
                <a:gd name="connsiteY103" fmla="*/ 2260 h 10007"/>
                <a:gd name="connsiteX104" fmla="*/ 119 w 10000"/>
                <a:gd name="connsiteY104" fmla="*/ 2365 h 10007"/>
                <a:gd name="connsiteX105" fmla="*/ 96 w 10000"/>
                <a:gd name="connsiteY105" fmla="*/ 2475 h 10007"/>
                <a:gd name="connsiteX106" fmla="*/ 74 w 10000"/>
                <a:gd name="connsiteY106" fmla="*/ 2586 h 10007"/>
                <a:gd name="connsiteX107" fmla="*/ 52 w 10000"/>
                <a:gd name="connsiteY107" fmla="*/ 2701 h 10007"/>
                <a:gd name="connsiteX108" fmla="*/ 37 w 10000"/>
                <a:gd name="connsiteY108" fmla="*/ 2811 h 10007"/>
                <a:gd name="connsiteX109" fmla="*/ 22 w 10000"/>
                <a:gd name="connsiteY109" fmla="*/ 2921 h 10007"/>
                <a:gd name="connsiteX110" fmla="*/ 15 w 10000"/>
                <a:gd name="connsiteY110" fmla="*/ 3031 h 10007"/>
                <a:gd name="connsiteX111" fmla="*/ 7 w 10000"/>
                <a:gd name="connsiteY111" fmla="*/ 3145 h 10007"/>
                <a:gd name="connsiteX112" fmla="*/ 0 w 10000"/>
                <a:gd name="connsiteY112" fmla="*/ 3256 h 10007"/>
                <a:gd name="connsiteX113" fmla="*/ 0 w 10000"/>
                <a:gd name="connsiteY113" fmla="*/ 3371 h 10007"/>
                <a:gd name="connsiteX114" fmla="*/ 7 w 10000"/>
                <a:gd name="connsiteY114" fmla="*/ 3518 h 10007"/>
                <a:gd name="connsiteX115" fmla="*/ 7 w 10000"/>
                <a:gd name="connsiteY115" fmla="*/ 3664 h 10007"/>
                <a:gd name="connsiteX116" fmla="*/ 22 w 10000"/>
                <a:gd name="connsiteY116" fmla="*/ 3802 h 10007"/>
                <a:gd name="connsiteX117" fmla="*/ 37 w 10000"/>
                <a:gd name="connsiteY117" fmla="*/ 3945 h 10007"/>
                <a:gd name="connsiteX118" fmla="*/ 59 w 10000"/>
                <a:gd name="connsiteY118" fmla="*/ 4087 h 10007"/>
                <a:gd name="connsiteX119" fmla="*/ 89 w 10000"/>
                <a:gd name="connsiteY119" fmla="*/ 4229 h 10007"/>
                <a:gd name="connsiteX120" fmla="*/ 119 w 10000"/>
                <a:gd name="connsiteY120" fmla="*/ 4371 h 10007"/>
                <a:gd name="connsiteX121" fmla="*/ 148 w 10000"/>
                <a:gd name="connsiteY121" fmla="*/ 4513 h 10007"/>
                <a:gd name="connsiteX122" fmla="*/ 193 w 10000"/>
                <a:gd name="connsiteY122" fmla="*/ 4652 h 10007"/>
                <a:gd name="connsiteX123" fmla="*/ 237 w 10000"/>
                <a:gd name="connsiteY123" fmla="*/ 4789 h 10007"/>
                <a:gd name="connsiteX124" fmla="*/ 282 w 10000"/>
                <a:gd name="connsiteY124" fmla="*/ 4927 h 10007"/>
                <a:gd name="connsiteX125" fmla="*/ 334 w 10000"/>
                <a:gd name="connsiteY125" fmla="*/ 5064 h 10007"/>
                <a:gd name="connsiteX126" fmla="*/ 393 w 10000"/>
                <a:gd name="connsiteY126" fmla="*/ 5197 h 10007"/>
                <a:gd name="connsiteX127" fmla="*/ 452 w 10000"/>
                <a:gd name="connsiteY127" fmla="*/ 5330 h 10007"/>
                <a:gd name="connsiteX128" fmla="*/ 519 w 10000"/>
                <a:gd name="connsiteY128" fmla="*/ 5464 h 10007"/>
                <a:gd name="connsiteX129" fmla="*/ 586 w 10000"/>
                <a:gd name="connsiteY129" fmla="*/ 5597 h 10007"/>
                <a:gd name="connsiteX130" fmla="*/ 660 w 10000"/>
                <a:gd name="connsiteY130" fmla="*/ 5725 h 10007"/>
                <a:gd name="connsiteX131" fmla="*/ 741 w 10000"/>
                <a:gd name="connsiteY131" fmla="*/ 5853 h 10007"/>
                <a:gd name="connsiteX132" fmla="*/ 823 w 10000"/>
                <a:gd name="connsiteY132" fmla="*/ 5986 h 10007"/>
                <a:gd name="connsiteX133" fmla="*/ 904 w 10000"/>
                <a:gd name="connsiteY133" fmla="*/ 6111 h 10007"/>
                <a:gd name="connsiteX134" fmla="*/ 993 w 10000"/>
                <a:gd name="connsiteY134" fmla="*/ 6235 h 10007"/>
                <a:gd name="connsiteX135" fmla="*/ 1090 w 10000"/>
                <a:gd name="connsiteY135" fmla="*/ 6354 h 10007"/>
                <a:gd name="connsiteX136" fmla="*/ 1186 w 10000"/>
                <a:gd name="connsiteY136" fmla="*/ 6478 h 10007"/>
                <a:gd name="connsiteX137" fmla="*/ 1290 w 10000"/>
                <a:gd name="connsiteY137" fmla="*/ 6601 h 10007"/>
                <a:gd name="connsiteX138" fmla="*/ 1386 w 10000"/>
                <a:gd name="connsiteY138" fmla="*/ 6721 h 10007"/>
                <a:gd name="connsiteX139" fmla="*/ 1497 w 10000"/>
                <a:gd name="connsiteY139" fmla="*/ 6841 h 10007"/>
                <a:gd name="connsiteX140" fmla="*/ 1609 w 10000"/>
                <a:gd name="connsiteY140" fmla="*/ 6955 h 10007"/>
                <a:gd name="connsiteX141" fmla="*/ 1727 w 10000"/>
                <a:gd name="connsiteY141" fmla="*/ 7074 h 10007"/>
                <a:gd name="connsiteX142" fmla="*/ 1846 w 10000"/>
                <a:gd name="connsiteY142" fmla="*/ 7189 h 10007"/>
                <a:gd name="connsiteX143" fmla="*/ 1964 w 10000"/>
                <a:gd name="connsiteY143" fmla="*/ 7299 h 10007"/>
                <a:gd name="connsiteX144" fmla="*/ 2090 w 10000"/>
                <a:gd name="connsiteY144" fmla="*/ 7409 h 10007"/>
                <a:gd name="connsiteX145" fmla="*/ 2224 w 10000"/>
                <a:gd name="connsiteY145" fmla="*/ 7520 h 10007"/>
                <a:gd name="connsiteX146" fmla="*/ 2350 w 10000"/>
                <a:gd name="connsiteY146" fmla="*/ 7630 h 10007"/>
                <a:gd name="connsiteX147" fmla="*/ 2491 w 10000"/>
                <a:gd name="connsiteY147" fmla="*/ 7735 h 10007"/>
                <a:gd name="connsiteX148" fmla="*/ 2617 w 10000"/>
                <a:gd name="connsiteY148" fmla="*/ 7841 h 10007"/>
                <a:gd name="connsiteX149" fmla="*/ 2765 w 10000"/>
                <a:gd name="connsiteY149" fmla="*/ 7942 h 10007"/>
                <a:gd name="connsiteX150" fmla="*/ 2906 w 10000"/>
                <a:gd name="connsiteY150" fmla="*/ 8042 h 10007"/>
                <a:gd name="connsiteX151" fmla="*/ 3054 w 10000"/>
                <a:gd name="connsiteY151" fmla="*/ 8143 h 10007"/>
                <a:gd name="connsiteX152" fmla="*/ 3210 w 10000"/>
                <a:gd name="connsiteY152" fmla="*/ 8241 h 10007"/>
                <a:gd name="connsiteX153" fmla="*/ 3358 w 10000"/>
                <a:gd name="connsiteY153" fmla="*/ 8337 h 10007"/>
                <a:gd name="connsiteX154" fmla="*/ 3514 w 10000"/>
                <a:gd name="connsiteY154" fmla="*/ 8433 h 10007"/>
                <a:gd name="connsiteX155" fmla="*/ 3677 w 10000"/>
                <a:gd name="connsiteY155" fmla="*/ 8525 h 10007"/>
                <a:gd name="connsiteX156" fmla="*/ 3840 w 10000"/>
                <a:gd name="connsiteY156" fmla="*/ 8612 h 10007"/>
                <a:gd name="connsiteX157" fmla="*/ 4010 w 10000"/>
                <a:gd name="connsiteY157" fmla="*/ 8703 h 10007"/>
                <a:gd name="connsiteX158" fmla="*/ 4181 w 10000"/>
                <a:gd name="connsiteY158" fmla="*/ 8781 h 10007"/>
                <a:gd name="connsiteX159" fmla="*/ 4351 w 10000"/>
                <a:gd name="connsiteY159" fmla="*/ 8868 h 10007"/>
                <a:gd name="connsiteX160" fmla="*/ 4522 w 10000"/>
                <a:gd name="connsiteY160" fmla="*/ 8947 h 10007"/>
                <a:gd name="connsiteX161" fmla="*/ 4700 w 10000"/>
                <a:gd name="connsiteY161" fmla="*/ 9030 h 10007"/>
                <a:gd name="connsiteX162" fmla="*/ 4878 w 10000"/>
                <a:gd name="connsiteY162" fmla="*/ 9108 h 10007"/>
                <a:gd name="connsiteX163" fmla="*/ 5063 w 10000"/>
                <a:gd name="connsiteY163" fmla="*/ 9181 h 10007"/>
                <a:gd name="connsiteX164" fmla="*/ 5248 w 10000"/>
                <a:gd name="connsiteY164" fmla="*/ 9259 h 10007"/>
                <a:gd name="connsiteX165" fmla="*/ 5426 w 10000"/>
                <a:gd name="connsiteY165" fmla="*/ 9328 h 10007"/>
                <a:gd name="connsiteX166" fmla="*/ 5619 w 10000"/>
                <a:gd name="connsiteY166" fmla="*/ 9396 h 10007"/>
                <a:gd name="connsiteX167" fmla="*/ 5812 w 10000"/>
                <a:gd name="connsiteY167" fmla="*/ 9465 h 10007"/>
                <a:gd name="connsiteX168" fmla="*/ 6004 w 10000"/>
                <a:gd name="connsiteY168" fmla="*/ 9529 h 10007"/>
                <a:gd name="connsiteX169" fmla="*/ 6205 w 10000"/>
                <a:gd name="connsiteY169" fmla="*/ 9594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58 h 10007"/>
                <a:gd name="connsiteX179" fmla="*/ 10000 w 10000"/>
                <a:gd name="connsiteY179" fmla="*/ 6143 h 10007"/>
                <a:gd name="connsiteX0" fmla="*/ 10000 w 10000"/>
                <a:gd name="connsiteY0" fmla="*/ 6143 h 10007"/>
                <a:gd name="connsiteX1" fmla="*/ 10000 w 10000"/>
                <a:gd name="connsiteY1" fmla="*/ 6143 h 10007"/>
                <a:gd name="connsiteX2" fmla="*/ 9911 w 10000"/>
                <a:gd name="connsiteY2" fmla="*/ 6129 h 10007"/>
                <a:gd name="connsiteX3" fmla="*/ 9815 w 10000"/>
                <a:gd name="connsiteY3" fmla="*/ 6111 h 10007"/>
                <a:gd name="connsiteX4" fmla="*/ 9726 w 10000"/>
                <a:gd name="connsiteY4" fmla="*/ 6093 h 10007"/>
                <a:gd name="connsiteX5" fmla="*/ 9637 w 10000"/>
                <a:gd name="connsiteY5" fmla="*/ 6069 h 10007"/>
                <a:gd name="connsiteX6" fmla="*/ 9548 w 10000"/>
                <a:gd name="connsiteY6" fmla="*/ 6050 h 10007"/>
                <a:gd name="connsiteX7" fmla="*/ 9466 w 10000"/>
                <a:gd name="connsiteY7" fmla="*/ 6028 h 10007"/>
                <a:gd name="connsiteX8" fmla="*/ 9377 w 10000"/>
                <a:gd name="connsiteY8" fmla="*/ 6005 h 10007"/>
                <a:gd name="connsiteX9" fmla="*/ 9288 w 10000"/>
                <a:gd name="connsiteY9" fmla="*/ 5982 h 10007"/>
                <a:gd name="connsiteX10" fmla="*/ 9118 w 10000"/>
                <a:gd name="connsiteY10" fmla="*/ 5931 h 10007"/>
                <a:gd name="connsiteX11" fmla="*/ 8955 w 10000"/>
                <a:gd name="connsiteY11" fmla="*/ 5876 h 10007"/>
                <a:gd name="connsiteX12" fmla="*/ 8792 w 10000"/>
                <a:gd name="connsiteY12" fmla="*/ 5817 h 10007"/>
                <a:gd name="connsiteX13" fmla="*/ 8636 w 10000"/>
                <a:gd name="connsiteY13" fmla="*/ 5753 h 10007"/>
                <a:gd name="connsiteX14" fmla="*/ 8480 w 10000"/>
                <a:gd name="connsiteY14" fmla="*/ 5688 h 10007"/>
                <a:gd name="connsiteX15" fmla="*/ 8340 w 10000"/>
                <a:gd name="connsiteY15" fmla="*/ 5620 h 10007"/>
                <a:gd name="connsiteX16" fmla="*/ 8199 w 10000"/>
                <a:gd name="connsiteY16" fmla="*/ 5546 h 10007"/>
                <a:gd name="connsiteX17" fmla="*/ 8058 w 10000"/>
                <a:gd name="connsiteY17" fmla="*/ 5468 h 10007"/>
                <a:gd name="connsiteX18" fmla="*/ 7924 w 10000"/>
                <a:gd name="connsiteY18" fmla="*/ 5386 h 10007"/>
                <a:gd name="connsiteX19" fmla="*/ 7798 w 10000"/>
                <a:gd name="connsiteY19" fmla="*/ 5302 h 10007"/>
                <a:gd name="connsiteX20" fmla="*/ 7672 w 10000"/>
                <a:gd name="connsiteY20" fmla="*/ 5215 h 10007"/>
                <a:gd name="connsiteX21" fmla="*/ 7554 w 10000"/>
                <a:gd name="connsiteY21" fmla="*/ 5128 h 10007"/>
                <a:gd name="connsiteX22" fmla="*/ 7450 w 10000"/>
                <a:gd name="connsiteY22" fmla="*/ 5032 h 10007"/>
                <a:gd name="connsiteX23" fmla="*/ 7346 w 10000"/>
                <a:gd name="connsiteY23" fmla="*/ 4936 h 10007"/>
                <a:gd name="connsiteX24" fmla="*/ 7250 w 10000"/>
                <a:gd name="connsiteY24" fmla="*/ 4840 h 10007"/>
                <a:gd name="connsiteX25" fmla="*/ 7161 w 10000"/>
                <a:gd name="connsiteY25" fmla="*/ 4739 h 10007"/>
                <a:gd name="connsiteX26" fmla="*/ 7072 w 10000"/>
                <a:gd name="connsiteY26" fmla="*/ 4637 h 10007"/>
                <a:gd name="connsiteX27" fmla="*/ 6990 w 10000"/>
                <a:gd name="connsiteY27" fmla="*/ 4527 h 10007"/>
                <a:gd name="connsiteX28" fmla="*/ 6953 w 10000"/>
                <a:gd name="connsiteY28" fmla="*/ 4477 h 10007"/>
                <a:gd name="connsiteX29" fmla="*/ 6916 w 10000"/>
                <a:gd name="connsiteY29" fmla="*/ 4422 h 10007"/>
                <a:gd name="connsiteX30" fmla="*/ 6887 w 10000"/>
                <a:gd name="connsiteY30" fmla="*/ 4367 h 10007"/>
                <a:gd name="connsiteX31" fmla="*/ 6850 w 10000"/>
                <a:gd name="connsiteY31" fmla="*/ 4312 h 10007"/>
                <a:gd name="connsiteX32" fmla="*/ 6820 w 10000"/>
                <a:gd name="connsiteY32" fmla="*/ 4257 h 10007"/>
                <a:gd name="connsiteX33" fmla="*/ 6790 w 10000"/>
                <a:gd name="connsiteY33" fmla="*/ 4202 h 10007"/>
                <a:gd name="connsiteX34" fmla="*/ 6768 w 10000"/>
                <a:gd name="connsiteY34" fmla="*/ 4142 h 10007"/>
                <a:gd name="connsiteX35" fmla="*/ 6738 w 10000"/>
                <a:gd name="connsiteY35" fmla="*/ 4087 h 10007"/>
                <a:gd name="connsiteX36" fmla="*/ 6723 w 10000"/>
                <a:gd name="connsiteY36" fmla="*/ 4027 h 10007"/>
                <a:gd name="connsiteX37" fmla="*/ 6694 w 10000"/>
                <a:gd name="connsiteY37" fmla="*/ 3972 h 10007"/>
                <a:gd name="connsiteX38" fmla="*/ 6679 w 10000"/>
                <a:gd name="connsiteY38" fmla="*/ 3912 h 10007"/>
                <a:gd name="connsiteX39" fmla="*/ 6664 w 10000"/>
                <a:gd name="connsiteY39" fmla="*/ 3852 h 10007"/>
                <a:gd name="connsiteX40" fmla="*/ 6649 w 10000"/>
                <a:gd name="connsiteY40" fmla="*/ 3793 h 10007"/>
                <a:gd name="connsiteX41" fmla="*/ 6635 w 10000"/>
                <a:gd name="connsiteY41" fmla="*/ 3738 h 10007"/>
                <a:gd name="connsiteX42" fmla="*/ 6620 w 10000"/>
                <a:gd name="connsiteY42" fmla="*/ 3678 h 10007"/>
                <a:gd name="connsiteX43" fmla="*/ 6612 w 10000"/>
                <a:gd name="connsiteY43" fmla="*/ 3619 h 10007"/>
                <a:gd name="connsiteX44" fmla="*/ 6605 w 10000"/>
                <a:gd name="connsiteY44" fmla="*/ 3559 h 10007"/>
                <a:gd name="connsiteX45" fmla="*/ 6597 w 10000"/>
                <a:gd name="connsiteY45" fmla="*/ 3495 h 10007"/>
                <a:gd name="connsiteX46" fmla="*/ 6597 w 10000"/>
                <a:gd name="connsiteY46" fmla="*/ 3435 h 10007"/>
                <a:gd name="connsiteX47" fmla="*/ 6590 w 10000"/>
                <a:gd name="connsiteY47" fmla="*/ 3371 h 10007"/>
                <a:gd name="connsiteX48" fmla="*/ 6597 w 10000"/>
                <a:gd name="connsiteY48" fmla="*/ 3311 h 10007"/>
                <a:gd name="connsiteX49" fmla="*/ 6605 w 10000"/>
                <a:gd name="connsiteY49" fmla="*/ 3243 h 10007"/>
                <a:gd name="connsiteX50" fmla="*/ 6605 w 10000"/>
                <a:gd name="connsiteY50" fmla="*/ 3178 h 10007"/>
                <a:gd name="connsiteX51" fmla="*/ 6612 w 10000"/>
                <a:gd name="connsiteY51" fmla="*/ 3113 h 10007"/>
                <a:gd name="connsiteX52" fmla="*/ 6620 w 10000"/>
                <a:gd name="connsiteY52" fmla="*/ 3049 h 10007"/>
                <a:gd name="connsiteX53" fmla="*/ 6635 w 10000"/>
                <a:gd name="connsiteY53" fmla="*/ 2990 h 10007"/>
                <a:gd name="connsiteX54" fmla="*/ 6649 w 10000"/>
                <a:gd name="connsiteY54" fmla="*/ 2926 h 10007"/>
                <a:gd name="connsiteX55" fmla="*/ 6664 w 10000"/>
                <a:gd name="connsiteY55" fmla="*/ 2866 h 10007"/>
                <a:gd name="connsiteX56" fmla="*/ 6686 w 10000"/>
                <a:gd name="connsiteY56" fmla="*/ 2802 h 10007"/>
                <a:gd name="connsiteX57" fmla="*/ 6709 w 10000"/>
                <a:gd name="connsiteY57" fmla="*/ 2742 h 10007"/>
                <a:gd name="connsiteX58" fmla="*/ 6731 w 10000"/>
                <a:gd name="connsiteY58" fmla="*/ 2683 h 10007"/>
                <a:gd name="connsiteX59" fmla="*/ 6753 w 10000"/>
                <a:gd name="connsiteY59" fmla="*/ 2618 h 10007"/>
                <a:gd name="connsiteX60" fmla="*/ 6783 w 10000"/>
                <a:gd name="connsiteY60" fmla="*/ 2563 h 10007"/>
                <a:gd name="connsiteX61" fmla="*/ 6812 w 10000"/>
                <a:gd name="connsiteY61" fmla="*/ 2503 h 10007"/>
                <a:gd name="connsiteX62" fmla="*/ 6842 w 10000"/>
                <a:gd name="connsiteY62" fmla="*/ 2443 h 10007"/>
                <a:gd name="connsiteX63" fmla="*/ 6879 w 10000"/>
                <a:gd name="connsiteY63" fmla="*/ 2384 h 10007"/>
                <a:gd name="connsiteX64" fmla="*/ 6909 w 10000"/>
                <a:gd name="connsiteY64" fmla="*/ 2329 h 10007"/>
                <a:gd name="connsiteX65" fmla="*/ 6946 w 10000"/>
                <a:gd name="connsiteY65" fmla="*/ 2269 h 10007"/>
                <a:gd name="connsiteX66" fmla="*/ 6990 w 10000"/>
                <a:gd name="connsiteY66" fmla="*/ 2214 h 10007"/>
                <a:gd name="connsiteX67" fmla="*/ 7027 w 10000"/>
                <a:gd name="connsiteY67" fmla="*/ 2159 h 10007"/>
                <a:gd name="connsiteX68" fmla="*/ 7072 w 10000"/>
                <a:gd name="connsiteY68" fmla="*/ 2104 h 10007"/>
                <a:gd name="connsiteX69" fmla="*/ 7109 w 10000"/>
                <a:gd name="connsiteY69" fmla="*/ 2049 h 10007"/>
                <a:gd name="connsiteX70" fmla="*/ 7161 w 10000"/>
                <a:gd name="connsiteY70" fmla="*/ 1999 h 10007"/>
                <a:gd name="connsiteX71" fmla="*/ 7213 w 10000"/>
                <a:gd name="connsiteY71" fmla="*/ 1944 h 10007"/>
                <a:gd name="connsiteX72" fmla="*/ 7257 w 10000"/>
                <a:gd name="connsiteY72" fmla="*/ 1889 h 10007"/>
                <a:gd name="connsiteX73" fmla="*/ 7309 w 10000"/>
                <a:gd name="connsiteY73" fmla="*/ 1838 h 10007"/>
                <a:gd name="connsiteX74" fmla="*/ 7361 w 10000"/>
                <a:gd name="connsiteY74" fmla="*/ 1787 h 10007"/>
                <a:gd name="connsiteX75" fmla="*/ 7413 w 10000"/>
                <a:gd name="connsiteY75" fmla="*/ 1737 h 10007"/>
                <a:gd name="connsiteX76" fmla="*/ 7472 w 10000"/>
                <a:gd name="connsiteY76" fmla="*/ 1686 h 10007"/>
                <a:gd name="connsiteX77" fmla="*/ 7524 w 10000"/>
                <a:gd name="connsiteY77" fmla="*/ 1640 h 10007"/>
                <a:gd name="connsiteX78" fmla="*/ 7583 w 10000"/>
                <a:gd name="connsiteY78" fmla="*/ 1594 h 10007"/>
                <a:gd name="connsiteX79" fmla="*/ 7610 w 10000"/>
                <a:gd name="connsiteY79" fmla="*/ 1565 h 10007"/>
                <a:gd name="connsiteX80" fmla="*/ 5401 w 10000"/>
                <a:gd name="connsiteY80" fmla="*/ 6 h 10007"/>
                <a:gd name="connsiteX81" fmla="*/ 1423 w 10000"/>
                <a:gd name="connsiteY81" fmla="*/ 0 h 10007"/>
                <a:gd name="connsiteX82" fmla="*/ 1305 w 10000"/>
                <a:gd name="connsiteY82" fmla="*/ 121 h 10007"/>
                <a:gd name="connsiteX83" fmla="*/ 1223 w 10000"/>
                <a:gd name="connsiteY83" fmla="*/ 213 h 10007"/>
                <a:gd name="connsiteX84" fmla="*/ 1149 w 10000"/>
                <a:gd name="connsiteY84" fmla="*/ 309 h 10007"/>
                <a:gd name="connsiteX85" fmla="*/ 1067 w 10000"/>
                <a:gd name="connsiteY85" fmla="*/ 406 h 10007"/>
                <a:gd name="connsiteX86" fmla="*/ 1001 w 10000"/>
                <a:gd name="connsiteY86" fmla="*/ 503 h 10007"/>
                <a:gd name="connsiteX87" fmla="*/ 927 w 10000"/>
                <a:gd name="connsiteY87" fmla="*/ 599 h 10007"/>
                <a:gd name="connsiteX88" fmla="*/ 860 w 10000"/>
                <a:gd name="connsiteY88" fmla="*/ 700 h 10007"/>
                <a:gd name="connsiteX89" fmla="*/ 793 w 10000"/>
                <a:gd name="connsiteY89" fmla="*/ 801 h 10007"/>
                <a:gd name="connsiteX90" fmla="*/ 734 w 10000"/>
                <a:gd name="connsiteY90" fmla="*/ 897 h 10007"/>
                <a:gd name="connsiteX91" fmla="*/ 675 w 10000"/>
                <a:gd name="connsiteY91" fmla="*/ 998 h 10007"/>
                <a:gd name="connsiteX92" fmla="*/ 615 w 10000"/>
                <a:gd name="connsiteY92" fmla="*/ 1099 h 10007"/>
                <a:gd name="connsiteX93" fmla="*/ 556 w 10000"/>
                <a:gd name="connsiteY93" fmla="*/ 1205 h 10007"/>
                <a:gd name="connsiteX94" fmla="*/ 504 w 10000"/>
                <a:gd name="connsiteY94" fmla="*/ 1301 h 10007"/>
                <a:gd name="connsiteX95" fmla="*/ 452 w 10000"/>
                <a:gd name="connsiteY95" fmla="*/ 1407 h 10007"/>
                <a:gd name="connsiteX96" fmla="*/ 408 w 10000"/>
                <a:gd name="connsiteY96" fmla="*/ 1507 h 10007"/>
                <a:gd name="connsiteX97" fmla="*/ 363 w 10000"/>
                <a:gd name="connsiteY97" fmla="*/ 1613 h 10007"/>
                <a:gd name="connsiteX98" fmla="*/ 319 w 10000"/>
                <a:gd name="connsiteY98" fmla="*/ 1718 h 10007"/>
                <a:gd name="connsiteX99" fmla="*/ 282 w 10000"/>
                <a:gd name="connsiteY99" fmla="*/ 1825 h 10007"/>
                <a:gd name="connsiteX100" fmla="*/ 237 w 10000"/>
                <a:gd name="connsiteY100" fmla="*/ 1935 h 10007"/>
                <a:gd name="connsiteX101" fmla="*/ 208 w 10000"/>
                <a:gd name="connsiteY101" fmla="*/ 2040 h 10007"/>
                <a:gd name="connsiteX102" fmla="*/ 170 w 10000"/>
                <a:gd name="connsiteY102" fmla="*/ 2150 h 10007"/>
                <a:gd name="connsiteX103" fmla="*/ 148 w 10000"/>
                <a:gd name="connsiteY103" fmla="*/ 2260 h 10007"/>
                <a:gd name="connsiteX104" fmla="*/ 119 w 10000"/>
                <a:gd name="connsiteY104" fmla="*/ 2365 h 10007"/>
                <a:gd name="connsiteX105" fmla="*/ 96 w 10000"/>
                <a:gd name="connsiteY105" fmla="*/ 2475 h 10007"/>
                <a:gd name="connsiteX106" fmla="*/ 74 w 10000"/>
                <a:gd name="connsiteY106" fmla="*/ 2586 h 10007"/>
                <a:gd name="connsiteX107" fmla="*/ 52 w 10000"/>
                <a:gd name="connsiteY107" fmla="*/ 2701 h 10007"/>
                <a:gd name="connsiteX108" fmla="*/ 37 w 10000"/>
                <a:gd name="connsiteY108" fmla="*/ 2811 h 10007"/>
                <a:gd name="connsiteX109" fmla="*/ 22 w 10000"/>
                <a:gd name="connsiteY109" fmla="*/ 2921 h 10007"/>
                <a:gd name="connsiteX110" fmla="*/ 15 w 10000"/>
                <a:gd name="connsiteY110" fmla="*/ 3031 h 10007"/>
                <a:gd name="connsiteX111" fmla="*/ 7 w 10000"/>
                <a:gd name="connsiteY111" fmla="*/ 3145 h 10007"/>
                <a:gd name="connsiteX112" fmla="*/ 0 w 10000"/>
                <a:gd name="connsiteY112" fmla="*/ 3256 h 10007"/>
                <a:gd name="connsiteX113" fmla="*/ 0 w 10000"/>
                <a:gd name="connsiteY113" fmla="*/ 3371 h 10007"/>
                <a:gd name="connsiteX114" fmla="*/ 7 w 10000"/>
                <a:gd name="connsiteY114" fmla="*/ 3518 h 10007"/>
                <a:gd name="connsiteX115" fmla="*/ 7 w 10000"/>
                <a:gd name="connsiteY115" fmla="*/ 3664 h 10007"/>
                <a:gd name="connsiteX116" fmla="*/ 22 w 10000"/>
                <a:gd name="connsiteY116" fmla="*/ 3802 h 10007"/>
                <a:gd name="connsiteX117" fmla="*/ 37 w 10000"/>
                <a:gd name="connsiteY117" fmla="*/ 3945 h 10007"/>
                <a:gd name="connsiteX118" fmla="*/ 59 w 10000"/>
                <a:gd name="connsiteY118" fmla="*/ 4087 h 10007"/>
                <a:gd name="connsiteX119" fmla="*/ 89 w 10000"/>
                <a:gd name="connsiteY119" fmla="*/ 4229 h 10007"/>
                <a:gd name="connsiteX120" fmla="*/ 119 w 10000"/>
                <a:gd name="connsiteY120" fmla="*/ 4371 h 10007"/>
                <a:gd name="connsiteX121" fmla="*/ 148 w 10000"/>
                <a:gd name="connsiteY121" fmla="*/ 4513 h 10007"/>
                <a:gd name="connsiteX122" fmla="*/ 193 w 10000"/>
                <a:gd name="connsiteY122" fmla="*/ 4652 h 10007"/>
                <a:gd name="connsiteX123" fmla="*/ 237 w 10000"/>
                <a:gd name="connsiteY123" fmla="*/ 4789 h 10007"/>
                <a:gd name="connsiteX124" fmla="*/ 282 w 10000"/>
                <a:gd name="connsiteY124" fmla="*/ 4927 h 10007"/>
                <a:gd name="connsiteX125" fmla="*/ 334 w 10000"/>
                <a:gd name="connsiteY125" fmla="*/ 5064 h 10007"/>
                <a:gd name="connsiteX126" fmla="*/ 393 w 10000"/>
                <a:gd name="connsiteY126" fmla="*/ 5197 h 10007"/>
                <a:gd name="connsiteX127" fmla="*/ 452 w 10000"/>
                <a:gd name="connsiteY127" fmla="*/ 5330 h 10007"/>
                <a:gd name="connsiteX128" fmla="*/ 519 w 10000"/>
                <a:gd name="connsiteY128" fmla="*/ 5464 h 10007"/>
                <a:gd name="connsiteX129" fmla="*/ 586 w 10000"/>
                <a:gd name="connsiteY129" fmla="*/ 5597 h 10007"/>
                <a:gd name="connsiteX130" fmla="*/ 660 w 10000"/>
                <a:gd name="connsiteY130" fmla="*/ 5725 h 10007"/>
                <a:gd name="connsiteX131" fmla="*/ 741 w 10000"/>
                <a:gd name="connsiteY131" fmla="*/ 5853 h 10007"/>
                <a:gd name="connsiteX132" fmla="*/ 823 w 10000"/>
                <a:gd name="connsiteY132" fmla="*/ 5986 h 10007"/>
                <a:gd name="connsiteX133" fmla="*/ 904 w 10000"/>
                <a:gd name="connsiteY133" fmla="*/ 6111 h 10007"/>
                <a:gd name="connsiteX134" fmla="*/ 993 w 10000"/>
                <a:gd name="connsiteY134" fmla="*/ 6235 h 10007"/>
                <a:gd name="connsiteX135" fmla="*/ 1090 w 10000"/>
                <a:gd name="connsiteY135" fmla="*/ 6354 h 10007"/>
                <a:gd name="connsiteX136" fmla="*/ 1186 w 10000"/>
                <a:gd name="connsiteY136" fmla="*/ 6478 h 10007"/>
                <a:gd name="connsiteX137" fmla="*/ 1290 w 10000"/>
                <a:gd name="connsiteY137" fmla="*/ 6601 h 10007"/>
                <a:gd name="connsiteX138" fmla="*/ 1386 w 10000"/>
                <a:gd name="connsiteY138" fmla="*/ 6721 h 10007"/>
                <a:gd name="connsiteX139" fmla="*/ 1497 w 10000"/>
                <a:gd name="connsiteY139" fmla="*/ 6841 h 10007"/>
                <a:gd name="connsiteX140" fmla="*/ 1609 w 10000"/>
                <a:gd name="connsiteY140" fmla="*/ 6955 h 10007"/>
                <a:gd name="connsiteX141" fmla="*/ 1727 w 10000"/>
                <a:gd name="connsiteY141" fmla="*/ 7074 h 10007"/>
                <a:gd name="connsiteX142" fmla="*/ 1846 w 10000"/>
                <a:gd name="connsiteY142" fmla="*/ 7189 h 10007"/>
                <a:gd name="connsiteX143" fmla="*/ 1964 w 10000"/>
                <a:gd name="connsiteY143" fmla="*/ 7299 h 10007"/>
                <a:gd name="connsiteX144" fmla="*/ 2090 w 10000"/>
                <a:gd name="connsiteY144" fmla="*/ 7409 h 10007"/>
                <a:gd name="connsiteX145" fmla="*/ 2224 w 10000"/>
                <a:gd name="connsiteY145" fmla="*/ 7520 h 10007"/>
                <a:gd name="connsiteX146" fmla="*/ 2350 w 10000"/>
                <a:gd name="connsiteY146" fmla="*/ 7630 h 10007"/>
                <a:gd name="connsiteX147" fmla="*/ 2491 w 10000"/>
                <a:gd name="connsiteY147" fmla="*/ 7735 h 10007"/>
                <a:gd name="connsiteX148" fmla="*/ 2617 w 10000"/>
                <a:gd name="connsiteY148" fmla="*/ 7841 h 10007"/>
                <a:gd name="connsiteX149" fmla="*/ 2765 w 10000"/>
                <a:gd name="connsiteY149" fmla="*/ 7942 h 10007"/>
                <a:gd name="connsiteX150" fmla="*/ 2906 w 10000"/>
                <a:gd name="connsiteY150" fmla="*/ 8042 h 10007"/>
                <a:gd name="connsiteX151" fmla="*/ 3054 w 10000"/>
                <a:gd name="connsiteY151" fmla="*/ 8143 h 10007"/>
                <a:gd name="connsiteX152" fmla="*/ 3210 w 10000"/>
                <a:gd name="connsiteY152" fmla="*/ 8241 h 10007"/>
                <a:gd name="connsiteX153" fmla="*/ 3358 w 10000"/>
                <a:gd name="connsiteY153" fmla="*/ 8337 h 10007"/>
                <a:gd name="connsiteX154" fmla="*/ 3514 w 10000"/>
                <a:gd name="connsiteY154" fmla="*/ 8433 h 10007"/>
                <a:gd name="connsiteX155" fmla="*/ 3677 w 10000"/>
                <a:gd name="connsiteY155" fmla="*/ 8525 h 10007"/>
                <a:gd name="connsiteX156" fmla="*/ 3840 w 10000"/>
                <a:gd name="connsiteY156" fmla="*/ 8612 h 10007"/>
                <a:gd name="connsiteX157" fmla="*/ 4010 w 10000"/>
                <a:gd name="connsiteY157" fmla="*/ 8703 h 10007"/>
                <a:gd name="connsiteX158" fmla="*/ 4181 w 10000"/>
                <a:gd name="connsiteY158" fmla="*/ 8781 h 10007"/>
                <a:gd name="connsiteX159" fmla="*/ 4351 w 10000"/>
                <a:gd name="connsiteY159" fmla="*/ 8868 h 10007"/>
                <a:gd name="connsiteX160" fmla="*/ 4522 w 10000"/>
                <a:gd name="connsiteY160" fmla="*/ 8947 h 10007"/>
                <a:gd name="connsiteX161" fmla="*/ 4700 w 10000"/>
                <a:gd name="connsiteY161" fmla="*/ 9030 h 10007"/>
                <a:gd name="connsiteX162" fmla="*/ 4878 w 10000"/>
                <a:gd name="connsiteY162" fmla="*/ 9108 h 10007"/>
                <a:gd name="connsiteX163" fmla="*/ 5063 w 10000"/>
                <a:gd name="connsiteY163" fmla="*/ 9181 h 10007"/>
                <a:gd name="connsiteX164" fmla="*/ 5248 w 10000"/>
                <a:gd name="connsiteY164" fmla="*/ 9259 h 10007"/>
                <a:gd name="connsiteX165" fmla="*/ 5426 w 10000"/>
                <a:gd name="connsiteY165" fmla="*/ 9328 h 10007"/>
                <a:gd name="connsiteX166" fmla="*/ 5619 w 10000"/>
                <a:gd name="connsiteY166" fmla="*/ 9396 h 10007"/>
                <a:gd name="connsiteX167" fmla="*/ 5812 w 10000"/>
                <a:gd name="connsiteY167" fmla="*/ 9465 h 10007"/>
                <a:gd name="connsiteX168" fmla="*/ 6004 w 10000"/>
                <a:gd name="connsiteY168" fmla="*/ 9529 h 10007"/>
                <a:gd name="connsiteX169" fmla="*/ 6205 w 10000"/>
                <a:gd name="connsiteY169" fmla="*/ 9594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58 h 10007"/>
                <a:gd name="connsiteX179" fmla="*/ 10000 w 10000"/>
                <a:gd name="connsiteY179" fmla="*/ 6143 h 10007"/>
                <a:gd name="connsiteX0" fmla="*/ 10000 w 10000"/>
                <a:gd name="connsiteY0" fmla="*/ 6144 h 10008"/>
                <a:gd name="connsiteX1" fmla="*/ 10000 w 10000"/>
                <a:gd name="connsiteY1" fmla="*/ 6144 h 10008"/>
                <a:gd name="connsiteX2" fmla="*/ 9911 w 10000"/>
                <a:gd name="connsiteY2" fmla="*/ 6130 h 10008"/>
                <a:gd name="connsiteX3" fmla="*/ 9815 w 10000"/>
                <a:gd name="connsiteY3" fmla="*/ 6112 h 10008"/>
                <a:gd name="connsiteX4" fmla="*/ 9726 w 10000"/>
                <a:gd name="connsiteY4" fmla="*/ 6094 h 10008"/>
                <a:gd name="connsiteX5" fmla="*/ 9637 w 10000"/>
                <a:gd name="connsiteY5" fmla="*/ 6070 h 10008"/>
                <a:gd name="connsiteX6" fmla="*/ 9548 w 10000"/>
                <a:gd name="connsiteY6" fmla="*/ 6051 h 10008"/>
                <a:gd name="connsiteX7" fmla="*/ 9466 w 10000"/>
                <a:gd name="connsiteY7" fmla="*/ 6029 h 10008"/>
                <a:gd name="connsiteX8" fmla="*/ 9377 w 10000"/>
                <a:gd name="connsiteY8" fmla="*/ 6006 h 10008"/>
                <a:gd name="connsiteX9" fmla="*/ 9288 w 10000"/>
                <a:gd name="connsiteY9" fmla="*/ 5983 h 10008"/>
                <a:gd name="connsiteX10" fmla="*/ 9118 w 10000"/>
                <a:gd name="connsiteY10" fmla="*/ 5932 h 10008"/>
                <a:gd name="connsiteX11" fmla="*/ 8955 w 10000"/>
                <a:gd name="connsiteY11" fmla="*/ 5877 h 10008"/>
                <a:gd name="connsiteX12" fmla="*/ 8792 w 10000"/>
                <a:gd name="connsiteY12" fmla="*/ 5818 h 10008"/>
                <a:gd name="connsiteX13" fmla="*/ 8636 w 10000"/>
                <a:gd name="connsiteY13" fmla="*/ 5754 h 10008"/>
                <a:gd name="connsiteX14" fmla="*/ 8480 w 10000"/>
                <a:gd name="connsiteY14" fmla="*/ 5689 h 10008"/>
                <a:gd name="connsiteX15" fmla="*/ 8340 w 10000"/>
                <a:gd name="connsiteY15" fmla="*/ 5621 h 10008"/>
                <a:gd name="connsiteX16" fmla="*/ 8199 w 10000"/>
                <a:gd name="connsiteY16" fmla="*/ 5547 h 10008"/>
                <a:gd name="connsiteX17" fmla="*/ 8058 w 10000"/>
                <a:gd name="connsiteY17" fmla="*/ 5469 h 10008"/>
                <a:gd name="connsiteX18" fmla="*/ 7924 w 10000"/>
                <a:gd name="connsiteY18" fmla="*/ 5387 h 10008"/>
                <a:gd name="connsiteX19" fmla="*/ 7798 w 10000"/>
                <a:gd name="connsiteY19" fmla="*/ 5303 h 10008"/>
                <a:gd name="connsiteX20" fmla="*/ 7672 w 10000"/>
                <a:gd name="connsiteY20" fmla="*/ 5216 h 10008"/>
                <a:gd name="connsiteX21" fmla="*/ 7554 w 10000"/>
                <a:gd name="connsiteY21" fmla="*/ 5129 h 10008"/>
                <a:gd name="connsiteX22" fmla="*/ 7450 w 10000"/>
                <a:gd name="connsiteY22" fmla="*/ 5033 h 10008"/>
                <a:gd name="connsiteX23" fmla="*/ 7346 w 10000"/>
                <a:gd name="connsiteY23" fmla="*/ 4937 h 10008"/>
                <a:gd name="connsiteX24" fmla="*/ 7250 w 10000"/>
                <a:gd name="connsiteY24" fmla="*/ 4841 h 10008"/>
                <a:gd name="connsiteX25" fmla="*/ 7161 w 10000"/>
                <a:gd name="connsiteY25" fmla="*/ 4740 h 10008"/>
                <a:gd name="connsiteX26" fmla="*/ 7072 w 10000"/>
                <a:gd name="connsiteY26" fmla="*/ 4638 h 10008"/>
                <a:gd name="connsiteX27" fmla="*/ 6990 w 10000"/>
                <a:gd name="connsiteY27" fmla="*/ 4528 h 10008"/>
                <a:gd name="connsiteX28" fmla="*/ 6953 w 10000"/>
                <a:gd name="connsiteY28" fmla="*/ 4478 h 10008"/>
                <a:gd name="connsiteX29" fmla="*/ 6916 w 10000"/>
                <a:gd name="connsiteY29" fmla="*/ 4423 h 10008"/>
                <a:gd name="connsiteX30" fmla="*/ 6887 w 10000"/>
                <a:gd name="connsiteY30" fmla="*/ 4368 h 10008"/>
                <a:gd name="connsiteX31" fmla="*/ 6850 w 10000"/>
                <a:gd name="connsiteY31" fmla="*/ 4313 h 10008"/>
                <a:gd name="connsiteX32" fmla="*/ 6820 w 10000"/>
                <a:gd name="connsiteY32" fmla="*/ 4258 h 10008"/>
                <a:gd name="connsiteX33" fmla="*/ 6790 w 10000"/>
                <a:gd name="connsiteY33" fmla="*/ 4203 h 10008"/>
                <a:gd name="connsiteX34" fmla="*/ 6768 w 10000"/>
                <a:gd name="connsiteY34" fmla="*/ 4143 h 10008"/>
                <a:gd name="connsiteX35" fmla="*/ 6738 w 10000"/>
                <a:gd name="connsiteY35" fmla="*/ 4088 h 10008"/>
                <a:gd name="connsiteX36" fmla="*/ 6723 w 10000"/>
                <a:gd name="connsiteY36" fmla="*/ 4028 h 10008"/>
                <a:gd name="connsiteX37" fmla="*/ 6694 w 10000"/>
                <a:gd name="connsiteY37" fmla="*/ 3973 h 10008"/>
                <a:gd name="connsiteX38" fmla="*/ 6679 w 10000"/>
                <a:gd name="connsiteY38" fmla="*/ 3913 h 10008"/>
                <a:gd name="connsiteX39" fmla="*/ 6664 w 10000"/>
                <a:gd name="connsiteY39" fmla="*/ 3853 h 10008"/>
                <a:gd name="connsiteX40" fmla="*/ 6649 w 10000"/>
                <a:gd name="connsiteY40" fmla="*/ 3794 h 10008"/>
                <a:gd name="connsiteX41" fmla="*/ 6635 w 10000"/>
                <a:gd name="connsiteY41" fmla="*/ 3739 h 10008"/>
                <a:gd name="connsiteX42" fmla="*/ 6620 w 10000"/>
                <a:gd name="connsiteY42" fmla="*/ 3679 h 10008"/>
                <a:gd name="connsiteX43" fmla="*/ 6612 w 10000"/>
                <a:gd name="connsiteY43" fmla="*/ 3620 h 10008"/>
                <a:gd name="connsiteX44" fmla="*/ 6605 w 10000"/>
                <a:gd name="connsiteY44" fmla="*/ 3560 h 10008"/>
                <a:gd name="connsiteX45" fmla="*/ 6597 w 10000"/>
                <a:gd name="connsiteY45" fmla="*/ 3496 h 10008"/>
                <a:gd name="connsiteX46" fmla="*/ 6597 w 10000"/>
                <a:gd name="connsiteY46" fmla="*/ 3436 h 10008"/>
                <a:gd name="connsiteX47" fmla="*/ 6590 w 10000"/>
                <a:gd name="connsiteY47" fmla="*/ 3372 h 10008"/>
                <a:gd name="connsiteX48" fmla="*/ 6597 w 10000"/>
                <a:gd name="connsiteY48" fmla="*/ 3312 h 10008"/>
                <a:gd name="connsiteX49" fmla="*/ 6605 w 10000"/>
                <a:gd name="connsiteY49" fmla="*/ 3244 h 10008"/>
                <a:gd name="connsiteX50" fmla="*/ 6605 w 10000"/>
                <a:gd name="connsiteY50" fmla="*/ 3179 h 10008"/>
                <a:gd name="connsiteX51" fmla="*/ 6612 w 10000"/>
                <a:gd name="connsiteY51" fmla="*/ 3114 h 10008"/>
                <a:gd name="connsiteX52" fmla="*/ 6620 w 10000"/>
                <a:gd name="connsiteY52" fmla="*/ 3050 h 10008"/>
                <a:gd name="connsiteX53" fmla="*/ 6635 w 10000"/>
                <a:gd name="connsiteY53" fmla="*/ 2991 h 10008"/>
                <a:gd name="connsiteX54" fmla="*/ 6649 w 10000"/>
                <a:gd name="connsiteY54" fmla="*/ 2927 h 10008"/>
                <a:gd name="connsiteX55" fmla="*/ 6664 w 10000"/>
                <a:gd name="connsiteY55" fmla="*/ 2867 h 10008"/>
                <a:gd name="connsiteX56" fmla="*/ 6686 w 10000"/>
                <a:gd name="connsiteY56" fmla="*/ 2803 h 10008"/>
                <a:gd name="connsiteX57" fmla="*/ 6709 w 10000"/>
                <a:gd name="connsiteY57" fmla="*/ 2743 h 10008"/>
                <a:gd name="connsiteX58" fmla="*/ 6731 w 10000"/>
                <a:gd name="connsiteY58" fmla="*/ 2684 h 10008"/>
                <a:gd name="connsiteX59" fmla="*/ 6753 w 10000"/>
                <a:gd name="connsiteY59" fmla="*/ 2619 h 10008"/>
                <a:gd name="connsiteX60" fmla="*/ 6783 w 10000"/>
                <a:gd name="connsiteY60" fmla="*/ 2564 h 10008"/>
                <a:gd name="connsiteX61" fmla="*/ 6812 w 10000"/>
                <a:gd name="connsiteY61" fmla="*/ 2504 h 10008"/>
                <a:gd name="connsiteX62" fmla="*/ 6842 w 10000"/>
                <a:gd name="connsiteY62" fmla="*/ 2444 h 10008"/>
                <a:gd name="connsiteX63" fmla="*/ 6879 w 10000"/>
                <a:gd name="connsiteY63" fmla="*/ 2385 h 10008"/>
                <a:gd name="connsiteX64" fmla="*/ 6909 w 10000"/>
                <a:gd name="connsiteY64" fmla="*/ 2330 h 10008"/>
                <a:gd name="connsiteX65" fmla="*/ 6946 w 10000"/>
                <a:gd name="connsiteY65" fmla="*/ 2270 h 10008"/>
                <a:gd name="connsiteX66" fmla="*/ 6990 w 10000"/>
                <a:gd name="connsiteY66" fmla="*/ 2215 h 10008"/>
                <a:gd name="connsiteX67" fmla="*/ 7027 w 10000"/>
                <a:gd name="connsiteY67" fmla="*/ 2160 h 10008"/>
                <a:gd name="connsiteX68" fmla="*/ 7072 w 10000"/>
                <a:gd name="connsiteY68" fmla="*/ 2105 h 10008"/>
                <a:gd name="connsiteX69" fmla="*/ 7109 w 10000"/>
                <a:gd name="connsiteY69" fmla="*/ 2050 h 10008"/>
                <a:gd name="connsiteX70" fmla="*/ 7161 w 10000"/>
                <a:gd name="connsiteY70" fmla="*/ 2000 h 10008"/>
                <a:gd name="connsiteX71" fmla="*/ 7213 w 10000"/>
                <a:gd name="connsiteY71" fmla="*/ 1945 h 10008"/>
                <a:gd name="connsiteX72" fmla="*/ 7257 w 10000"/>
                <a:gd name="connsiteY72" fmla="*/ 1890 h 10008"/>
                <a:gd name="connsiteX73" fmla="*/ 7309 w 10000"/>
                <a:gd name="connsiteY73" fmla="*/ 1839 h 10008"/>
                <a:gd name="connsiteX74" fmla="*/ 7361 w 10000"/>
                <a:gd name="connsiteY74" fmla="*/ 1788 h 10008"/>
                <a:gd name="connsiteX75" fmla="*/ 7413 w 10000"/>
                <a:gd name="connsiteY75" fmla="*/ 1738 h 10008"/>
                <a:gd name="connsiteX76" fmla="*/ 7472 w 10000"/>
                <a:gd name="connsiteY76" fmla="*/ 1687 h 10008"/>
                <a:gd name="connsiteX77" fmla="*/ 7524 w 10000"/>
                <a:gd name="connsiteY77" fmla="*/ 1641 h 10008"/>
                <a:gd name="connsiteX78" fmla="*/ 7583 w 10000"/>
                <a:gd name="connsiteY78" fmla="*/ 1595 h 10008"/>
                <a:gd name="connsiteX79" fmla="*/ 7610 w 10000"/>
                <a:gd name="connsiteY79" fmla="*/ 1566 h 10008"/>
                <a:gd name="connsiteX80" fmla="*/ 5412 w 10000"/>
                <a:gd name="connsiteY80" fmla="*/ 0 h 10008"/>
                <a:gd name="connsiteX81" fmla="*/ 1423 w 10000"/>
                <a:gd name="connsiteY81" fmla="*/ 1 h 10008"/>
                <a:gd name="connsiteX82" fmla="*/ 1305 w 10000"/>
                <a:gd name="connsiteY82" fmla="*/ 122 h 10008"/>
                <a:gd name="connsiteX83" fmla="*/ 1223 w 10000"/>
                <a:gd name="connsiteY83" fmla="*/ 214 h 10008"/>
                <a:gd name="connsiteX84" fmla="*/ 1149 w 10000"/>
                <a:gd name="connsiteY84" fmla="*/ 310 h 10008"/>
                <a:gd name="connsiteX85" fmla="*/ 1067 w 10000"/>
                <a:gd name="connsiteY85" fmla="*/ 407 h 10008"/>
                <a:gd name="connsiteX86" fmla="*/ 1001 w 10000"/>
                <a:gd name="connsiteY86" fmla="*/ 504 h 10008"/>
                <a:gd name="connsiteX87" fmla="*/ 927 w 10000"/>
                <a:gd name="connsiteY87" fmla="*/ 600 h 10008"/>
                <a:gd name="connsiteX88" fmla="*/ 860 w 10000"/>
                <a:gd name="connsiteY88" fmla="*/ 701 h 10008"/>
                <a:gd name="connsiteX89" fmla="*/ 793 w 10000"/>
                <a:gd name="connsiteY89" fmla="*/ 802 h 10008"/>
                <a:gd name="connsiteX90" fmla="*/ 734 w 10000"/>
                <a:gd name="connsiteY90" fmla="*/ 898 h 10008"/>
                <a:gd name="connsiteX91" fmla="*/ 675 w 10000"/>
                <a:gd name="connsiteY91" fmla="*/ 999 h 10008"/>
                <a:gd name="connsiteX92" fmla="*/ 615 w 10000"/>
                <a:gd name="connsiteY92" fmla="*/ 1100 h 10008"/>
                <a:gd name="connsiteX93" fmla="*/ 556 w 10000"/>
                <a:gd name="connsiteY93" fmla="*/ 1206 h 10008"/>
                <a:gd name="connsiteX94" fmla="*/ 504 w 10000"/>
                <a:gd name="connsiteY94" fmla="*/ 1302 h 10008"/>
                <a:gd name="connsiteX95" fmla="*/ 452 w 10000"/>
                <a:gd name="connsiteY95" fmla="*/ 1408 h 10008"/>
                <a:gd name="connsiteX96" fmla="*/ 408 w 10000"/>
                <a:gd name="connsiteY96" fmla="*/ 1508 h 10008"/>
                <a:gd name="connsiteX97" fmla="*/ 363 w 10000"/>
                <a:gd name="connsiteY97" fmla="*/ 1614 h 10008"/>
                <a:gd name="connsiteX98" fmla="*/ 319 w 10000"/>
                <a:gd name="connsiteY98" fmla="*/ 1719 h 10008"/>
                <a:gd name="connsiteX99" fmla="*/ 282 w 10000"/>
                <a:gd name="connsiteY99" fmla="*/ 1826 h 10008"/>
                <a:gd name="connsiteX100" fmla="*/ 237 w 10000"/>
                <a:gd name="connsiteY100" fmla="*/ 1936 h 10008"/>
                <a:gd name="connsiteX101" fmla="*/ 208 w 10000"/>
                <a:gd name="connsiteY101" fmla="*/ 2041 h 10008"/>
                <a:gd name="connsiteX102" fmla="*/ 170 w 10000"/>
                <a:gd name="connsiteY102" fmla="*/ 2151 h 10008"/>
                <a:gd name="connsiteX103" fmla="*/ 148 w 10000"/>
                <a:gd name="connsiteY103" fmla="*/ 2261 h 10008"/>
                <a:gd name="connsiteX104" fmla="*/ 119 w 10000"/>
                <a:gd name="connsiteY104" fmla="*/ 2366 h 10008"/>
                <a:gd name="connsiteX105" fmla="*/ 96 w 10000"/>
                <a:gd name="connsiteY105" fmla="*/ 2476 h 10008"/>
                <a:gd name="connsiteX106" fmla="*/ 74 w 10000"/>
                <a:gd name="connsiteY106" fmla="*/ 2587 h 10008"/>
                <a:gd name="connsiteX107" fmla="*/ 52 w 10000"/>
                <a:gd name="connsiteY107" fmla="*/ 2702 h 10008"/>
                <a:gd name="connsiteX108" fmla="*/ 37 w 10000"/>
                <a:gd name="connsiteY108" fmla="*/ 2812 h 10008"/>
                <a:gd name="connsiteX109" fmla="*/ 22 w 10000"/>
                <a:gd name="connsiteY109" fmla="*/ 2922 h 10008"/>
                <a:gd name="connsiteX110" fmla="*/ 15 w 10000"/>
                <a:gd name="connsiteY110" fmla="*/ 3032 h 10008"/>
                <a:gd name="connsiteX111" fmla="*/ 7 w 10000"/>
                <a:gd name="connsiteY111" fmla="*/ 3146 h 10008"/>
                <a:gd name="connsiteX112" fmla="*/ 0 w 10000"/>
                <a:gd name="connsiteY112" fmla="*/ 3257 h 10008"/>
                <a:gd name="connsiteX113" fmla="*/ 0 w 10000"/>
                <a:gd name="connsiteY113" fmla="*/ 3372 h 10008"/>
                <a:gd name="connsiteX114" fmla="*/ 7 w 10000"/>
                <a:gd name="connsiteY114" fmla="*/ 3519 h 10008"/>
                <a:gd name="connsiteX115" fmla="*/ 7 w 10000"/>
                <a:gd name="connsiteY115" fmla="*/ 3665 h 10008"/>
                <a:gd name="connsiteX116" fmla="*/ 22 w 10000"/>
                <a:gd name="connsiteY116" fmla="*/ 3803 h 10008"/>
                <a:gd name="connsiteX117" fmla="*/ 37 w 10000"/>
                <a:gd name="connsiteY117" fmla="*/ 3946 h 10008"/>
                <a:gd name="connsiteX118" fmla="*/ 59 w 10000"/>
                <a:gd name="connsiteY118" fmla="*/ 4088 h 10008"/>
                <a:gd name="connsiteX119" fmla="*/ 89 w 10000"/>
                <a:gd name="connsiteY119" fmla="*/ 4230 h 10008"/>
                <a:gd name="connsiteX120" fmla="*/ 119 w 10000"/>
                <a:gd name="connsiteY120" fmla="*/ 4372 h 10008"/>
                <a:gd name="connsiteX121" fmla="*/ 148 w 10000"/>
                <a:gd name="connsiteY121" fmla="*/ 4514 h 10008"/>
                <a:gd name="connsiteX122" fmla="*/ 193 w 10000"/>
                <a:gd name="connsiteY122" fmla="*/ 4653 h 10008"/>
                <a:gd name="connsiteX123" fmla="*/ 237 w 10000"/>
                <a:gd name="connsiteY123" fmla="*/ 4790 h 10008"/>
                <a:gd name="connsiteX124" fmla="*/ 282 w 10000"/>
                <a:gd name="connsiteY124" fmla="*/ 4928 h 10008"/>
                <a:gd name="connsiteX125" fmla="*/ 334 w 10000"/>
                <a:gd name="connsiteY125" fmla="*/ 5065 h 10008"/>
                <a:gd name="connsiteX126" fmla="*/ 393 w 10000"/>
                <a:gd name="connsiteY126" fmla="*/ 5198 h 10008"/>
                <a:gd name="connsiteX127" fmla="*/ 452 w 10000"/>
                <a:gd name="connsiteY127" fmla="*/ 5331 h 10008"/>
                <a:gd name="connsiteX128" fmla="*/ 519 w 10000"/>
                <a:gd name="connsiteY128" fmla="*/ 5465 h 10008"/>
                <a:gd name="connsiteX129" fmla="*/ 586 w 10000"/>
                <a:gd name="connsiteY129" fmla="*/ 5598 h 10008"/>
                <a:gd name="connsiteX130" fmla="*/ 660 w 10000"/>
                <a:gd name="connsiteY130" fmla="*/ 5726 h 10008"/>
                <a:gd name="connsiteX131" fmla="*/ 741 w 10000"/>
                <a:gd name="connsiteY131" fmla="*/ 5854 h 10008"/>
                <a:gd name="connsiteX132" fmla="*/ 823 w 10000"/>
                <a:gd name="connsiteY132" fmla="*/ 5987 h 10008"/>
                <a:gd name="connsiteX133" fmla="*/ 904 w 10000"/>
                <a:gd name="connsiteY133" fmla="*/ 6112 h 10008"/>
                <a:gd name="connsiteX134" fmla="*/ 993 w 10000"/>
                <a:gd name="connsiteY134" fmla="*/ 6236 h 10008"/>
                <a:gd name="connsiteX135" fmla="*/ 1090 w 10000"/>
                <a:gd name="connsiteY135" fmla="*/ 6355 h 10008"/>
                <a:gd name="connsiteX136" fmla="*/ 1186 w 10000"/>
                <a:gd name="connsiteY136" fmla="*/ 6479 h 10008"/>
                <a:gd name="connsiteX137" fmla="*/ 1290 w 10000"/>
                <a:gd name="connsiteY137" fmla="*/ 6602 h 10008"/>
                <a:gd name="connsiteX138" fmla="*/ 1386 w 10000"/>
                <a:gd name="connsiteY138" fmla="*/ 6722 h 10008"/>
                <a:gd name="connsiteX139" fmla="*/ 1497 w 10000"/>
                <a:gd name="connsiteY139" fmla="*/ 6842 h 10008"/>
                <a:gd name="connsiteX140" fmla="*/ 1609 w 10000"/>
                <a:gd name="connsiteY140" fmla="*/ 6956 h 10008"/>
                <a:gd name="connsiteX141" fmla="*/ 1727 w 10000"/>
                <a:gd name="connsiteY141" fmla="*/ 7075 h 10008"/>
                <a:gd name="connsiteX142" fmla="*/ 1846 w 10000"/>
                <a:gd name="connsiteY142" fmla="*/ 7190 h 10008"/>
                <a:gd name="connsiteX143" fmla="*/ 1964 w 10000"/>
                <a:gd name="connsiteY143" fmla="*/ 7300 h 10008"/>
                <a:gd name="connsiteX144" fmla="*/ 2090 w 10000"/>
                <a:gd name="connsiteY144" fmla="*/ 7410 h 10008"/>
                <a:gd name="connsiteX145" fmla="*/ 2224 w 10000"/>
                <a:gd name="connsiteY145" fmla="*/ 7521 h 10008"/>
                <a:gd name="connsiteX146" fmla="*/ 2350 w 10000"/>
                <a:gd name="connsiteY146" fmla="*/ 7631 h 10008"/>
                <a:gd name="connsiteX147" fmla="*/ 2491 w 10000"/>
                <a:gd name="connsiteY147" fmla="*/ 7736 h 10008"/>
                <a:gd name="connsiteX148" fmla="*/ 2617 w 10000"/>
                <a:gd name="connsiteY148" fmla="*/ 7842 h 10008"/>
                <a:gd name="connsiteX149" fmla="*/ 2765 w 10000"/>
                <a:gd name="connsiteY149" fmla="*/ 7943 h 10008"/>
                <a:gd name="connsiteX150" fmla="*/ 2906 w 10000"/>
                <a:gd name="connsiteY150" fmla="*/ 8043 h 10008"/>
                <a:gd name="connsiteX151" fmla="*/ 3054 w 10000"/>
                <a:gd name="connsiteY151" fmla="*/ 8144 h 10008"/>
                <a:gd name="connsiteX152" fmla="*/ 3210 w 10000"/>
                <a:gd name="connsiteY152" fmla="*/ 8242 h 10008"/>
                <a:gd name="connsiteX153" fmla="*/ 3358 w 10000"/>
                <a:gd name="connsiteY153" fmla="*/ 8338 h 10008"/>
                <a:gd name="connsiteX154" fmla="*/ 3514 w 10000"/>
                <a:gd name="connsiteY154" fmla="*/ 8434 h 10008"/>
                <a:gd name="connsiteX155" fmla="*/ 3677 w 10000"/>
                <a:gd name="connsiteY155" fmla="*/ 8526 h 10008"/>
                <a:gd name="connsiteX156" fmla="*/ 3840 w 10000"/>
                <a:gd name="connsiteY156" fmla="*/ 8613 h 10008"/>
                <a:gd name="connsiteX157" fmla="*/ 4010 w 10000"/>
                <a:gd name="connsiteY157" fmla="*/ 8704 h 10008"/>
                <a:gd name="connsiteX158" fmla="*/ 4181 w 10000"/>
                <a:gd name="connsiteY158" fmla="*/ 8782 h 10008"/>
                <a:gd name="connsiteX159" fmla="*/ 4351 w 10000"/>
                <a:gd name="connsiteY159" fmla="*/ 8869 h 10008"/>
                <a:gd name="connsiteX160" fmla="*/ 4522 w 10000"/>
                <a:gd name="connsiteY160" fmla="*/ 8948 h 10008"/>
                <a:gd name="connsiteX161" fmla="*/ 4700 w 10000"/>
                <a:gd name="connsiteY161" fmla="*/ 9031 h 10008"/>
                <a:gd name="connsiteX162" fmla="*/ 4878 w 10000"/>
                <a:gd name="connsiteY162" fmla="*/ 9109 h 10008"/>
                <a:gd name="connsiteX163" fmla="*/ 5063 w 10000"/>
                <a:gd name="connsiteY163" fmla="*/ 9182 h 10008"/>
                <a:gd name="connsiteX164" fmla="*/ 5248 w 10000"/>
                <a:gd name="connsiteY164" fmla="*/ 9260 h 10008"/>
                <a:gd name="connsiteX165" fmla="*/ 5426 w 10000"/>
                <a:gd name="connsiteY165" fmla="*/ 9329 h 10008"/>
                <a:gd name="connsiteX166" fmla="*/ 5619 w 10000"/>
                <a:gd name="connsiteY166" fmla="*/ 9397 h 10008"/>
                <a:gd name="connsiteX167" fmla="*/ 5812 w 10000"/>
                <a:gd name="connsiteY167" fmla="*/ 9466 h 10008"/>
                <a:gd name="connsiteX168" fmla="*/ 6004 w 10000"/>
                <a:gd name="connsiteY168" fmla="*/ 9530 h 10008"/>
                <a:gd name="connsiteX169" fmla="*/ 6205 w 10000"/>
                <a:gd name="connsiteY169" fmla="*/ 9595 h 10008"/>
                <a:gd name="connsiteX170" fmla="*/ 6397 w 10000"/>
                <a:gd name="connsiteY170" fmla="*/ 9655 h 10008"/>
                <a:gd name="connsiteX171" fmla="*/ 6605 w 10000"/>
                <a:gd name="connsiteY171" fmla="*/ 9710 h 10008"/>
                <a:gd name="connsiteX172" fmla="*/ 6805 w 10000"/>
                <a:gd name="connsiteY172" fmla="*/ 9765 h 10008"/>
                <a:gd name="connsiteX173" fmla="*/ 7005 w 10000"/>
                <a:gd name="connsiteY173" fmla="*/ 9820 h 10008"/>
                <a:gd name="connsiteX174" fmla="*/ 7213 w 10000"/>
                <a:gd name="connsiteY174" fmla="*/ 9871 h 10008"/>
                <a:gd name="connsiteX175" fmla="*/ 7420 w 10000"/>
                <a:gd name="connsiteY175" fmla="*/ 9916 h 10008"/>
                <a:gd name="connsiteX176" fmla="*/ 7628 w 10000"/>
                <a:gd name="connsiteY176" fmla="*/ 9962 h 10008"/>
                <a:gd name="connsiteX177" fmla="*/ 7835 w 10000"/>
                <a:gd name="connsiteY177" fmla="*/ 10008 h 10008"/>
                <a:gd name="connsiteX178" fmla="*/ 7539 w 10000"/>
                <a:gd name="connsiteY178" fmla="*/ 7759 h 10008"/>
                <a:gd name="connsiteX179" fmla="*/ 10000 w 10000"/>
                <a:gd name="connsiteY179" fmla="*/ 6144 h 10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10000" h="10008">
                  <a:moveTo>
                    <a:pt x="10000" y="6144"/>
                  </a:moveTo>
                  <a:lnTo>
                    <a:pt x="10000" y="6144"/>
                  </a:lnTo>
                  <a:lnTo>
                    <a:pt x="9911" y="6130"/>
                  </a:lnTo>
                  <a:lnTo>
                    <a:pt x="9815" y="6112"/>
                  </a:lnTo>
                  <a:lnTo>
                    <a:pt x="9726" y="6094"/>
                  </a:lnTo>
                  <a:lnTo>
                    <a:pt x="9637" y="6070"/>
                  </a:lnTo>
                  <a:cubicBezTo>
                    <a:pt x="9607" y="6064"/>
                    <a:pt x="9578" y="6057"/>
                    <a:pt x="9548" y="6051"/>
                  </a:cubicBezTo>
                  <a:lnTo>
                    <a:pt x="9466" y="6029"/>
                  </a:lnTo>
                  <a:lnTo>
                    <a:pt x="9377" y="6006"/>
                  </a:lnTo>
                  <a:lnTo>
                    <a:pt x="9288" y="5983"/>
                  </a:lnTo>
                  <a:lnTo>
                    <a:pt x="9118" y="5932"/>
                  </a:lnTo>
                  <a:lnTo>
                    <a:pt x="8955" y="5877"/>
                  </a:lnTo>
                  <a:lnTo>
                    <a:pt x="8792" y="5818"/>
                  </a:lnTo>
                  <a:lnTo>
                    <a:pt x="8636" y="5754"/>
                  </a:lnTo>
                  <a:lnTo>
                    <a:pt x="8480" y="5689"/>
                  </a:lnTo>
                  <a:lnTo>
                    <a:pt x="8340" y="5621"/>
                  </a:lnTo>
                  <a:lnTo>
                    <a:pt x="8199" y="5547"/>
                  </a:lnTo>
                  <a:lnTo>
                    <a:pt x="8058" y="5469"/>
                  </a:lnTo>
                  <a:cubicBezTo>
                    <a:pt x="8013" y="5442"/>
                    <a:pt x="7969" y="5414"/>
                    <a:pt x="7924" y="5387"/>
                  </a:cubicBezTo>
                  <a:lnTo>
                    <a:pt x="7798" y="5303"/>
                  </a:lnTo>
                  <a:lnTo>
                    <a:pt x="7672" y="5216"/>
                  </a:lnTo>
                  <a:lnTo>
                    <a:pt x="7554" y="5129"/>
                  </a:lnTo>
                  <a:lnTo>
                    <a:pt x="7450" y="5033"/>
                  </a:lnTo>
                  <a:lnTo>
                    <a:pt x="7346" y="4937"/>
                  </a:lnTo>
                  <a:lnTo>
                    <a:pt x="7250" y="4841"/>
                  </a:lnTo>
                  <a:lnTo>
                    <a:pt x="7161" y="4740"/>
                  </a:lnTo>
                  <a:cubicBezTo>
                    <a:pt x="7131" y="4706"/>
                    <a:pt x="7102" y="4672"/>
                    <a:pt x="7072" y="4638"/>
                  </a:cubicBezTo>
                  <a:cubicBezTo>
                    <a:pt x="7045" y="4601"/>
                    <a:pt x="7017" y="4565"/>
                    <a:pt x="6990" y="4528"/>
                  </a:cubicBezTo>
                  <a:cubicBezTo>
                    <a:pt x="6978" y="4511"/>
                    <a:pt x="6965" y="4495"/>
                    <a:pt x="6953" y="4478"/>
                  </a:cubicBezTo>
                  <a:cubicBezTo>
                    <a:pt x="6941" y="4460"/>
                    <a:pt x="6928" y="4441"/>
                    <a:pt x="6916" y="4423"/>
                  </a:cubicBezTo>
                  <a:cubicBezTo>
                    <a:pt x="6906" y="4405"/>
                    <a:pt x="6897" y="4386"/>
                    <a:pt x="6887" y="4368"/>
                  </a:cubicBezTo>
                  <a:cubicBezTo>
                    <a:pt x="6875" y="4350"/>
                    <a:pt x="6862" y="4331"/>
                    <a:pt x="6850" y="4313"/>
                  </a:cubicBezTo>
                  <a:cubicBezTo>
                    <a:pt x="6840" y="4295"/>
                    <a:pt x="6830" y="4276"/>
                    <a:pt x="6820" y="4258"/>
                  </a:cubicBezTo>
                  <a:cubicBezTo>
                    <a:pt x="6810" y="4240"/>
                    <a:pt x="6800" y="4221"/>
                    <a:pt x="6790" y="4203"/>
                  </a:cubicBezTo>
                  <a:cubicBezTo>
                    <a:pt x="6783" y="4183"/>
                    <a:pt x="6775" y="4163"/>
                    <a:pt x="6768" y="4143"/>
                  </a:cubicBezTo>
                  <a:cubicBezTo>
                    <a:pt x="6758" y="4125"/>
                    <a:pt x="6748" y="4106"/>
                    <a:pt x="6738" y="4088"/>
                  </a:cubicBezTo>
                  <a:lnTo>
                    <a:pt x="6723" y="4028"/>
                  </a:lnTo>
                  <a:cubicBezTo>
                    <a:pt x="6713" y="4010"/>
                    <a:pt x="6704" y="3991"/>
                    <a:pt x="6694" y="3973"/>
                  </a:cubicBezTo>
                  <a:lnTo>
                    <a:pt x="6679" y="3913"/>
                  </a:lnTo>
                  <a:lnTo>
                    <a:pt x="6664" y="3853"/>
                  </a:lnTo>
                  <a:cubicBezTo>
                    <a:pt x="6659" y="3833"/>
                    <a:pt x="6654" y="3814"/>
                    <a:pt x="6649" y="3794"/>
                  </a:cubicBezTo>
                  <a:cubicBezTo>
                    <a:pt x="6644" y="3776"/>
                    <a:pt x="6640" y="3757"/>
                    <a:pt x="6635" y="3739"/>
                  </a:cubicBezTo>
                  <a:lnTo>
                    <a:pt x="6620" y="3679"/>
                  </a:lnTo>
                  <a:cubicBezTo>
                    <a:pt x="6617" y="3659"/>
                    <a:pt x="6615" y="3640"/>
                    <a:pt x="6612" y="3620"/>
                  </a:cubicBezTo>
                  <a:cubicBezTo>
                    <a:pt x="6610" y="3600"/>
                    <a:pt x="6607" y="3580"/>
                    <a:pt x="6605" y="3560"/>
                  </a:cubicBezTo>
                  <a:cubicBezTo>
                    <a:pt x="6602" y="3539"/>
                    <a:pt x="6600" y="3517"/>
                    <a:pt x="6597" y="3496"/>
                  </a:cubicBezTo>
                  <a:lnTo>
                    <a:pt x="6597" y="3436"/>
                  </a:lnTo>
                  <a:cubicBezTo>
                    <a:pt x="6595" y="3415"/>
                    <a:pt x="6592" y="3393"/>
                    <a:pt x="6590" y="3372"/>
                  </a:cubicBezTo>
                  <a:cubicBezTo>
                    <a:pt x="6592" y="3352"/>
                    <a:pt x="6595" y="3332"/>
                    <a:pt x="6597" y="3312"/>
                  </a:cubicBezTo>
                  <a:cubicBezTo>
                    <a:pt x="6600" y="3289"/>
                    <a:pt x="6602" y="3267"/>
                    <a:pt x="6605" y="3244"/>
                  </a:cubicBezTo>
                  <a:lnTo>
                    <a:pt x="6605" y="3179"/>
                  </a:lnTo>
                  <a:cubicBezTo>
                    <a:pt x="6607" y="3157"/>
                    <a:pt x="6610" y="3136"/>
                    <a:pt x="6612" y="3114"/>
                  </a:cubicBezTo>
                  <a:cubicBezTo>
                    <a:pt x="6615" y="3093"/>
                    <a:pt x="6617" y="3071"/>
                    <a:pt x="6620" y="3050"/>
                  </a:cubicBezTo>
                  <a:cubicBezTo>
                    <a:pt x="6625" y="3030"/>
                    <a:pt x="6630" y="3011"/>
                    <a:pt x="6635" y="2991"/>
                  </a:cubicBezTo>
                  <a:cubicBezTo>
                    <a:pt x="6640" y="2970"/>
                    <a:pt x="6644" y="2948"/>
                    <a:pt x="6649" y="2927"/>
                  </a:cubicBezTo>
                  <a:lnTo>
                    <a:pt x="6664" y="2867"/>
                  </a:lnTo>
                  <a:cubicBezTo>
                    <a:pt x="6671" y="2846"/>
                    <a:pt x="6679" y="2824"/>
                    <a:pt x="6686" y="2803"/>
                  </a:cubicBezTo>
                  <a:cubicBezTo>
                    <a:pt x="6694" y="2783"/>
                    <a:pt x="6701" y="2763"/>
                    <a:pt x="6709" y="2743"/>
                  </a:cubicBezTo>
                  <a:cubicBezTo>
                    <a:pt x="6716" y="2723"/>
                    <a:pt x="6724" y="2704"/>
                    <a:pt x="6731" y="2684"/>
                  </a:cubicBezTo>
                  <a:cubicBezTo>
                    <a:pt x="6738" y="2662"/>
                    <a:pt x="6746" y="2641"/>
                    <a:pt x="6753" y="2619"/>
                  </a:cubicBezTo>
                  <a:cubicBezTo>
                    <a:pt x="6763" y="2601"/>
                    <a:pt x="6773" y="2582"/>
                    <a:pt x="6783" y="2564"/>
                  </a:cubicBezTo>
                  <a:cubicBezTo>
                    <a:pt x="6793" y="2544"/>
                    <a:pt x="6802" y="2525"/>
                    <a:pt x="6812" y="2504"/>
                  </a:cubicBezTo>
                  <a:lnTo>
                    <a:pt x="6842" y="2444"/>
                  </a:lnTo>
                  <a:cubicBezTo>
                    <a:pt x="6854" y="2424"/>
                    <a:pt x="6867" y="2405"/>
                    <a:pt x="6879" y="2385"/>
                  </a:cubicBezTo>
                  <a:cubicBezTo>
                    <a:pt x="6889" y="2367"/>
                    <a:pt x="6899" y="2348"/>
                    <a:pt x="6909" y="2330"/>
                  </a:cubicBezTo>
                  <a:cubicBezTo>
                    <a:pt x="6921" y="2310"/>
                    <a:pt x="6934" y="2290"/>
                    <a:pt x="6946" y="2270"/>
                  </a:cubicBezTo>
                  <a:cubicBezTo>
                    <a:pt x="6961" y="2252"/>
                    <a:pt x="6975" y="2233"/>
                    <a:pt x="6990" y="2215"/>
                  </a:cubicBezTo>
                  <a:cubicBezTo>
                    <a:pt x="7002" y="2197"/>
                    <a:pt x="7015" y="2178"/>
                    <a:pt x="7027" y="2160"/>
                  </a:cubicBezTo>
                  <a:cubicBezTo>
                    <a:pt x="7042" y="2142"/>
                    <a:pt x="7057" y="2123"/>
                    <a:pt x="7072" y="2105"/>
                  </a:cubicBezTo>
                  <a:cubicBezTo>
                    <a:pt x="7084" y="2087"/>
                    <a:pt x="7097" y="2068"/>
                    <a:pt x="7109" y="2050"/>
                  </a:cubicBezTo>
                  <a:cubicBezTo>
                    <a:pt x="7126" y="2033"/>
                    <a:pt x="7144" y="2017"/>
                    <a:pt x="7161" y="2000"/>
                  </a:cubicBezTo>
                  <a:lnTo>
                    <a:pt x="7213" y="1945"/>
                  </a:lnTo>
                  <a:cubicBezTo>
                    <a:pt x="7228" y="1927"/>
                    <a:pt x="7242" y="1908"/>
                    <a:pt x="7257" y="1890"/>
                  </a:cubicBezTo>
                  <a:cubicBezTo>
                    <a:pt x="7274" y="1873"/>
                    <a:pt x="7292" y="1856"/>
                    <a:pt x="7309" y="1839"/>
                  </a:cubicBezTo>
                  <a:cubicBezTo>
                    <a:pt x="7326" y="1822"/>
                    <a:pt x="7344" y="1806"/>
                    <a:pt x="7361" y="1788"/>
                  </a:cubicBezTo>
                  <a:cubicBezTo>
                    <a:pt x="7378" y="1771"/>
                    <a:pt x="7396" y="1755"/>
                    <a:pt x="7413" y="1738"/>
                  </a:cubicBezTo>
                  <a:cubicBezTo>
                    <a:pt x="7433" y="1721"/>
                    <a:pt x="7452" y="1704"/>
                    <a:pt x="7472" y="1687"/>
                  </a:cubicBezTo>
                  <a:lnTo>
                    <a:pt x="7524" y="1641"/>
                  </a:lnTo>
                  <a:cubicBezTo>
                    <a:pt x="7544" y="1626"/>
                    <a:pt x="7563" y="1610"/>
                    <a:pt x="7583" y="1595"/>
                  </a:cubicBezTo>
                  <a:cubicBezTo>
                    <a:pt x="7603" y="1578"/>
                    <a:pt x="7590" y="1583"/>
                    <a:pt x="7610" y="1566"/>
                  </a:cubicBezTo>
                  <a:lnTo>
                    <a:pt x="5412" y="0"/>
                  </a:lnTo>
                  <a:lnTo>
                    <a:pt x="1423" y="1"/>
                  </a:lnTo>
                  <a:cubicBezTo>
                    <a:pt x="1391" y="44"/>
                    <a:pt x="1337" y="79"/>
                    <a:pt x="1305" y="122"/>
                  </a:cubicBezTo>
                  <a:cubicBezTo>
                    <a:pt x="1278" y="153"/>
                    <a:pt x="1250" y="183"/>
                    <a:pt x="1223" y="214"/>
                  </a:cubicBezTo>
                  <a:cubicBezTo>
                    <a:pt x="1198" y="246"/>
                    <a:pt x="1174" y="278"/>
                    <a:pt x="1149" y="310"/>
                  </a:cubicBezTo>
                  <a:lnTo>
                    <a:pt x="1067" y="407"/>
                  </a:lnTo>
                  <a:cubicBezTo>
                    <a:pt x="1045" y="439"/>
                    <a:pt x="1023" y="472"/>
                    <a:pt x="1001" y="504"/>
                  </a:cubicBezTo>
                  <a:cubicBezTo>
                    <a:pt x="976" y="536"/>
                    <a:pt x="952" y="568"/>
                    <a:pt x="927" y="600"/>
                  </a:cubicBezTo>
                  <a:cubicBezTo>
                    <a:pt x="905" y="634"/>
                    <a:pt x="882" y="667"/>
                    <a:pt x="860" y="701"/>
                  </a:cubicBezTo>
                  <a:cubicBezTo>
                    <a:pt x="838" y="735"/>
                    <a:pt x="815" y="768"/>
                    <a:pt x="793" y="802"/>
                  </a:cubicBezTo>
                  <a:cubicBezTo>
                    <a:pt x="773" y="834"/>
                    <a:pt x="754" y="866"/>
                    <a:pt x="734" y="898"/>
                  </a:cubicBezTo>
                  <a:cubicBezTo>
                    <a:pt x="714" y="932"/>
                    <a:pt x="695" y="965"/>
                    <a:pt x="675" y="999"/>
                  </a:cubicBezTo>
                  <a:cubicBezTo>
                    <a:pt x="655" y="1032"/>
                    <a:pt x="635" y="1066"/>
                    <a:pt x="615" y="1100"/>
                  </a:cubicBezTo>
                  <a:cubicBezTo>
                    <a:pt x="595" y="1135"/>
                    <a:pt x="576" y="1171"/>
                    <a:pt x="556" y="1206"/>
                  </a:cubicBezTo>
                  <a:cubicBezTo>
                    <a:pt x="539" y="1238"/>
                    <a:pt x="521" y="1270"/>
                    <a:pt x="504" y="1302"/>
                  </a:cubicBezTo>
                  <a:cubicBezTo>
                    <a:pt x="487" y="1337"/>
                    <a:pt x="469" y="1373"/>
                    <a:pt x="452" y="1408"/>
                  </a:cubicBezTo>
                  <a:cubicBezTo>
                    <a:pt x="437" y="1441"/>
                    <a:pt x="423" y="1475"/>
                    <a:pt x="408" y="1508"/>
                  </a:cubicBezTo>
                  <a:cubicBezTo>
                    <a:pt x="393" y="1543"/>
                    <a:pt x="378" y="1579"/>
                    <a:pt x="363" y="1614"/>
                  </a:cubicBezTo>
                  <a:cubicBezTo>
                    <a:pt x="348" y="1649"/>
                    <a:pt x="334" y="1684"/>
                    <a:pt x="319" y="1719"/>
                  </a:cubicBezTo>
                  <a:cubicBezTo>
                    <a:pt x="307" y="1754"/>
                    <a:pt x="294" y="1790"/>
                    <a:pt x="282" y="1826"/>
                  </a:cubicBezTo>
                  <a:cubicBezTo>
                    <a:pt x="267" y="1863"/>
                    <a:pt x="252" y="1899"/>
                    <a:pt x="237" y="1936"/>
                  </a:cubicBezTo>
                  <a:cubicBezTo>
                    <a:pt x="227" y="1971"/>
                    <a:pt x="218" y="2006"/>
                    <a:pt x="208" y="2041"/>
                  </a:cubicBezTo>
                  <a:cubicBezTo>
                    <a:pt x="195" y="2078"/>
                    <a:pt x="183" y="2114"/>
                    <a:pt x="170" y="2151"/>
                  </a:cubicBezTo>
                  <a:cubicBezTo>
                    <a:pt x="163" y="2188"/>
                    <a:pt x="155" y="2224"/>
                    <a:pt x="148" y="2261"/>
                  </a:cubicBezTo>
                  <a:cubicBezTo>
                    <a:pt x="138" y="2296"/>
                    <a:pt x="129" y="2331"/>
                    <a:pt x="119" y="2366"/>
                  </a:cubicBezTo>
                  <a:cubicBezTo>
                    <a:pt x="111" y="2403"/>
                    <a:pt x="104" y="2439"/>
                    <a:pt x="96" y="2476"/>
                  </a:cubicBezTo>
                  <a:cubicBezTo>
                    <a:pt x="89" y="2514"/>
                    <a:pt x="81" y="2550"/>
                    <a:pt x="74" y="2587"/>
                  </a:cubicBezTo>
                  <a:cubicBezTo>
                    <a:pt x="67" y="2625"/>
                    <a:pt x="59" y="2664"/>
                    <a:pt x="52" y="2702"/>
                  </a:cubicBezTo>
                  <a:cubicBezTo>
                    <a:pt x="47" y="2739"/>
                    <a:pt x="42" y="2775"/>
                    <a:pt x="37" y="2812"/>
                  </a:cubicBezTo>
                  <a:cubicBezTo>
                    <a:pt x="32" y="2849"/>
                    <a:pt x="27" y="2885"/>
                    <a:pt x="22" y="2922"/>
                  </a:cubicBezTo>
                  <a:cubicBezTo>
                    <a:pt x="20" y="2959"/>
                    <a:pt x="17" y="2995"/>
                    <a:pt x="15" y="3032"/>
                  </a:cubicBezTo>
                  <a:cubicBezTo>
                    <a:pt x="12" y="3070"/>
                    <a:pt x="10" y="3108"/>
                    <a:pt x="7" y="3146"/>
                  </a:cubicBezTo>
                  <a:cubicBezTo>
                    <a:pt x="5" y="3183"/>
                    <a:pt x="2" y="3219"/>
                    <a:pt x="0" y="3257"/>
                  </a:cubicBezTo>
                  <a:lnTo>
                    <a:pt x="0" y="3372"/>
                  </a:lnTo>
                  <a:cubicBezTo>
                    <a:pt x="2" y="3421"/>
                    <a:pt x="5" y="3470"/>
                    <a:pt x="7" y="3519"/>
                  </a:cubicBezTo>
                  <a:lnTo>
                    <a:pt x="7" y="3665"/>
                  </a:lnTo>
                  <a:lnTo>
                    <a:pt x="22" y="3803"/>
                  </a:lnTo>
                  <a:cubicBezTo>
                    <a:pt x="27" y="3850"/>
                    <a:pt x="32" y="3898"/>
                    <a:pt x="37" y="3946"/>
                  </a:cubicBezTo>
                  <a:cubicBezTo>
                    <a:pt x="44" y="3993"/>
                    <a:pt x="52" y="4041"/>
                    <a:pt x="59" y="4088"/>
                  </a:cubicBezTo>
                  <a:cubicBezTo>
                    <a:pt x="69" y="4135"/>
                    <a:pt x="79" y="4183"/>
                    <a:pt x="89" y="4230"/>
                  </a:cubicBezTo>
                  <a:cubicBezTo>
                    <a:pt x="99" y="4277"/>
                    <a:pt x="109" y="4325"/>
                    <a:pt x="119" y="4372"/>
                  </a:cubicBezTo>
                  <a:cubicBezTo>
                    <a:pt x="129" y="4419"/>
                    <a:pt x="138" y="4467"/>
                    <a:pt x="148" y="4514"/>
                  </a:cubicBezTo>
                  <a:cubicBezTo>
                    <a:pt x="163" y="4560"/>
                    <a:pt x="178" y="4607"/>
                    <a:pt x="193" y="4653"/>
                  </a:cubicBezTo>
                  <a:cubicBezTo>
                    <a:pt x="208" y="4699"/>
                    <a:pt x="222" y="4744"/>
                    <a:pt x="237" y="4790"/>
                  </a:cubicBezTo>
                  <a:lnTo>
                    <a:pt x="282" y="4928"/>
                  </a:lnTo>
                  <a:cubicBezTo>
                    <a:pt x="299" y="4974"/>
                    <a:pt x="317" y="5019"/>
                    <a:pt x="334" y="5065"/>
                  </a:cubicBezTo>
                  <a:cubicBezTo>
                    <a:pt x="354" y="5109"/>
                    <a:pt x="373" y="5154"/>
                    <a:pt x="393" y="5198"/>
                  </a:cubicBezTo>
                  <a:cubicBezTo>
                    <a:pt x="413" y="5242"/>
                    <a:pt x="432" y="5287"/>
                    <a:pt x="452" y="5331"/>
                  </a:cubicBezTo>
                  <a:cubicBezTo>
                    <a:pt x="474" y="5376"/>
                    <a:pt x="497" y="5421"/>
                    <a:pt x="519" y="5465"/>
                  </a:cubicBezTo>
                  <a:cubicBezTo>
                    <a:pt x="541" y="5509"/>
                    <a:pt x="564" y="5554"/>
                    <a:pt x="586" y="5598"/>
                  </a:cubicBezTo>
                  <a:lnTo>
                    <a:pt x="660" y="5726"/>
                  </a:lnTo>
                  <a:cubicBezTo>
                    <a:pt x="687" y="5769"/>
                    <a:pt x="714" y="5811"/>
                    <a:pt x="741" y="5854"/>
                  </a:cubicBezTo>
                  <a:lnTo>
                    <a:pt x="823" y="5987"/>
                  </a:lnTo>
                  <a:cubicBezTo>
                    <a:pt x="850" y="6028"/>
                    <a:pt x="877" y="6070"/>
                    <a:pt x="904" y="6112"/>
                  </a:cubicBezTo>
                  <a:cubicBezTo>
                    <a:pt x="934" y="6153"/>
                    <a:pt x="963" y="6195"/>
                    <a:pt x="993" y="6236"/>
                  </a:cubicBezTo>
                  <a:cubicBezTo>
                    <a:pt x="1025" y="6276"/>
                    <a:pt x="1058" y="6315"/>
                    <a:pt x="1090" y="6355"/>
                  </a:cubicBezTo>
                  <a:cubicBezTo>
                    <a:pt x="1122" y="6396"/>
                    <a:pt x="1154" y="6438"/>
                    <a:pt x="1186" y="6479"/>
                  </a:cubicBezTo>
                  <a:cubicBezTo>
                    <a:pt x="1221" y="6520"/>
                    <a:pt x="1255" y="6561"/>
                    <a:pt x="1290" y="6602"/>
                  </a:cubicBezTo>
                  <a:lnTo>
                    <a:pt x="1386" y="6722"/>
                  </a:lnTo>
                  <a:lnTo>
                    <a:pt x="1497" y="6842"/>
                  </a:lnTo>
                  <a:lnTo>
                    <a:pt x="1609" y="6956"/>
                  </a:lnTo>
                  <a:cubicBezTo>
                    <a:pt x="1648" y="6996"/>
                    <a:pt x="1688" y="7035"/>
                    <a:pt x="1727" y="7075"/>
                  </a:cubicBezTo>
                  <a:cubicBezTo>
                    <a:pt x="1767" y="7113"/>
                    <a:pt x="1806" y="7152"/>
                    <a:pt x="1846" y="7190"/>
                  </a:cubicBezTo>
                  <a:cubicBezTo>
                    <a:pt x="1885" y="7227"/>
                    <a:pt x="1925" y="7263"/>
                    <a:pt x="1964" y="7300"/>
                  </a:cubicBezTo>
                  <a:lnTo>
                    <a:pt x="2090" y="7410"/>
                  </a:lnTo>
                  <a:lnTo>
                    <a:pt x="2224" y="7521"/>
                  </a:lnTo>
                  <a:lnTo>
                    <a:pt x="2350" y="7631"/>
                  </a:lnTo>
                  <a:lnTo>
                    <a:pt x="2491" y="7736"/>
                  </a:lnTo>
                  <a:lnTo>
                    <a:pt x="2617" y="7842"/>
                  </a:lnTo>
                  <a:cubicBezTo>
                    <a:pt x="2666" y="7876"/>
                    <a:pt x="2716" y="7909"/>
                    <a:pt x="2765" y="7943"/>
                  </a:cubicBezTo>
                  <a:lnTo>
                    <a:pt x="2906" y="8043"/>
                  </a:lnTo>
                  <a:cubicBezTo>
                    <a:pt x="2955" y="8077"/>
                    <a:pt x="3005" y="8110"/>
                    <a:pt x="3054" y="8144"/>
                  </a:cubicBezTo>
                  <a:lnTo>
                    <a:pt x="3210" y="8242"/>
                  </a:lnTo>
                  <a:lnTo>
                    <a:pt x="3358" y="8338"/>
                  </a:lnTo>
                  <a:lnTo>
                    <a:pt x="3514" y="8434"/>
                  </a:lnTo>
                  <a:lnTo>
                    <a:pt x="3677" y="8526"/>
                  </a:lnTo>
                  <a:lnTo>
                    <a:pt x="3840" y="8613"/>
                  </a:lnTo>
                  <a:lnTo>
                    <a:pt x="4010" y="8704"/>
                  </a:lnTo>
                  <a:lnTo>
                    <a:pt x="4181" y="8782"/>
                  </a:lnTo>
                  <a:lnTo>
                    <a:pt x="4351" y="8869"/>
                  </a:lnTo>
                  <a:lnTo>
                    <a:pt x="4522" y="8948"/>
                  </a:lnTo>
                  <a:lnTo>
                    <a:pt x="4700" y="9031"/>
                  </a:lnTo>
                  <a:lnTo>
                    <a:pt x="4878" y="9109"/>
                  </a:lnTo>
                  <a:lnTo>
                    <a:pt x="5063" y="9182"/>
                  </a:lnTo>
                  <a:lnTo>
                    <a:pt x="5248" y="9260"/>
                  </a:lnTo>
                  <a:lnTo>
                    <a:pt x="5426" y="9329"/>
                  </a:lnTo>
                  <a:lnTo>
                    <a:pt x="5619" y="9397"/>
                  </a:lnTo>
                  <a:lnTo>
                    <a:pt x="5812" y="9466"/>
                  </a:lnTo>
                  <a:lnTo>
                    <a:pt x="6004" y="9530"/>
                  </a:lnTo>
                  <a:lnTo>
                    <a:pt x="6205" y="9595"/>
                  </a:lnTo>
                  <a:lnTo>
                    <a:pt x="6397" y="9655"/>
                  </a:lnTo>
                  <a:lnTo>
                    <a:pt x="6605" y="9710"/>
                  </a:lnTo>
                  <a:lnTo>
                    <a:pt x="6805" y="9765"/>
                  </a:lnTo>
                  <a:lnTo>
                    <a:pt x="7005" y="9820"/>
                  </a:lnTo>
                  <a:lnTo>
                    <a:pt x="7213" y="9871"/>
                  </a:lnTo>
                  <a:lnTo>
                    <a:pt x="7420" y="9916"/>
                  </a:lnTo>
                  <a:lnTo>
                    <a:pt x="7628" y="9962"/>
                  </a:lnTo>
                  <a:lnTo>
                    <a:pt x="7835" y="10008"/>
                  </a:lnTo>
                  <a:cubicBezTo>
                    <a:pt x="7736" y="9258"/>
                    <a:pt x="7638" y="8509"/>
                    <a:pt x="7539" y="7759"/>
                  </a:cubicBezTo>
                  <a:lnTo>
                    <a:pt x="10000" y="6144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/>
            </a:p>
          </p:txBody>
        </p:sp>
        <p:sp>
          <p:nvSpPr>
            <p:cNvPr id="66" name="Freeform 6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-53453586" y="-1173127"/>
              <a:ext cx="60999224" cy="43890433"/>
            </a:xfrm>
            <a:custGeom>
              <a:avLst/>
              <a:gdLst>
                <a:gd name="T0" fmla="*/ 2147483647 w 5608"/>
                <a:gd name="T1" fmla="*/ 2147483647 h 4036"/>
                <a:gd name="T2" fmla="*/ 2147483647 w 5608"/>
                <a:gd name="T3" fmla="*/ 2147483647 h 4036"/>
                <a:gd name="T4" fmla="*/ 2147483647 w 5608"/>
                <a:gd name="T5" fmla="*/ 2147483647 h 4036"/>
                <a:gd name="T6" fmla="*/ 2147483647 w 5608"/>
                <a:gd name="T7" fmla="*/ 2147483647 h 4036"/>
                <a:gd name="T8" fmla="*/ 2147483647 w 5608"/>
                <a:gd name="T9" fmla="*/ 2147483647 h 4036"/>
                <a:gd name="T10" fmla="*/ 2147483647 w 5608"/>
                <a:gd name="T11" fmla="*/ 2147483647 h 4036"/>
                <a:gd name="T12" fmla="*/ 2147483647 w 5608"/>
                <a:gd name="T13" fmla="*/ 2147483647 h 4036"/>
                <a:gd name="T14" fmla="*/ 2147483647 w 5608"/>
                <a:gd name="T15" fmla="*/ 2147483647 h 4036"/>
                <a:gd name="T16" fmla="*/ 2147483647 w 5608"/>
                <a:gd name="T17" fmla="*/ 2147483647 h 4036"/>
                <a:gd name="T18" fmla="*/ 2147483647 w 5608"/>
                <a:gd name="T19" fmla="*/ 2147483647 h 4036"/>
                <a:gd name="T20" fmla="*/ 2147483647 w 5608"/>
                <a:gd name="T21" fmla="*/ 2147483647 h 4036"/>
                <a:gd name="T22" fmla="*/ 2147483647 w 5608"/>
                <a:gd name="T23" fmla="*/ 2147483647 h 4036"/>
                <a:gd name="T24" fmla="*/ 2147483647 w 5608"/>
                <a:gd name="T25" fmla="*/ 2147483647 h 4036"/>
                <a:gd name="T26" fmla="*/ 2147483647 w 5608"/>
                <a:gd name="T27" fmla="*/ 2147483647 h 4036"/>
                <a:gd name="T28" fmla="*/ 2147483647 w 5608"/>
                <a:gd name="T29" fmla="*/ 2147483647 h 4036"/>
                <a:gd name="T30" fmla="*/ 2147483647 w 5608"/>
                <a:gd name="T31" fmla="*/ 2147483647 h 4036"/>
                <a:gd name="T32" fmla="*/ 2147483647 w 5608"/>
                <a:gd name="T33" fmla="*/ 2147483647 h 4036"/>
                <a:gd name="T34" fmla="*/ 2147483647 w 5608"/>
                <a:gd name="T35" fmla="*/ 2147483647 h 4036"/>
                <a:gd name="T36" fmla="*/ 2147483647 w 5608"/>
                <a:gd name="T37" fmla="*/ 2147483647 h 4036"/>
                <a:gd name="T38" fmla="*/ 2147483647 w 5608"/>
                <a:gd name="T39" fmla="*/ 2147483647 h 4036"/>
                <a:gd name="T40" fmla="*/ 2147483647 w 5608"/>
                <a:gd name="T41" fmla="*/ 2147483647 h 4036"/>
                <a:gd name="T42" fmla="*/ 2147483647 w 5608"/>
                <a:gd name="T43" fmla="*/ 2147483647 h 4036"/>
                <a:gd name="T44" fmla="*/ 2147483647 w 5608"/>
                <a:gd name="T45" fmla="*/ 2147483647 h 4036"/>
                <a:gd name="T46" fmla="*/ 2147483647 w 5608"/>
                <a:gd name="T47" fmla="*/ 2147483647 h 4036"/>
                <a:gd name="T48" fmla="*/ 2147483647 w 5608"/>
                <a:gd name="T49" fmla="*/ 2147483647 h 4036"/>
                <a:gd name="T50" fmla="*/ 2147483647 w 5608"/>
                <a:gd name="T51" fmla="*/ 2147483647 h 4036"/>
                <a:gd name="T52" fmla="*/ 2147483647 w 5608"/>
                <a:gd name="T53" fmla="*/ 2147483647 h 4036"/>
                <a:gd name="T54" fmla="*/ 2147483647 w 5608"/>
                <a:gd name="T55" fmla="*/ 2147483647 h 4036"/>
                <a:gd name="T56" fmla="*/ 2147483647 w 5608"/>
                <a:gd name="T57" fmla="*/ 2147483647 h 4036"/>
                <a:gd name="T58" fmla="*/ 2147483647 w 5608"/>
                <a:gd name="T59" fmla="*/ 2147483647 h 4036"/>
                <a:gd name="T60" fmla="*/ 2147483647 w 5608"/>
                <a:gd name="T61" fmla="*/ 2147483647 h 4036"/>
                <a:gd name="T62" fmla="*/ 2147483647 w 5608"/>
                <a:gd name="T63" fmla="*/ 2147483647 h 4036"/>
                <a:gd name="T64" fmla="*/ 2147483647 w 5608"/>
                <a:gd name="T65" fmla="*/ 2147483647 h 4036"/>
                <a:gd name="T66" fmla="*/ 2147483647 w 5608"/>
                <a:gd name="T67" fmla="*/ 2147483647 h 4036"/>
                <a:gd name="T68" fmla="*/ 2147483647 w 5608"/>
                <a:gd name="T69" fmla="*/ 2147483647 h 4036"/>
                <a:gd name="T70" fmla="*/ 2147483647 w 5608"/>
                <a:gd name="T71" fmla="*/ 2147483647 h 4036"/>
                <a:gd name="T72" fmla="*/ 2147483647 w 5608"/>
                <a:gd name="T73" fmla="*/ 2147483647 h 4036"/>
                <a:gd name="T74" fmla="*/ 2147483647 w 5608"/>
                <a:gd name="T75" fmla="*/ 2147483647 h 4036"/>
                <a:gd name="T76" fmla="*/ 2147483647 w 5608"/>
                <a:gd name="T77" fmla="*/ 2147483647 h 4036"/>
                <a:gd name="T78" fmla="*/ 2147483647 w 5608"/>
                <a:gd name="T79" fmla="*/ 2147483647 h 4036"/>
                <a:gd name="T80" fmla="*/ 2147483647 w 5608"/>
                <a:gd name="T81" fmla="*/ 2147483647 h 4036"/>
                <a:gd name="T82" fmla="*/ 2147483647 w 5608"/>
                <a:gd name="T83" fmla="*/ 2147483647 h 4036"/>
                <a:gd name="T84" fmla="*/ 2147483647 w 5608"/>
                <a:gd name="T85" fmla="*/ 2147483647 h 4036"/>
                <a:gd name="T86" fmla="*/ 2147483647 w 5608"/>
                <a:gd name="T87" fmla="*/ 2147483647 h 4036"/>
                <a:gd name="T88" fmla="*/ 2147483647 w 5608"/>
                <a:gd name="T89" fmla="*/ 2147483647 h 4036"/>
                <a:gd name="T90" fmla="*/ 2147483647 w 5608"/>
                <a:gd name="T91" fmla="*/ 2147483647 h 4036"/>
                <a:gd name="T92" fmla="*/ 2147483647 w 5608"/>
                <a:gd name="T93" fmla="*/ 2147483647 h 4036"/>
                <a:gd name="T94" fmla="*/ 2147483647 w 5608"/>
                <a:gd name="T95" fmla="*/ 2147483647 h 4036"/>
                <a:gd name="T96" fmla="*/ 2147483647 w 5608"/>
                <a:gd name="T97" fmla="*/ 2147483647 h 4036"/>
                <a:gd name="T98" fmla="*/ 2147483647 w 5608"/>
                <a:gd name="T99" fmla="*/ 2147483647 h 4036"/>
                <a:gd name="T100" fmla="*/ 2147483647 w 5608"/>
                <a:gd name="T101" fmla="*/ 2147483647 h 4036"/>
                <a:gd name="T102" fmla="*/ 2147483647 w 5608"/>
                <a:gd name="T103" fmla="*/ 2147483647 h 4036"/>
                <a:gd name="T104" fmla="*/ 2147483647 w 5608"/>
                <a:gd name="T105" fmla="*/ 2147483647 h 40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608"/>
                <a:gd name="T160" fmla="*/ 0 h 4036"/>
                <a:gd name="T161" fmla="*/ 5608 w 5608"/>
                <a:gd name="T162" fmla="*/ 4036 h 4036"/>
                <a:gd name="connsiteX0" fmla="*/ 5615 w 9995"/>
                <a:gd name="connsiteY0" fmla="*/ 0 h 10000"/>
                <a:gd name="connsiteX1" fmla="*/ 5615 w 9995"/>
                <a:gd name="connsiteY1" fmla="*/ 0 h 10000"/>
                <a:gd name="connsiteX2" fmla="*/ 5606 w 9995"/>
                <a:gd name="connsiteY2" fmla="*/ 99 h 10000"/>
                <a:gd name="connsiteX3" fmla="*/ 5592 w 9995"/>
                <a:gd name="connsiteY3" fmla="*/ 201 h 10000"/>
                <a:gd name="connsiteX4" fmla="*/ 5580 w 9995"/>
                <a:gd name="connsiteY4" fmla="*/ 300 h 10000"/>
                <a:gd name="connsiteX5" fmla="*/ 5565 w 9995"/>
                <a:gd name="connsiteY5" fmla="*/ 394 h 10000"/>
                <a:gd name="connsiteX6" fmla="*/ 5547 w 9995"/>
                <a:gd name="connsiteY6" fmla="*/ 491 h 10000"/>
                <a:gd name="connsiteX7" fmla="*/ 5528 w 9995"/>
                <a:gd name="connsiteY7" fmla="*/ 587 h 10000"/>
                <a:gd name="connsiteX8" fmla="*/ 5508 w 9995"/>
                <a:gd name="connsiteY8" fmla="*/ 684 h 10000"/>
                <a:gd name="connsiteX9" fmla="*/ 5487 w 9995"/>
                <a:gd name="connsiteY9" fmla="*/ 778 h 10000"/>
                <a:gd name="connsiteX10" fmla="*/ 5465 w 9995"/>
                <a:gd name="connsiteY10" fmla="*/ 870 h 10000"/>
                <a:gd name="connsiteX11" fmla="*/ 5439 w 9995"/>
                <a:gd name="connsiteY11" fmla="*/ 961 h 10000"/>
                <a:gd name="connsiteX12" fmla="*/ 5415 w 9995"/>
                <a:gd name="connsiteY12" fmla="*/ 1053 h 10000"/>
                <a:gd name="connsiteX13" fmla="*/ 5387 w 9995"/>
                <a:gd name="connsiteY13" fmla="*/ 1145 h 10000"/>
                <a:gd name="connsiteX14" fmla="*/ 5358 w 9995"/>
                <a:gd name="connsiteY14" fmla="*/ 1231 h 10000"/>
                <a:gd name="connsiteX15" fmla="*/ 5328 w 9995"/>
                <a:gd name="connsiteY15" fmla="*/ 1318 h 10000"/>
                <a:gd name="connsiteX16" fmla="*/ 5298 w 9995"/>
                <a:gd name="connsiteY16" fmla="*/ 1405 h 10000"/>
                <a:gd name="connsiteX17" fmla="*/ 5266 w 9995"/>
                <a:gd name="connsiteY17" fmla="*/ 1494 h 10000"/>
                <a:gd name="connsiteX18" fmla="*/ 5232 w 9995"/>
                <a:gd name="connsiteY18" fmla="*/ 1578 h 10000"/>
                <a:gd name="connsiteX19" fmla="*/ 5196 w 9995"/>
                <a:gd name="connsiteY19" fmla="*/ 1663 h 10000"/>
                <a:gd name="connsiteX20" fmla="*/ 5160 w 9995"/>
                <a:gd name="connsiteY20" fmla="*/ 1742 h 10000"/>
                <a:gd name="connsiteX21" fmla="*/ 5121 w 9995"/>
                <a:gd name="connsiteY21" fmla="*/ 1824 h 10000"/>
                <a:gd name="connsiteX22" fmla="*/ 5082 w 9995"/>
                <a:gd name="connsiteY22" fmla="*/ 1903 h 10000"/>
                <a:gd name="connsiteX23" fmla="*/ 5043 w 9995"/>
                <a:gd name="connsiteY23" fmla="*/ 1985 h 10000"/>
                <a:gd name="connsiteX24" fmla="*/ 5002 w 9995"/>
                <a:gd name="connsiteY24" fmla="*/ 2059 h 10000"/>
                <a:gd name="connsiteX25" fmla="*/ 4959 w 9995"/>
                <a:gd name="connsiteY25" fmla="*/ 2133 h 10000"/>
                <a:gd name="connsiteX26" fmla="*/ 4914 w 9995"/>
                <a:gd name="connsiteY26" fmla="*/ 2210 h 10000"/>
                <a:gd name="connsiteX27" fmla="*/ 4870 w 9995"/>
                <a:gd name="connsiteY27" fmla="*/ 2282 h 10000"/>
                <a:gd name="connsiteX28" fmla="*/ 4823 w 9995"/>
                <a:gd name="connsiteY28" fmla="*/ 2354 h 10000"/>
                <a:gd name="connsiteX29" fmla="*/ 4777 w 9995"/>
                <a:gd name="connsiteY29" fmla="*/ 2426 h 10000"/>
                <a:gd name="connsiteX30" fmla="*/ 4729 w 9995"/>
                <a:gd name="connsiteY30" fmla="*/ 2495 h 10000"/>
                <a:gd name="connsiteX31" fmla="*/ 4679 w 9995"/>
                <a:gd name="connsiteY31" fmla="*/ 2562 h 10000"/>
                <a:gd name="connsiteX32" fmla="*/ 4629 w 9995"/>
                <a:gd name="connsiteY32" fmla="*/ 2626 h 10000"/>
                <a:gd name="connsiteX33" fmla="*/ 4577 w 9995"/>
                <a:gd name="connsiteY33" fmla="*/ 2691 h 10000"/>
                <a:gd name="connsiteX34" fmla="*/ 4526 w 9995"/>
                <a:gd name="connsiteY34" fmla="*/ 2753 h 10000"/>
                <a:gd name="connsiteX35" fmla="*/ 4470 w 9995"/>
                <a:gd name="connsiteY35" fmla="*/ 2817 h 10000"/>
                <a:gd name="connsiteX36" fmla="*/ 4417 w 9995"/>
                <a:gd name="connsiteY36" fmla="*/ 2874 h 10000"/>
                <a:gd name="connsiteX37" fmla="*/ 4362 w 9995"/>
                <a:gd name="connsiteY37" fmla="*/ 2934 h 10000"/>
                <a:gd name="connsiteX38" fmla="*/ 4305 w 9995"/>
                <a:gd name="connsiteY38" fmla="*/ 2988 h 10000"/>
                <a:gd name="connsiteX39" fmla="*/ 4248 w 9995"/>
                <a:gd name="connsiteY39" fmla="*/ 3043 h 10000"/>
                <a:gd name="connsiteX40" fmla="*/ 4190 w 9995"/>
                <a:gd name="connsiteY40" fmla="*/ 3097 h 10000"/>
                <a:gd name="connsiteX41" fmla="*/ 4132 w 9995"/>
                <a:gd name="connsiteY41" fmla="*/ 3149 h 10000"/>
                <a:gd name="connsiteX42" fmla="*/ 4071 w 9995"/>
                <a:gd name="connsiteY42" fmla="*/ 3196 h 10000"/>
                <a:gd name="connsiteX43" fmla="*/ 4010 w 9995"/>
                <a:gd name="connsiteY43" fmla="*/ 3243 h 10000"/>
                <a:gd name="connsiteX44" fmla="*/ 3950 w 9995"/>
                <a:gd name="connsiteY44" fmla="*/ 3290 h 10000"/>
                <a:gd name="connsiteX45" fmla="*/ 3887 w 9995"/>
                <a:gd name="connsiteY45" fmla="*/ 3335 h 10000"/>
                <a:gd name="connsiteX46" fmla="*/ 3823 w 9995"/>
                <a:gd name="connsiteY46" fmla="*/ 3377 h 10000"/>
                <a:gd name="connsiteX47" fmla="*/ 3759 w 9995"/>
                <a:gd name="connsiteY47" fmla="*/ 3417 h 10000"/>
                <a:gd name="connsiteX48" fmla="*/ 3695 w 9995"/>
                <a:gd name="connsiteY48" fmla="*/ 3454 h 10000"/>
                <a:gd name="connsiteX49" fmla="*/ 3629 w 9995"/>
                <a:gd name="connsiteY49" fmla="*/ 3491 h 10000"/>
                <a:gd name="connsiteX50" fmla="*/ 3565 w 9995"/>
                <a:gd name="connsiteY50" fmla="*/ 3523 h 10000"/>
                <a:gd name="connsiteX51" fmla="*/ 3497 w 9995"/>
                <a:gd name="connsiteY51" fmla="*/ 3558 h 10000"/>
                <a:gd name="connsiteX52" fmla="*/ 3429 w 9995"/>
                <a:gd name="connsiteY52" fmla="*/ 3588 h 10000"/>
                <a:gd name="connsiteX53" fmla="*/ 3361 w 9995"/>
                <a:gd name="connsiteY53" fmla="*/ 3615 h 10000"/>
                <a:gd name="connsiteX54" fmla="*/ 3292 w 9995"/>
                <a:gd name="connsiteY54" fmla="*/ 3642 h 10000"/>
                <a:gd name="connsiteX55" fmla="*/ 3222 w 9995"/>
                <a:gd name="connsiteY55" fmla="*/ 3665 h 10000"/>
                <a:gd name="connsiteX56" fmla="*/ 3153 w 9995"/>
                <a:gd name="connsiteY56" fmla="*/ 3687 h 10000"/>
                <a:gd name="connsiteX57" fmla="*/ 3081 w 9995"/>
                <a:gd name="connsiteY57" fmla="*/ 3707 h 10000"/>
                <a:gd name="connsiteX58" fmla="*/ 3012 w 9995"/>
                <a:gd name="connsiteY58" fmla="*/ 3724 h 10000"/>
                <a:gd name="connsiteX59" fmla="*/ 2940 w 9995"/>
                <a:gd name="connsiteY59" fmla="*/ 3739 h 10000"/>
                <a:gd name="connsiteX60" fmla="*/ 2867 w 9995"/>
                <a:gd name="connsiteY60" fmla="*/ 3754 h 10000"/>
                <a:gd name="connsiteX61" fmla="*/ 2796 w 9995"/>
                <a:gd name="connsiteY61" fmla="*/ 3761 h 10000"/>
                <a:gd name="connsiteX62" fmla="*/ 2721 w 9995"/>
                <a:gd name="connsiteY62" fmla="*/ 3771 h 10000"/>
                <a:gd name="connsiteX63" fmla="*/ 2648 w 9995"/>
                <a:gd name="connsiteY63" fmla="*/ 3776 h 10000"/>
                <a:gd name="connsiteX64" fmla="*/ 2575 w 9995"/>
                <a:gd name="connsiteY64" fmla="*/ 3781 h 10000"/>
                <a:gd name="connsiteX65" fmla="*/ 2498 w 9995"/>
                <a:gd name="connsiteY65" fmla="*/ 3781 h 10000"/>
                <a:gd name="connsiteX66" fmla="*/ 2393 w 9995"/>
                <a:gd name="connsiteY66" fmla="*/ 3781 h 10000"/>
                <a:gd name="connsiteX67" fmla="*/ 2284 w 9995"/>
                <a:gd name="connsiteY67" fmla="*/ 3771 h 10000"/>
                <a:gd name="connsiteX68" fmla="*/ 2179 w 9995"/>
                <a:gd name="connsiteY68" fmla="*/ 3759 h 10000"/>
                <a:gd name="connsiteX69" fmla="*/ 2074 w 9995"/>
                <a:gd name="connsiteY69" fmla="*/ 3741 h 10000"/>
                <a:gd name="connsiteX70" fmla="*/ 1970 w 9995"/>
                <a:gd name="connsiteY70" fmla="*/ 3719 h 10000"/>
                <a:gd name="connsiteX71" fmla="*/ 1867 w 9995"/>
                <a:gd name="connsiteY71" fmla="*/ 3692 h 10000"/>
                <a:gd name="connsiteX72" fmla="*/ 1765 w 9995"/>
                <a:gd name="connsiteY72" fmla="*/ 3662 h 10000"/>
                <a:gd name="connsiteX73" fmla="*/ 1665 w 9995"/>
                <a:gd name="connsiteY73" fmla="*/ 3627 h 10000"/>
                <a:gd name="connsiteX74" fmla="*/ 0 w 9995"/>
                <a:gd name="connsiteY74" fmla="*/ 6085 h 10000"/>
                <a:gd name="connsiteX75" fmla="*/ 209 w 9995"/>
                <a:gd name="connsiteY75" fmla="*/ 9512 h 10000"/>
                <a:gd name="connsiteX76" fmla="*/ 344 w 9995"/>
                <a:gd name="connsiteY76" fmla="*/ 9569 h 10000"/>
                <a:gd name="connsiteX77" fmla="*/ 481 w 9995"/>
                <a:gd name="connsiteY77" fmla="*/ 9623 h 10000"/>
                <a:gd name="connsiteX78" fmla="*/ 621 w 9995"/>
                <a:gd name="connsiteY78" fmla="*/ 9673 h 10000"/>
                <a:gd name="connsiteX79" fmla="*/ 758 w 9995"/>
                <a:gd name="connsiteY79" fmla="*/ 9720 h 10000"/>
                <a:gd name="connsiteX80" fmla="*/ 899 w 9995"/>
                <a:gd name="connsiteY80" fmla="*/ 9765 h 10000"/>
                <a:gd name="connsiteX81" fmla="*/ 1040 w 9995"/>
                <a:gd name="connsiteY81" fmla="*/ 9804 h 10000"/>
                <a:gd name="connsiteX82" fmla="*/ 1182 w 9995"/>
                <a:gd name="connsiteY82" fmla="*/ 9839 h 10000"/>
                <a:gd name="connsiteX83" fmla="*/ 1325 w 9995"/>
                <a:gd name="connsiteY83" fmla="*/ 9874 h 10000"/>
                <a:gd name="connsiteX84" fmla="*/ 1471 w 9995"/>
                <a:gd name="connsiteY84" fmla="*/ 9903 h 10000"/>
                <a:gd name="connsiteX85" fmla="*/ 1614 w 9995"/>
                <a:gd name="connsiteY85" fmla="*/ 9926 h 10000"/>
                <a:gd name="connsiteX86" fmla="*/ 1760 w 9995"/>
                <a:gd name="connsiteY86" fmla="*/ 9948 h 10000"/>
                <a:gd name="connsiteX87" fmla="*/ 1906 w 9995"/>
                <a:gd name="connsiteY87" fmla="*/ 9965 h 10000"/>
                <a:gd name="connsiteX88" fmla="*/ 2052 w 9995"/>
                <a:gd name="connsiteY88" fmla="*/ 9980 h 10000"/>
                <a:gd name="connsiteX89" fmla="*/ 2202 w 9995"/>
                <a:gd name="connsiteY89" fmla="*/ 9990 h 10000"/>
                <a:gd name="connsiteX90" fmla="*/ 2350 w 9995"/>
                <a:gd name="connsiteY90" fmla="*/ 9995 h 10000"/>
                <a:gd name="connsiteX91" fmla="*/ 2498 w 9995"/>
                <a:gd name="connsiteY91" fmla="*/ 10000 h 10000"/>
                <a:gd name="connsiteX92" fmla="*/ 2677 w 9995"/>
                <a:gd name="connsiteY92" fmla="*/ 9995 h 10000"/>
                <a:gd name="connsiteX93" fmla="*/ 2850 w 9995"/>
                <a:gd name="connsiteY93" fmla="*/ 9988 h 10000"/>
                <a:gd name="connsiteX94" fmla="*/ 3024 w 9995"/>
                <a:gd name="connsiteY94" fmla="*/ 9975 h 10000"/>
                <a:gd name="connsiteX95" fmla="*/ 3195 w 9995"/>
                <a:gd name="connsiteY95" fmla="*/ 9953 h 10000"/>
                <a:gd name="connsiteX96" fmla="*/ 3368 w 9995"/>
                <a:gd name="connsiteY96" fmla="*/ 9931 h 10000"/>
                <a:gd name="connsiteX97" fmla="*/ 3538 w 9995"/>
                <a:gd name="connsiteY97" fmla="*/ 9898 h 10000"/>
                <a:gd name="connsiteX98" fmla="*/ 3709 w 9995"/>
                <a:gd name="connsiteY98" fmla="*/ 9866 h 10000"/>
                <a:gd name="connsiteX99" fmla="*/ 3877 w 9995"/>
                <a:gd name="connsiteY99" fmla="*/ 9824 h 10000"/>
                <a:gd name="connsiteX100" fmla="*/ 4042 w 9995"/>
                <a:gd name="connsiteY100" fmla="*/ 9779 h 10000"/>
                <a:gd name="connsiteX101" fmla="*/ 4210 w 9995"/>
                <a:gd name="connsiteY101" fmla="*/ 9730 h 10000"/>
                <a:gd name="connsiteX102" fmla="*/ 4372 w 9995"/>
                <a:gd name="connsiteY102" fmla="*/ 9673 h 10000"/>
                <a:gd name="connsiteX103" fmla="*/ 4536 w 9995"/>
                <a:gd name="connsiteY103" fmla="*/ 9616 h 10000"/>
                <a:gd name="connsiteX104" fmla="*/ 4697 w 9995"/>
                <a:gd name="connsiteY104" fmla="*/ 9552 h 10000"/>
                <a:gd name="connsiteX105" fmla="*/ 4857 w 9995"/>
                <a:gd name="connsiteY105" fmla="*/ 9482 h 10000"/>
                <a:gd name="connsiteX106" fmla="*/ 5014 w 9995"/>
                <a:gd name="connsiteY106" fmla="*/ 9405 h 10000"/>
                <a:gd name="connsiteX107" fmla="*/ 5171 w 9995"/>
                <a:gd name="connsiteY107" fmla="*/ 9329 h 10000"/>
                <a:gd name="connsiteX108" fmla="*/ 5326 w 9995"/>
                <a:gd name="connsiteY108" fmla="*/ 9244 h 10000"/>
                <a:gd name="connsiteX109" fmla="*/ 5480 w 9995"/>
                <a:gd name="connsiteY109" fmla="*/ 9158 h 10000"/>
                <a:gd name="connsiteX110" fmla="*/ 5631 w 9995"/>
                <a:gd name="connsiteY110" fmla="*/ 9063 h 10000"/>
                <a:gd name="connsiteX111" fmla="*/ 5781 w 9995"/>
                <a:gd name="connsiteY111" fmla="*/ 8967 h 10000"/>
                <a:gd name="connsiteX112" fmla="*/ 5931 w 9995"/>
                <a:gd name="connsiteY112" fmla="*/ 8865 h 10000"/>
                <a:gd name="connsiteX113" fmla="*/ 6075 w 9995"/>
                <a:gd name="connsiteY113" fmla="*/ 8759 h 10000"/>
                <a:gd name="connsiteX114" fmla="*/ 6221 w 9995"/>
                <a:gd name="connsiteY114" fmla="*/ 8652 h 10000"/>
                <a:gd name="connsiteX115" fmla="*/ 6364 w 9995"/>
                <a:gd name="connsiteY115" fmla="*/ 8536 h 10000"/>
                <a:gd name="connsiteX116" fmla="*/ 6505 w 9995"/>
                <a:gd name="connsiteY116" fmla="*/ 8417 h 10000"/>
                <a:gd name="connsiteX117" fmla="*/ 6642 w 9995"/>
                <a:gd name="connsiteY117" fmla="*/ 8295 h 10000"/>
                <a:gd name="connsiteX118" fmla="*/ 6780 w 9995"/>
                <a:gd name="connsiteY118" fmla="*/ 8169 h 10000"/>
                <a:gd name="connsiteX119" fmla="*/ 6913 w 9995"/>
                <a:gd name="connsiteY119" fmla="*/ 8040 h 10000"/>
                <a:gd name="connsiteX120" fmla="*/ 7045 w 9995"/>
                <a:gd name="connsiteY120" fmla="*/ 7904 h 10000"/>
                <a:gd name="connsiteX121" fmla="*/ 7175 w 9995"/>
                <a:gd name="connsiteY121" fmla="*/ 7768 h 10000"/>
                <a:gd name="connsiteX122" fmla="*/ 7304 w 9995"/>
                <a:gd name="connsiteY122" fmla="*/ 7624 h 10000"/>
                <a:gd name="connsiteX123" fmla="*/ 7429 w 9995"/>
                <a:gd name="connsiteY123" fmla="*/ 7480 h 10000"/>
                <a:gd name="connsiteX124" fmla="*/ 7552 w 9995"/>
                <a:gd name="connsiteY124" fmla="*/ 7329 h 10000"/>
                <a:gd name="connsiteX125" fmla="*/ 7673 w 9995"/>
                <a:gd name="connsiteY125" fmla="*/ 7178 h 10000"/>
                <a:gd name="connsiteX126" fmla="*/ 7792 w 9995"/>
                <a:gd name="connsiteY126" fmla="*/ 7024 h 10000"/>
                <a:gd name="connsiteX127" fmla="*/ 7907 w 9995"/>
                <a:gd name="connsiteY127" fmla="*/ 6861 h 10000"/>
                <a:gd name="connsiteX128" fmla="*/ 8022 w 9995"/>
                <a:gd name="connsiteY128" fmla="*/ 6697 h 10000"/>
                <a:gd name="connsiteX129" fmla="*/ 8133 w 9995"/>
                <a:gd name="connsiteY129" fmla="*/ 6534 h 10000"/>
                <a:gd name="connsiteX130" fmla="*/ 8240 w 9995"/>
                <a:gd name="connsiteY130" fmla="*/ 6365 h 10000"/>
                <a:gd name="connsiteX131" fmla="*/ 8347 w 9995"/>
                <a:gd name="connsiteY131" fmla="*/ 6189 h 10000"/>
                <a:gd name="connsiteX132" fmla="*/ 8450 w 9995"/>
                <a:gd name="connsiteY132" fmla="*/ 6016 h 10000"/>
                <a:gd name="connsiteX133" fmla="*/ 8552 w 9995"/>
                <a:gd name="connsiteY133" fmla="*/ 5835 h 10000"/>
                <a:gd name="connsiteX134" fmla="*/ 8650 w 9995"/>
                <a:gd name="connsiteY134" fmla="*/ 5652 h 10000"/>
                <a:gd name="connsiteX135" fmla="*/ 8745 w 9995"/>
                <a:gd name="connsiteY135" fmla="*/ 5468 h 10000"/>
                <a:gd name="connsiteX136" fmla="*/ 8837 w 9995"/>
                <a:gd name="connsiteY136" fmla="*/ 5278 h 10000"/>
                <a:gd name="connsiteX137" fmla="*/ 8927 w 9995"/>
                <a:gd name="connsiteY137" fmla="*/ 5089 h 10000"/>
                <a:gd name="connsiteX138" fmla="*/ 9014 w 9995"/>
                <a:gd name="connsiteY138" fmla="*/ 4893 h 10000"/>
                <a:gd name="connsiteX139" fmla="*/ 9098 w 9995"/>
                <a:gd name="connsiteY139" fmla="*/ 4698 h 10000"/>
                <a:gd name="connsiteX140" fmla="*/ 9178 w 9995"/>
                <a:gd name="connsiteY140" fmla="*/ 4500 h 10000"/>
                <a:gd name="connsiteX141" fmla="*/ 9256 w 9995"/>
                <a:gd name="connsiteY141" fmla="*/ 4294 h 10000"/>
                <a:gd name="connsiteX142" fmla="*/ 9330 w 9995"/>
                <a:gd name="connsiteY142" fmla="*/ 4091 h 10000"/>
                <a:gd name="connsiteX143" fmla="*/ 9401 w 9995"/>
                <a:gd name="connsiteY143" fmla="*/ 3885 h 10000"/>
                <a:gd name="connsiteX144" fmla="*/ 9470 w 9995"/>
                <a:gd name="connsiteY144" fmla="*/ 3674 h 10000"/>
                <a:gd name="connsiteX145" fmla="*/ 9535 w 9995"/>
                <a:gd name="connsiteY145" fmla="*/ 3464 h 10000"/>
                <a:gd name="connsiteX146" fmla="*/ 9599 w 9995"/>
                <a:gd name="connsiteY146" fmla="*/ 3248 h 10000"/>
                <a:gd name="connsiteX147" fmla="*/ 9656 w 9995"/>
                <a:gd name="connsiteY147" fmla="*/ 3030 h 10000"/>
                <a:gd name="connsiteX148" fmla="*/ 9711 w 9995"/>
                <a:gd name="connsiteY148" fmla="*/ 2815 h 10000"/>
                <a:gd name="connsiteX149" fmla="*/ 9763 w 9995"/>
                <a:gd name="connsiteY149" fmla="*/ 2592 h 10000"/>
                <a:gd name="connsiteX150" fmla="*/ 9813 w 9995"/>
                <a:gd name="connsiteY150" fmla="*/ 2369 h 10000"/>
                <a:gd name="connsiteX151" fmla="*/ 9856 w 9995"/>
                <a:gd name="connsiteY151" fmla="*/ 2143 h 10000"/>
                <a:gd name="connsiteX152" fmla="*/ 9898 w 9995"/>
                <a:gd name="connsiteY152" fmla="*/ 1918 h 10000"/>
                <a:gd name="connsiteX153" fmla="*/ 9936 w 9995"/>
                <a:gd name="connsiteY153" fmla="*/ 1690 h 10000"/>
                <a:gd name="connsiteX154" fmla="*/ 9970 w 9995"/>
                <a:gd name="connsiteY154" fmla="*/ 1457 h 10000"/>
                <a:gd name="connsiteX155" fmla="*/ 9995 w 9995"/>
                <a:gd name="connsiteY155" fmla="*/ 1217 h 10000"/>
                <a:gd name="connsiteX156" fmla="*/ 7611 w 9995"/>
                <a:gd name="connsiteY156" fmla="*/ 1876 h 10000"/>
                <a:gd name="connsiteX157" fmla="*/ 5615 w 9995"/>
                <a:gd name="connsiteY157" fmla="*/ 0 h 10000"/>
                <a:gd name="connsiteX0" fmla="*/ 5618 w 10002"/>
                <a:gd name="connsiteY0" fmla="*/ 0 h 10000"/>
                <a:gd name="connsiteX1" fmla="*/ 5618 w 10002"/>
                <a:gd name="connsiteY1" fmla="*/ 0 h 10000"/>
                <a:gd name="connsiteX2" fmla="*/ 5609 w 10002"/>
                <a:gd name="connsiteY2" fmla="*/ 99 h 10000"/>
                <a:gd name="connsiteX3" fmla="*/ 5595 w 10002"/>
                <a:gd name="connsiteY3" fmla="*/ 201 h 10000"/>
                <a:gd name="connsiteX4" fmla="*/ 5583 w 10002"/>
                <a:gd name="connsiteY4" fmla="*/ 300 h 10000"/>
                <a:gd name="connsiteX5" fmla="*/ 5568 w 10002"/>
                <a:gd name="connsiteY5" fmla="*/ 394 h 10000"/>
                <a:gd name="connsiteX6" fmla="*/ 5550 w 10002"/>
                <a:gd name="connsiteY6" fmla="*/ 491 h 10000"/>
                <a:gd name="connsiteX7" fmla="*/ 5531 w 10002"/>
                <a:gd name="connsiteY7" fmla="*/ 587 h 10000"/>
                <a:gd name="connsiteX8" fmla="*/ 5511 w 10002"/>
                <a:gd name="connsiteY8" fmla="*/ 684 h 10000"/>
                <a:gd name="connsiteX9" fmla="*/ 5490 w 10002"/>
                <a:gd name="connsiteY9" fmla="*/ 778 h 10000"/>
                <a:gd name="connsiteX10" fmla="*/ 5468 w 10002"/>
                <a:gd name="connsiteY10" fmla="*/ 870 h 10000"/>
                <a:gd name="connsiteX11" fmla="*/ 5442 w 10002"/>
                <a:gd name="connsiteY11" fmla="*/ 961 h 10000"/>
                <a:gd name="connsiteX12" fmla="*/ 5418 w 10002"/>
                <a:gd name="connsiteY12" fmla="*/ 1053 h 10000"/>
                <a:gd name="connsiteX13" fmla="*/ 5390 w 10002"/>
                <a:gd name="connsiteY13" fmla="*/ 1145 h 10000"/>
                <a:gd name="connsiteX14" fmla="*/ 5361 w 10002"/>
                <a:gd name="connsiteY14" fmla="*/ 1231 h 10000"/>
                <a:gd name="connsiteX15" fmla="*/ 5331 w 10002"/>
                <a:gd name="connsiteY15" fmla="*/ 1318 h 10000"/>
                <a:gd name="connsiteX16" fmla="*/ 5301 w 10002"/>
                <a:gd name="connsiteY16" fmla="*/ 1405 h 10000"/>
                <a:gd name="connsiteX17" fmla="*/ 5269 w 10002"/>
                <a:gd name="connsiteY17" fmla="*/ 1494 h 10000"/>
                <a:gd name="connsiteX18" fmla="*/ 5235 w 10002"/>
                <a:gd name="connsiteY18" fmla="*/ 1578 h 10000"/>
                <a:gd name="connsiteX19" fmla="*/ 5199 w 10002"/>
                <a:gd name="connsiteY19" fmla="*/ 1663 h 10000"/>
                <a:gd name="connsiteX20" fmla="*/ 5163 w 10002"/>
                <a:gd name="connsiteY20" fmla="*/ 1742 h 10000"/>
                <a:gd name="connsiteX21" fmla="*/ 5124 w 10002"/>
                <a:gd name="connsiteY21" fmla="*/ 1824 h 10000"/>
                <a:gd name="connsiteX22" fmla="*/ 5085 w 10002"/>
                <a:gd name="connsiteY22" fmla="*/ 1903 h 10000"/>
                <a:gd name="connsiteX23" fmla="*/ 5046 w 10002"/>
                <a:gd name="connsiteY23" fmla="*/ 1985 h 10000"/>
                <a:gd name="connsiteX24" fmla="*/ 5005 w 10002"/>
                <a:gd name="connsiteY24" fmla="*/ 2059 h 10000"/>
                <a:gd name="connsiteX25" fmla="*/ 4961 w 10002"/>
                <a:gd name="connsiteY25" fmla="*/ 2133 h 10000"/>
                <a:gd name="connsiteX26" fmla="*/ 4916 w 10002"/>
                <a:gd name="connsiteY26" fmla="*/ 2210 h 10000"/>
                <a:gd name="connsiteX27" fmla="*/ 4872 w 10002"/>
                <a:gd name="connsiteY27" fmla="*/ 2282 h 10000"/>
                <a:gd name="connsiteX28" fmla="*/ 4825 w 10002"/>
                <a:gd name="connsiteY28" fmla="*/ 2354 h 10000"/>
                <a:gd name="connsiteX29" fmla="*/ 4779 w 10002"/>
                <a:gd name="connsiteY29" fmla="*/ 2426 h 10000"/>
                <a:gd name="connsiteX30" fmla="*/ 4731 w 10002"/>
                <a:gd name="connsiteY30" fmla="*/ 2495 h 10000"/>
                <a:gd name="connsiteX31" fmla="*/ 4681 w 10002"/>
                <a:gd name="connsiteY31" fmla="*/ 2562 h 10000"/>
                <a:gd name="connsiteX32" fmla="*/ 4631 w 10002"/>
                <a:gd name="connsiteY32" fmla="*/ 2626 h 10000"/>
                <a:gd name="connsiteX33" fmla="*/ 4579 w 10002"/>
                <a:gd name="connsiteY33" fmla="*/ 2691 h 10000"/>
                <a:gd name="connsiteX34" fmla="*/ 4528 w 10002"/>
                <a:gd name="connsiteY34" fmla="*/ 2753 h 10000"/>
                <a:gd name="connsiteX35" fmla="*/ 4472 w 10002"/>
                <a:gd name="connsiteY35" fmla="*/ 2817 h 10000"/>
                <a:gd name="connsiteX36" fmla="*/ 4419 w 10002"/>
                <a:gd name="connsiteY36" fmla="*/ 2874 h 10000"/>
                <a:gd name="connsiteX37" fmla="*/ 4364 w 10002"/>
                <a:gd name="connsiteY37" fmla="*/ 2934 h 10000"/>
                <a:gd name="connsiteX38" fmla="*/ 4307 w 10002"/>
                <a:gd name="connsiteY38" fmla="*/ 2988 h 10000"/>
                <a:gd name="connsiteX39" fmla="*/ 4250 w 10002"/>
                <a:gd name="connsiteY39" fmla="*/ 3043 h 10000"/>
                <a:gd name="connsiteX40" fmla="*/ 4192 w 10002"/>
                <a:gd name="connsiteY40" fmla="*/ 3097 h 10000"/>
                <a:gd name="connsiteX41" fmla="*/ 4134 w 10002"/>
                <a:gd name="connsiteY41" fmla="*/ 3149 h 10000"/>
                <a:gd name="connsiteX42" fmla="*/ 4073 w 10002"/>
                <a:gd name="connsiteY42" fmla="*/ 3196 h 10000"/>
                <a:gd name="connsiteX43" fmla="*/ 4012 w 10002"/>
                <a:gd name="connsiteY43" fmla="*/ 3243 h 10000"/>
                <a:gd name="connsiteX44" fmla="*/ 3952 w 10002"/>
                <a:gd name="connsiteY44" fmla="*/ 3290 h 10000"/>
                <a:gd name="connsiteX45" fmla="*/ 3889 w 10002"/>
                <a:gd name="connsiteY45" fmla="*/ 3335 h 10000"/>
                <a:gd name="connsiteX46" fmla="*/ 3825 w 10002"/>
                <a:gd name="connsiteY46" fmla="*/ 3377 h 10000"/>
                <a:gd name="connsiteX47" fmla="*/ 3761 w 10002"/>
                <a:gd name="connsiteY47" fmla="*/ 3417 h 10000"/>
                <a:gd name="connsiteX48" fmla="*/ 3697 w 10002"/>
                <a:gd name="connsiteY48" fmla="*/ 3454 h 10000"/>
                <a:gd name="connsiteX49" fmla="*/ 3631 w 10002"/>
                <a:gd name="connsiteY49" fmla="*/ 3491 h 10000"/>
                <a:gd name="connsiteX50" fmla="*/ 3567 w 10002"/>
                <a:gd name="connsiteY50" fmla="*/ 3523 h 10000"/>
                <a:gd name="connsiteX51" fmla="*/ 3499 w 10002"/>
                <a:gd name="connsiteY51" fmla="*/ 3558 h 10000"/>
                <a:gd name="connsiteX52" fmla="*/ 3431 w 10002"/>
                <a:gd name="connsiteY52" fmla="*/ 3588 h 10000"/>
                <a:gd name="connsiteX53" fmla="*/ 3363 w 10002"/>
                <a:gd name="connsiteY53" fmla="*/ 3615 h 10000"/>
                <a:gd name="connsiteX54" fmla="*/ 3294 w 10002"/>
                <a:gd name="connsiteY54" fmla="*/ 3642 h 10000"/>
                <a:gd name="connsiteX55" fmla="*/ 3224 w 10002"/>
                <a:gd name="connsiteY55" fmla="*/ 3665 h 10000"/>
                <a:gd name="connsiteX56" fmla="*/ 3155 w 10002"/>
                <a:gd name="connsiteY56" fmla="*/ 3687 h 10000"/>
                <a:gd name="connsiteX57" fmla="*/ 3083 w 10002"/>
                <a:gd name="connsiteY57" fmla="*/ 3707 h 10000"/>
                <a:gd name="connsiteX58" fmla="*/ 3014 w 10002"/>
                <a:gd name="connsiteY58" fmla="*/ 3724 h 10000"/>
                <a:gd name="connsiteX59" fmla="*/ 2941 w 10002"/>
                <a:gd name="connsiteY59" fmla="*/ 3739 h 10000"/>
                <a:gd name="connsiteX60" fmla="*/ 2868 w 10002"/>
                <a:gd name="connsiteY60" fmla="*/ 3754 h 10000"/>
                <a:gd name="connsiteX61" fmla="*/ 2797 w 10002"/>
                <a:gd name="connsiteY61" fmla="*/ 3761 h 10000"/>
                <a:gd name="connsiteX62" fmla="*/ 2722 w 10002"/>
                <a:gd name="connsiteY62" fmla="*/ 3771 h 10000"/>
                <a:gd name="connsiteX63" fmla="*/ 2649 w 10002"/>
                <a:gd name="connsiteY63" fmla="*/ 3776 h 10000"/>
                <a:gd name="connsiteX64" fmla="*/ 2576 w 10002"/>
                <a:gd name="connsiteY64" fmla="*/ 3781 h 10000"/>
                <a:gd name="connsiteX65" fmla="*/ 2499 w 10002"/>
                <a:gd name="connsiteY65" fmla="*/ 3781 h 10000"/>
                <a:gd name="connsiteX66" fmla="*/ 2394 w 10002"/>
                <a:gd name="connsiteY66" fmla="*/ 3781 h 10000"/>
                <a:gd name="connsiteX67" fmla="*/ 2285 w 10002"/>
                <a:gd name="connsiteY67" fmla="*/ 3771 h 10000"/>
                <a:gd name="connsiteX68" fmla="*/ 2180 w 10002"/>
                <a:gd name="connsiteY68" fmla="*/ 3759 h 10000"/>
                <a:gd name="connsiteX69" fmla="*/ 2075 w 10002"/>
                <a:gd name="connsiteY69" fmla="*/ 3741 h 10000"/>
                <a:gd name="connsiteX70" fmla="*/ 1971 w 10002"/>
                <a:gd name="connsiteY70" fmla="*/ 3719 h 10000"/>
                <a:gd name="connsiteX71" fmla="*/ 1868 w 10002"/>
                <a:gd name="connsiteY71" fmla="*/ 3692 h 10000"/>
                <a:gd name="connsiteX72" fmla="*/ 1766 w 10002"/>
                <a:gd name="connsiteY72" fmla="*/ 3662 h 10000"/>
                <a:gd name="connsiteX73" fmla="*/ 1666 w 10002"/>
                <a:gd name="connsiteY73" fmla="*/ 3627 h 10000"/>
                <a:gd name="connsiteX74" fmla="*/ 0 w 10002"/>
                <a:gd name="connsiteY74" fmla="*/ 6085 h 10000"/>
                <a:gd name="connsiteX75" fmla="*/ 209 w 10002"/>
                <a:gd name="connsiteY75" fmla="*/ 9512 h 10000"/>
                <a:gd name="connsiteX76" fmla="*/ 344 w 10002"/>
                <a:gd name="connsiteY76" fmla="*/ 9569 h 10000"/>
                <a:gd name="connsiteX77" fmla="*/ 481 w 10002"/>
                <a:gd name="connsiteY77" fmla="*/ 9623 h 10000"/>
                <a:gd name="connsiteX78" fmla="*/ 621 w 10002"/>
                <a:gd name="connsiteY78" fmla="*/ 9673 h 10000"/>
                <a:gd name="connsiteX79" fmla="*/ 758 w 10002"/>
                <a:gd name="connsiteY79" fmla="*/ 9720 h 10000"/>
                <a:gd name="connsiteX80" fmla="*/ 899 w 10002"/>
                <a:gd name="connsiteY80" fmla="*/ 9765 h 10000"/>
                <a:gd name="connsiteX81" fmla="*/ 1041 w 10002"/>
                <a:gd name="connsiteY81" fmla="*/ 9804 h 10000"/>
                <a:gd name="connsiteX82" fmla="*/ 1183 w 10002"/>
                <a:gd name="connsiteY82" fmla="*/ 9839 h 10000"/>
                <a:gd name="connsiteX83" fmla="*/ 1326 w 10002"/>
                <a:gd name="connsiteY83" fmla="*/ 9874 h 10000"/>
                <a:gd name="connsiteX84" fmla="*/ 1472 w 10002"/>
                <a:gd name="connsiteY84" fmla="*/ 9903 h 10000"/>
                <a:gd name="connsiteX85" fmla="*/ 1615 w 10002"/>
                <a:gd name="connsiteY85" fmla="*/ 9926 h 10000"/>
                <a:gd name="connsiteX86" fmla="*/ 1761 w 10002"/>
                <a:gd name="connsiteY86" fmla="*/ 9948 h 10000"/>
                <a:gd name="connsiteX87" fmla="*/ 1907 w 10002"/>
                <a:gd name="connsiteY87" fmla="*/ 9965 h 10000"/>
                <a:gd name="connsiteX88" fmla="*/ 2053 w 10002"/>
                <a:gd name="connsiteY88" fmla="*/ 9980 h 10000"/>
                <a:gd name="connsiteX89" fmla="*/ 2203 w 10002"/>
                <a:gd name="connsiteY89" fmla="*/ 9990 h 10000"/>
                <a:gd name="connsiteX90" fmla="*/ 2351 w 10002"/>
                <a:gd name="connsiteY90" fmla="*/ 9995 h 10000"/>
                <a:gd name="connsiteX91" fmla="*/ 2499 w 10002"/>
                <a:gd name="connsiteY91" fmla="*/ 10000 h 10000"/>
                <a:gd name="connsiteX92" fmla="*/ 2678 w 10002"/>
                <a:gd name="connsiteY92" fmla="*/ 9995 h 10000"/>
                <a:gd name="connsiteX93" fmla="*/ 2851 w 10002"/>
                <a:gd name="connsiteY93" fmla="*/ 9988 h 10000"/>
                <a:gd name="connsiteX94" fmla="*/ 3026 w 10002"/>
                <a:gd name="connsiteY94" fmla="*/ 9975 h 10000"/>
                <a:gd name="connsiteX95" fmla="*/ 3197 w 10002"/>
                <a:gd name="connsiteY95" fmla="*/ 9953 h 10000"/>
                <a:gd name="connsiteX96" fmla="*/ 3370 w 10002"/>
                <a:gd name="connsiteY96" fmla="*/ 9931 h 10000"/>
                <a:gd name="connsiteX97" fmla="*/ 3540 w 10002"/>
                <a:gd name="connsiteY97" fmla="*/ 9898 h 10000"/>
                <a:gd name="connsiteX98" fmla="*/ 3711 w 10002"/>
                <a:gd name="connsiteY98" fmla="*/ 9866 h 10000"/>
                <a:gd name="connsiteX99" fmla="*/ 3879 w 10002"/>
                <a:gd name="connsiteY99" fmla="*/ 9824 h 10000"/>
                <a:gd name="connsiteX100" fmla="*/ 4044 w 10002"/>
                <a:gd name="connsiteY100" fmla="*/ 9779 h 10000"/>
                <a:gd name="connsiteX101" fmla="*/ 4212 w 10002"/>
                <a:gd name="connsiteY101" fmla="*/ 9730 h 10000"/>
                <a:gd name="connsiteX102" fmla="*/ 4374 w 10002"/>
                <a:gd name="connsiteY102" fmla="*/ 9673 h 10000"/>
                <a:gd name="connsiteX103" fmla="*/ 4538 w 10002"/>
                <a:gd name="connsiteY103" fmla="*/ 9616 h 10000"/>
                <a:gd name="connsiteX104" fmla="*/ 4699 w 10002"/>
                <a:gd name="connsiteY104" fmla="*/ 9552 h 10000"/>
                <a:gd name="connsiteX105" fmla="*/ 4859 w 10002"/>
                <a:gd name="connsiteY105" fmla="*/ 9482 h 10000"/>
                <a:gd name="connsiteX106" fmla="*/ 5017 w 10002"/>
                <a:gd name="connsiteY106" fmla="*/ 9405 h 10000"/>
                <a:gd name="connsiteX107" fmla="*/ 5174 w 10002"/>
                <a:gd name="connsiteY107" fmla="*/ 9329 h 10000"/>
                <a:gd name="connsiteX108" fmla="*/ 5329 w 10002"/>
                <a:gd name="connsiteY108" fmla="*/ 9244 h 10000"/>
                <a:gd name="connsiteX109" fmla="*/ 5483 w 10002"/>
                <a:gd name="connsiteY109" fmla="*/ 9158 h 10000"/>
                <a:gd name="connsiteX110" fmla="*/ 5634 w 10002"/>
                <a:gd name="connsiteY110" fmla="*/ 9063 h 10000"/>
                <a:gd name="connsiteX111" fmla="*/ 5784 w 10002"/>
                <a:gd name="connsiteY111" fmla="*/ 8967 h 10000"/>
                <a:gd name="connsiteX112" fmla="*/ 5934 w 10002"/>
                <a:gd name="connsiteY112" fmla="*/ 8865 h 10000"/>
                <a:gd name="connsiteX113" fmla="*/ 6078 w 10002"/>
                <a:gd name="connsiteY113" fmla="*/ 8759 h 10000"/>
                <a:gd name="connsiteX114" fmla="*/ 6224 w 10002"/>
                <a:gd name="connsiteY114" fmla="*/ 8652 h 10000"/>
                <a:gd name="connsiteX115" fmla="*/ 6367 w 10002"/>
                <a:gd name="connsiteY115" fmla="*/ 8536 h 10000"/>
                <a:gd name="connsiteX116" fmla="*/ 6508 w 10002"/>
                <a:gd name="connsiteY116" fmla="*/ 8417 h 10000"/>
                <a:gd name="connsiteX117" fmla="*/ 6645 w 10002"/>
                <a:gd name="connsiteY117" fmla="*/ 8295 h 10000"/>
                <a:gd name="connsiteX118" fmla="*/ 6783 w 10002"/>
                <a:gd name="connsiteY118" fmla="*/ 8169 h 10000"/>
                <a:gd name="connsiteX119" fmla="*/ 6916 w 10002"/>
                <a:gd name="connsiteY119" fmla="*/ 8040 h 10000"/>
                <a:gd name="connsiteX120" fmla="*/ 7049 w 10002"/>
                <a:gd name="connsiteY120" fmla="*/ 7904 h 10000"/>
                <a:gd name="connsiteX121" fmla="*/ 7179 w 10002"/>
                <a:gd name="connsiteY121" fmla="*/ 7768 h 10000"/>
                <a:gd name="connsiteX122" fmla="*/ 7308 w 10002"/>
                <a:gd name="connsiteY122" fmla="*/ 7624 h 10000"/>
                <a:gd name="connsiteX123" fmla="*/ 7433 w 10002"/>
                <a:gd name="connsiteY123" fmla="*/ 7480 h 10000"/>
                <a:gd name="connsiteX124" fmla="*/ 7556 w 10002"/>
                <a:gd name="connsiteY124" fmla="*/ 7329 h 10000"/>
                <a:gd name="connsiteX125" fmla="*/ 7677 w 10002"/>
                <a:gd name="connsiteY125" fmla="*/ 7178 h 10000"/>
                <a:gd name="connsiteX126" fmla="*/ 7796 w 10002"/>
                <a:gd name="connsiteY126" fmla="*/ 7024 h 10000"/>
                <a:gd name="connsiteX127" fmla="*/ 7911 w 10002"/>
                <a:gd name="connsiteY127" fmla="*/ 6861 h 10000"/>
                <a:gd name="connsiteX128" fmla="*/ 8026 w 10002"/>
                <a:gd name="connsiteY128" fmla="*/ 6697 h 10000"/>
                <a:gd name="connsiteX129" fmla="*/ 8137 w 10002"/>
                <a:gd name="connsiteY129" fmla="*/ 6534 h 10000"/>
                <a:gd name="connsiteX130" fmla="*/ 8244 w 10002"/>
                <a:gd name="connsiteY130" fmla="*/ 6365 h 10000"/>
                <a:gd name="connsiteX131" fmla="*/ 8351 w 10002"/>
                <a:gd name="connsiteY131" fmla="*/ 6189 h 10000"/>
                <a:gd name="connsiteX132" fmla="*/ 8454 w 10002"/>
                <a:gd name="connsiteY132" fmla="*/ 6016 h 10000"/>
                <a:gd name="connsiteX133" fmla="*/ 8556 w 10002"/>
                <a:gd name="connsiteY133" fmla="*/ 5835 h 10000"/>
                <a:gd name="connsiteX134" fmla="*/ 8654 w 10002"/>
                <a:gd name="connsiteY134" fmla="*/ 5652 h 10000"/>
                <a:gd name="connsiteX135" fmla="*/ 8749 w 10002"/>
                <a:gd name="connsiteY135" fmla="*/ 5468 h 10000"/>
                <a:gd name="connsiteX136" fmla="*/ 8841 w 10002"/>
                <a:gd name="connsiteY136" fmla="*/ 5278 h 10000"/>
                <a:gd name="connsiteX137" fmla="*/ 8931 w 10002"/>
                <a:gd name="connsiteY137" fmla="*/ 5089 h 10000"/>
                <a:gd name="connsiteX138" fmla="*/ 9019 w 10002"/>
                <a:gd name="connsiteY138" fmla="*/ 4893 h 10000"/>
                <a:gd name="connsiteX139" fmla="*/ 9103 w 10002"/>
                <a:gd name="connsiteY139" fmla="*/ 4698 h 10000"/>
                <a:gd name="connsiteX140" fmla="*/ 9183 w 10002"/>
                <a:gd name="connsiteY140" fmla="*/ 4500 h 10000"/>
                <a:gd name="connsiteX141" fmla="*/ 9261 w 10002"/>
                <a:gd name="connsiteY141" fmla="*/ 4294 h 10000"/>
                <a:gd name="connsiteX142" fmla="*/ 9335 w 10002"/>
                <a:gd name="connsiteY142" fmla="*/ 4091 h 10000"/>
                <a:gd name="connsiteX143" fmla="*/ 9406 w 10002"/>
                <a:gd name="connsiteY143" fmla="*/ 3885 h 10000"/>
                <a:gd name="connsiteX144" fmla="*/ 9475 w 10002"/>
                <a:gd name="connsiteY144" fmla="*/ 3674 h 10000"/>
                <a:gd name="connsiteX145" fmla="*/ 9540 w 10002"/>
                <a:gd name="connsiteY145" fmla="*/ 3464 h 10000"/>
                <a:gd name="connsiteX146" fmla="*/ 9604 w 10002"/>
                <a:gd name="connsiteY146" fmla="*/ 3248 h 10000"/>
                <a:gd name="connsiteX147" fmla="*/ 9661 w 10002"/>
                <a:gd name="connsiteY147" fmla="*/ 3030 h 10000"/>
                <a:gd name="connsiteX148" fmla="*/ 9716 w 10002"/>
                <a:gd name="connsiteY148" fmla="*/ 2815 h 10000"/>
                <a:gd name="connsiteX149" fmla="*/ 9768 w 10002"/>
                <a:gd name="connsiteY149" fmla="*/ 2592 h 10000"/>
                <a:gd name="connsiteX150" fmla="*/ 9818 w 10002"/>
                <a:gd name="connsiteY150" fmla="*/ 2369 h 10000"/>
                <a:gd name="connsiteX151" fmla="*/ 9861 w 10002"/>
                <a:gd name="connsiteY151" fmla="*/ 2143 h 10000"/>
                <a:gd name="connsiteX152" fmla="*/ 9903 w 10002"/>
                <a:gd name="connsiteY152" fmla="*/ 1918 h 10000"/>
                <a:gd name="connsiteX153" fmla="*/ 9941 w 10002"/>
                <a:gd name="connsiteY153" fmla="*/ 1690 h 10000"/>
                <a:gd name="connsiteX154" fmla="*/ 9975 w 10002"/>
                <a:gd name="connsiteY154" fmla="*/ 1457 h 10000"/>
                <a:gd name="connsiteX155" fmla="*/ 10002 w 10002"/>
                <a:gd name="connsiteY155" fmla="*/ 1216 h 10000"/>
                <a:gd name="connsiteX156" fmla="*/ 7615 w 10002"/>
                <a:gd name="connsiteY156" fmla="*/ 1876 h 10000"/>
                <a:gd name="connsiteX157" fmla="*/ 5618 w 10002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9 w 10001"/>
                <a:gd name="connsiteY75" fmla="*/ 9512 h 10000"/>
                <a:gd name="connsiteX76" fmla="*/ 344 w 10001"/>
                <a:gd name="connsiteY76" fmla="*/ 9569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9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6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6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6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</a:cxnLst>
              <a:rect l="l" t="t" r="r" b="b"/>
              <a:pathLst>
                <a:path w="10001" h="10000">
                  <a:moveTo>
                    <a:pt x="5618" y="0"/>
                  </a:moveTo>
                  <a:lnTo>
                    <a:pt x="5618" y="0"/>
                  </a:lnTo>
                  <a:lnTo>
                    <a:pt x="5609" y="99"/>
                  </a:lnTo>
                  <a:cubicBezTo>
                    <a:pt x="5604" y="133"/>
                    <a:pt x="5600" y="167"/>
                    <a:pt x="5595" y="201"/>
                  </a:cubicBezTo>
                  <a:lnTo>
                    <a:pt x="5583" y="300"/>
                  </a:lnTo>
                  <a:cubicBezTo>
                    <a:pt x="5578" y="331"/>
                    <a:pt x="5573" y="363"/>
                    <a:pt x="5568" y="394"/>
                  </a:cubicBezTo>
                  <a:cubicBezTo>
                    <a:pt x="5562" y="426"/>
                    <a:pt x="5556" y="459"/>
                    <a:pt x="5550" y="491"/>
                  </a:cubicBezTo>
                  <a:cubicBezTo>
                    <a:pt x="5544" y="523"/>
                    <a:pt x="5537" y="555"/>
                    <a:pt x="5531" y="587"/>
                  </a:cubicBezTo>
                  <a:cubicBezTo>
                    <a:pt x="5524" y="619"/>
                    <a:pt x="5518" y="652"/>
                    <a:pt x="5511" y="684"/>
                  </a:cubicBezTo>
                  <a:cubicBezTo>
                    <a:pt x="5504" y="715"/>
                    <a:pt x="5497" y="747"/>
                    <a:pt x="5490" y="778"/>
                  </a:cubicBezTo>
                  <a:cubicBezTo>
                    <a:pt x="5483" y="809"/>
                    <a:pt x="5475" y="839"/>
                    <a:pt x="5468" y="870"/>
                  </a:cubicBezTo>
                  <a:cubicBezTo>
                    <a:pt x="5459" y="900"/>
                    <a:pt x="5451" y="931"/>
                    <a:pt x="5442" y="961"/>
                  </a:cubicBezTo>
                  <a:cubicBezTo>
                    <a:pt x="5434" y="992"/>
                    <a:pt x="5426" y="1022"/>
                    <a:pt x="5418" y="1053"/>
                  </a:cubicBezTo>
                  <a:cubicBezTo>
                    <a:pt x="5409" y="1084"/>
                    <a:pt x="5399" y="1114"/>
                    <a:pt x="5390" y="1145"/>
                  </a:cubicBezTo>
                  <a:cubicBezTo>
                    <a:pt x="5380" y="1174"/>
                    <a:pt x="5371" y="1202"/>
                    <a:pt x="5361" y="1231"/>
                  </a:cubicBezTo>
                  <a:lnTo>
                    <a:pt x="5331" y="1318"/>
                  </a:lnTo>
                  <a:lnTo>
                    <a:pt x="5301" y="1405"/>
                  </a:lnTo>
                  <a:cubicBezTo>
                    <a:pt x="5290" y="1435"/>
                    <a:pt x="5280" y="1464"/>
                    <a:pt x="5269" y="1494"/>
                  </a:cubicBezTo>
                  <a:cubicBezTo>
                    <a:pt x="5258" y="1522"/>
                    <a:pt x="5246" y="1550"/>
                    <a:pt x="5235" y="1578"/>
                  </a:cubicBezTo>
                  <a:cubicBezTo>
                    <a:pt x="5223" y="1606"/>
                    <a:pt x="5211" y="1635"/>
                    <a:pt x="5199" y="1663"/>
                  </a:cubicBezTo>
                  <a:cubicBezTo>
                    <a:pt x="5187" y="1689"/>
                    <a:pt x="5175" y="1716"/>
                    <a:pt x="5163" y="1742"/>
                  </a:cubicBezTo>
                  <a:cubicBezTo>
                    <a:pt x="5150" y="1769"/>
                    <a:pt x="5137" y="1797"/>
                    <a:pt x="5124" y="1824"/>
                  </a:cubicBezTo>
                  <a:cubicBezTo>
                    <a:pt x="5111" y="1850"/>
                    <a:pt x="5098" y="1877"/>
                    <a:pt x="5085" y="1903"/>
                  </a:cubicBezTo>
                  <a:cubicBezTo>
                    <a:pt x="5072" y="1930"/>
                    <a:pt x="5059" y="1958"/>
                    <a:pt x="5046" y="1985"/>
                  </a:cubicBezTo>
                  <a:cubicBezTo>
                    <a:pt x="5032" y="2010"/>
                    <a:pt x="5019" y="2034"/>
                    <a:pt x="5005" y="2059"/>
                  </a:cubicBezTo>
                  <a:cubicBezTo>
                    <a:pt x="4990" y="2084"/>
                    <a:pt x="4975" y="2108"/>
                    <a:pt x="4961" y="2133"/>
                  </a:cubicBezTo>
                  <a:cubicBezTo>
                    <a:pt x="4946" y="2159"/>
                    <a:pt x="4931" y="2184"/>
                    <a:pt x="4916" y="2210"/>
                  </a:cubicBezTo>
                  <a:cubicBezTo>
                    <a:pt x="4901" y="2234"/>
                    <a:pt x="4887" y="2258"/>
                    <a:pt x="4872" y="2282"/>
                  </a:cubicBezTo>
                  <a:cubicBezTo>
                    <a:pt x="4856" y="2306"/>
                    <a:pt x="4841" y="2330"/>
                    <a:pt x="4825" y="2354"/>
                  </a:cubicBezTo>
                  <a:cubicBezTo>
                    <a:pt x="4810" y="2378"/>
                    <a:pt x="4794" y="2402"/>
                    <a:pt x="4779" y="2426"/>
                  </a:cubicBezTo>
                  <a:lnTo>
                    <a:pt x="4731" y="2495"/>
                  </a:lnTo>
                  <a:cubicBezTo>
                    <a:pt x="4714" y="2517"/>
                    <a:pt x="4698" y="2540"/>
                    <a:pt x="4681" y="2562"/>
                  </a:cubicBezTo>
                  <a:cubicBezTo>
                    <a:pt x="4664" y="2583"/>
                    <a:pt x="4648" y="2605"/>
                    <a:pt x="4631" y="2626"/>
                  </a:cubicBezTo>
                  <a:cubicBezTo>
                    <a:pt x="4614" y="2648"/>
                    <a:pt x="4596" y="2669"/>
                    <a:pt x="4579" y="2691"/>
                  </a:cubicBezTo>
                  <a:cubicBezTo>
                    <a:pt x="4562" y="2712"/>
                    <a:pt x="4545" y="2732"/>
                    <a:pt x="4528" y="2753"/>
                  </a:cubicBezTo>
                  <a:cubicBezTo>
                    <a:pt x="4509" y="2774"/>
                    <a:pt x="4491" y="2796"/>
                    <a:pt x="4472" y="2817"/>
                  </a:cubicBezTo>
                  <a:cubicBezTo>
                    <a:pt x="4454" y="2836"/>
                    <a:pt x="4437" y="2855"/>
                    <a:pt x="4419" y="2874"/>
                  </a:cubicBezTo>
                  <a:cubicBezTo>
                    <a:pt x="4401" y="2894"/>
                    <a:pt x="4382" y="2914"/>
                    <a:pt x="4364" y="2934"/>
                  </a:cubicBezTo>
                  <a:lnTo>
                    <a:pt x="4307" y="2988"/>
                  </a:lnTo>
                  <a:cubicBezTo>
                    <a:pt x="4288" y="3006"/>
                    <a:pt x="4269" y="3025"/>
                    <a:pt x="4250" y="3043"/>
                  </a:cubicBezTo>
                  <a:cubicBezTo>
                    <a:pt x="4231" y="3061"/>
                    <a:pt x="4211" y="3079"/>
                    <a:pt x="4192" y="3097"/>
                  </a:cubicBezTo>
                  <a:lnTo>
                    <a:pt x="4134" y="3149"/>
                  </a:lnTo>
                  <a:cubicBezTo>
                    <a:pt x="4114" y="3165"/>
                    <a:pt x="4093" y="3180"/>
                    <a:pt x="4073" y="3196"/>
                  </a:cubicBezTo>
                  <a:cubicBezTo>
                    <a:pt x="4053" y="3212"/>
                    <a:pt x="4032" y="3227"/>
                    <a:pt x="4012" y="3243"/>
                  </a:cubicBezTo>
                  <a:cubicBezTo>
                    <a:pt x="3992" y="3259"/>
                    <a:pt x="3972" y="3274"/>
                    <a:pt x="3952" y="3290"/>
                  </a:cubicBezTo>
                  <a:lnTo>
                    <a:pt x="3889" y="3335"/>
                  </a:lnTo>
                  <a:cubicBezTo>
                    <a:pt x="3868" y="3349"/>
                    <a:pt x="3846" y="3363"/>
                    <a:pt x="3825" y="3377"/>
                  </a:cubicBezTo>
                  <a:lnTo>
                    <a:pt x="3761" y="3417"/>
                  </a:lnTo>
                  <a:lnTo>
                    <a:pt x="3697" y="3454"/>
                  </a:lnTo>
                  <a:cubicBezTo>
                    <a:pt x="3675" y="3466"/>
                    <a:pt x="3653" y="3479"/>
                    <a:pt x="3631" y="3491"/>
                  </a:cubicBezTo>
                  <a:cubicBezTo>
                    <a:pt x="3610" y="3502"/>
                    <a:pt x="3588" y="3512"/>
                    <a:pt x="3567" y="3523"/>
                  </a:cubicBezTo>
                  <a:lnTo>
                    <a:pt x="3499" y="3558"/>
                  </a:lnTo>
                  <a:lnTo>
                    <a:pt x="3431" y="3588"/>
                  </a:lnTo>
                  <a:lnTo>
                    <a:pt x="3363" y="3615"/>
                  </a:lnTo>
                  <a:lnTo>
                    <a:pt x="3294" y="3642"/>
                  </a:lnTo>
                  <a:cubicBezTo>
                    <a:pt x="3271" y="3650"/>
                    <a:pt x="3247" y="3657"/>
                    <a:pt x="3224" y="3665"/>
                  </a:cubicBezTo>
                  <a:cubicBezTo>
                    <a:pt x="3201" y="3672"/>
                    <a:pt x="3178" y="3680"/>
                    <a:pt x="3155" y="3687"/>
                  </a:cubicBezTo>
                  <a:cubicBezTo>
                    <a:pt x="3131" y="3694"/>
                    <a:pt x="3107" y="3700"/>
                    <a:pt x="3083" y="3707"/>
                  </a:cubicBezTo>
                  <a:cubicBezTo>
                    <a:pt x="3060" y="3713"/>
                    <a:pt x="3037" y="3718"/>
                    <a:pt x="3014" y="3724"/>
                  </a:cubicBezTo>
                  <a:lnTo>
                    <a:pt x="2941" y="3739"/>
                  </a:lnTo>
                  <a:lnTo>
                    <a:pt x="2868" y="3754"/>
                  </a:lnTo>
                  <a:cubicBezTo>
                    <a:pt x="2844" y="3756"/>
                    <a:pt x="2821" y="3759"/>
                    <a:pt x="2797" y="3761"/>
                  </a:cubicBezTo>
                  <a:cubicBezTo>
                    <a:pt x="2772" y="3764"/>
                    <a:pt x="2747" y="3768"/>
                    <a:pt x="2722" y="3771"/>
                  </a:cubicBezTo>
                  <a:cubicBezTo>
                    <a:pt x="2698" y="3773"/>
                    <a:pt x="2673" y="3774"/>
                    <a:pt x="2649" y="3776"/>
                  </a:cubicBezTo>
                  <a:cubicBezTo>
                    <a:pt x="2625" y="3778"/>
                    <a:pt x="2600" y="3779"/>
                    <a:pt x="2576" y="3781"/>
                  </a:cubicBezTo>
                  <a:lnTo>
                    <a:pt x="2499" y="3781"/>
                  </a:lnTo>
                  <a:lnTo>
                    <a:pt x="2394" y="3781"/>
                  </a:lnTo>
                  <a:lnTo>
                    <a:pt x="2285" y="3771"/>
                  </a:lnTo>
                  <a:lnTo>
                    <a:pt x="2180" y="3759"/>
                  </a:lnTo>
                  <a:lnTo>
                    <a:pt x="2075" y="3741"/>
                  </a:lnTo>
                  <a:cubicBezTo>
                    <a:pt x="2040" y="3734"/>
                    <a:pt x="2006" y="3726"/>
                    <a:pt x="1971" y="3719"/>
                  </a:cubicBezTo>
                  <a:lnTo>
                    <a:pt x="1868" y="3692"/>
                  </a:lnTo>
                  <a:lnTo>
                    <a:pt x="1766" y="3662"/>
                  </a:lnTo>
                  <a:cubicBezTo>
                    <a:pt x="1733" y="3650"/>
                    <a:pt x="1699" y="3639"/>
                    <a:pt x="1666" y="3627"/>
                  </a:cubicBezTo>
                  <a:lnTo>
                    <a:pt x="0" y="6085"/>
                  </a:lnTo>
                  <a:cubicBezTo>
                    <a:pt x="70" y="7227"/>
                    <a:pt x="138" y="8352"/>
                    <a:pt x="208" y="9494"/>
                  </a:cubicBezTo>
                  <a:cubicBezTo>
                    <a:pt x="253" y="9518"/>
                    <a:pt x="259" y="9522"/>
                    <a:pt x="345" y="9563"/>
                  </a:cubicBezTo>
                  <a:cubicBezTo>
                    <a:pt x="390" y="9583"/>
                    <a:pt x="411" y="9593"/>
                    <a:pt x="481" y="9623"/>
                  </a:cubicBezTo>
                  <a:lnTo>
                    <a:pt x="621" y="9673"/>
                  </a:lnTo>
                  <a:lnTo>
                    <a:pt x="758" y="9720"/>
                  </a:lnTo>
                  <a:lnTo>
                    <a:pt x="899" y="9765"/>
                  </a:lnTo>
                  <a:lnTo>
                    <a:pt x="1041" y="9804"/>
                  </a:lnTo>
                  <a:lnTo>
                    <a:pt x="1183" y="9839"/>
                  </a:lnTo>
                  <a:lnTo>
                    <a:pt x="1326" y="9874"/>
                  </a:lnTo>
                  <a:lnTo>
                    <a:pt x="1472" y="9903"/>
                  </a:lnTo>
                  <a:lnTo>
                    <a:pt x="1615" y="9926"/>
                  </a:lnTo>
                  <a:lnTo>
                    <a:pt x="1761" y="9948"/>
                  </a:lnTo>
                  <a:lnTo>
                    <a:pt x="1907" y="9965"/>
                  </a:lnTo>
                  <a:lnTo>
                    <a:pt x="2053" y="9980"/>
                  </a:lnTo>
                  <a:lnTo>
                    <a:pt x="2203" y="9990"/>
                  </a:lnTo>
                  <a:lnTo>
                    <a:pt x="2351" y="9995"/>
                  </a:lnTo>
                  <a:lnTo>
                    <a:pt x="2499" y="10000"/>
                  </a:lnTo>
                  <a:lnTo>
                    <a:pt x="2678" y="9995"/>
                  </a:lnTo>
                  <a:lnTo>
                    <a:pt x="2851" y="9988"/>
                  </a:lnTo>
                  <a:lnTo>
                    <a:pt x="3026" y="9975"/>
                  </a:lnTo>
                  <a:lnTo>
                    <a:pt x="3197" y="9953"/>
                  </a:lnTo>
                  <a:lnTo>
                    <a:pt x="3370" y="9931"/>
                  </a:lnTo>
                  <a:lnTo>
                    <a:pt x="3540" y="9898"/>
                  </a:lnTo>
                  <a:lnTo>
                    <a:pt x="3711" y="9866"/>
                  </a:lnTo>
                  <a:lnTo>
                    <a:pt x="3879" y="9824"/>
                  </a:lnTo>
                  <a:lnTo>
                    <a:pt x="4044" y="9779"/>
                  </a:lnTo>
                  <a:lnTo>
                    <a:pt x="4212" y="9730"/>
                  </a:lnTo>
                  <a:lnTo>
                    <a:pt x="4374" y="9673"/>
                  </a:lnTo>
                  <a:lnTo>
                    <a:pt x="4538" y="9616"/>
                  </a:lnTo>
                  <a:lnTo>
                    <a:pt x="4699" y="9552"/>
                  </a:lnTo>
                  <a:lnTo>
                    <a:pt x="4859" y="9482"/>
                  </a:lnTo>
                  <a:lnTo>
                    <a:pt x="5017" y="9405"/>
                  </a:lnTo>
                  <a:lnTo>
                    <a:pt x="5174" y="9329"/>
                  </a:lnTo>
                  <a:lnTo>
                    <a:pt x="5329" y="9244"/>
                  </a:lnTo>
                  <a:cubicBezTo>
                    <a:pt x="5380" y="9215"/>
                    <a:pt x="5432" y="9187"/>
                    <a:pt x="5483" y="9158"/>
                  </a:cubicBezTo>
                  <a:cubicBezTo>
                    <a:pt x="5533" y="9126"/>
                    <a:pt x="5584" y="9095"/>
                    <a:pt x="5634" y="9063"/>
                  </a:cubicBezTo>
                  <a:lnTo>
                    <a:pt x="5784" y="8967"/>
                  </a:lnTo>
                  <a:lnTo>
                    <a:pt x="5934" y="8865"/>
                  </a:lnTo>
                  <a:lnTo>
                    <a:pt x="6078" y="8759"/>
                  </a:lnTo>
                  <a:lnTo>
                    <a:pt x="6224" y="8652"/>
                  </a:lnTo>
                  <a:lnTo>
                    <a:pt x="6367" y="8536"/>
                  </a:lnTo>
                  <a:lnTo>
                    <a:pt x="6508" y="8417"/>
                  </a:lnTo>
                  <a:lnTo>
                    <a:pt x="6645" y="8295"/>
                  </a:lnTo>
                  <a:lnTo>
                    <a:pt x="6783" y="8169"/>
                  </a:lnTo>
                  <a:lnTo>
                    <a:pt x="6916" y="8040"/>
                  </a:lnTo>
                  <a:lnTo>
                    <a:pt x="7049" y="7904"/>
                  </a:lnTo>
                  <a:lnTo>
                    <a:pt x="7179" y="7768"/>
                  </a:lnTo>
                  <a:lnTo>
                    <a:pt x="7308" y="7624"/>
                  </a:lnTo>
                  <a:lnTo>
                    <a:pt x="7433" y="7480"/>
                  </a:lnTo>
                  <a:lnTo>
                    <a:pt x="7556" y="7329"/>
                  </a:lnTo>
                  <a:lnTo>
                    <a:pt x="7677" y="7178"/>
                  </a:lnTo>
                  <a:cubicBezTo>
                    <a:pt x="7717" y="7127"/>
                    <a:pt x="7756" y="7075"/>
                    <a:pt x="7796" y="7024"/>
                  </a:cubicBezTo>
                  <a:lnTo>
                    <a:pt x="7911" y="6861"/>
                  </a:lnTo>
                  <a:cubicBezTo>
                    <a:pt x="7949" y="6806"/>
                    <a:pt x="7988" y="6752"/>
                    <a:pt x="8026" y="6697"/>
                  </a:cubicBezTo>
                  <a:lnTo>
                    <a:pt x="8137" y="6534"/>
                  </a:lnTo>
                  <a:cubicBezTo>
                    <a:pt x="8173" y="6478"/>
                    <a:pt x="8208" y="6421"/>
                    <a:pt x="8244" y="6365"/>
                  </a:cubicBezTo>
                  <a:lnTo>
                    <a:pt x="8351" y="6189"/>
                  </a:lnTo>
                  <a:cubicBezTo>
                    <a:pt x="8385" y="6131"/>
                    <a:pt x="8420" y="6074"/>
                    <a:pt x="8454" y="6016"/>
                  </a:cubicBezTo>
                  <a:lnTo>
                    <a:pt x="8556" y="5835"/>
                  </a:lnTo>
                  <a:cubicBezTo>
                    <a:pt x="8589" y="5774"/>
                    <a:pt x="8621" y="5713"/>
                    <a:pt x="8654" y="5652"/>
                  </a:cubicBezTo>
                  <a:cubicBezTo>
                    <a:pt x="8686" y="5591"/>
                    <a:pt x="8717" y="5529"/>
                    <a:pt x="8749" y="5468"/>
                  </a:cubicBezTo>
                  <a:cubicBezTo>
                    <a:pt x="8780" y="5405"/>
                    <a:pt x="8810" y="5341"/>
                    <a:pt x="8841" y="5278"/>
                  </a:cubicBezTo>
                  <a:lnTo>
                    <a:pt x="8931" y="5089"/>
                  </a:lnTo>
                  <a:cubicBezTo>
                    <a:pt x="8960" y="5024"/>
                    <a:pt x="8989" y="4958"/>
                    <a:pt x="9019" y="4893"/>
                  </a:cubicBezTo>
                  <a:lnTo>
                    <a:pt x="9103" y="4698"/>
                  </a:lnTo>
                  <a:cubicBezTo>
                    <a:pt x="9130" y="4632"/>
                    <a:pt x="9156" y="4566"/>
                    <a:pt x="9183" y="4500"/>
                  </a:cubicBezTo>
                  <a:cubicBezTo>
                    <a:pt x="9209" y="4431"/>
                    <a:pt x="9235" y="4363"/>
                    <a:pt x="9261" y="4294"/>
                  </a:cubicBezTo>
                  <a:cubicBezTo>
                    <a:pt x="9286" y="4226"/>
                    <a:pt x="9310" y="4159"/>
                    <a:pt x="9335" y="4091"/>
                  </a:cubicBezTo>
                  <a:cubicBezTo>
                    <a:pt x="9359" y="4022"/>
                    <a:pt x="9382" y="3954"/>
                    <a:pt x="9406" y="3885"/>
                  </a:cubicBezTo>
                  <a:cubicBezTo>
                    <a:pt x="9429" y="3815"/>
                    <a:pt x="9452" y="3744"/>
                    <a:pt x="9475" y="3674"/>
                  </a:cubicBezTo>
                  <a:cubicBezTo>
                    <a:pt x="9497" y="3604"/>
                    <a:pt x="9518" y="3534"/>
                    <a:pt x="9540" y="3464"/>
                  </a:cubicBezTo>
                  <a:cubicBezTo>
                    <a:pt x="9561" y="3392"/>
                    <a:pt x="9583" y="3320"/>
                    <a:pt x="9604" y="3248"/>
                  </a:cubicBezTo>
                  <a:cubicBezTo>
                    <a:pt x="9623" y="3175"/>
                    <a:pt x="9642" y="3103"/>
                    <a:pt x="9661" y="3030"/>
                  </a:cubicBezTo>
                  <a:cubicBezTo>
                    <a:pt x="9679" y="2958"/>
                    <a:pt x="9698" y="2887"/>
                    <a:pt x="9716" y="2815"/>
                  </a:cubicBezTo>
                  <a:cubicBezTo>
                    <a:pt x="9733" y="2741"/>
                    <a:pt x="9751" y="2666"/>
                    <a:pt x="9768" y="2592"/>
                  </a:cubicBezTo>
                  <a:cubicBezTo>
                    <a:pt x="9785" y="2518"/>
                    <a:pt x="9801" y="2443"/>
                    <a:pt x="9818" y="2369"/>
                  </a:cubicBezTo>
                  <a:cubicBezTo>
                    <a:pt x="9832" y="2294"/>
                    <a:pt x="9847" y="2218"/>
                    <a:pt x="9861" y="2143"/>
                  </a:cubicBezTo>
                  <a:lnTo>
                    <a:pt x="9903" y="1918"/>
                  </a:lnTo>
                  <a:cubicBezTo>
                    <a:pt x="9916" y="1842"/>
                    <a:pt x="9928" y="1766"/>
                    <a:pt x="9941" y="1690"/>
                  </a:cubicBezTo>
                  <a:cubicBezTo>
                    <a:pt x="9952" y="1612"/>
                    <a:pt x="9964" y="1535"/>
                    <a:pt x="9975" y="1457"/>
                  </a:cubicBezTo>
                  <a:cubicBezTo>
                    <a:pt x="9983" y="1377"/>
                    <a:pt x="9993" y="1295"/>
                    <a:pt x="10001" y="1215"/>
                  </a:cubicBezTo>
                  <a:lnTo>
                    <a:pt x="7615" y="1876"/>
                  </a:lnTo>
                  <a:lnTo>
                    <a:pt x="5618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70596" y="234864"/>
            <a:ext cx="8794113" cy="659459"/>
          </a:xfrm>
        </p:spPr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Red</a:t>
            </a:r>
            <a:r>
              <a:rPr lang="en-US" dirty="0" err="1">
                <a:solidFill>
                  <a:srgbClr val="FF0000"/>
                </a:solidFill>
              </a:rPr>
              <a:t>E</a:t>
            </a:r>
            <a:r>
              <a:rPr lang="en-US" dirty="0"/>
              <a:t> aims to drive buyer and supplier collaboration to disseminate best practices and drive collective resource efficiency</a:t>
            </a:r>
          </a:p>
        </p:txBody>
      </p:sp>
      <p:sp>
        <p:nvSpPr>
          <p:cNvPr id="22" name="Oval 21"/>
          <p:cNvSpPr/>
          <p:nvPr/>
        </p:nvSpPr>
        <p:spPr bwMode="gray">
          <a:xfrm>
            <a:off x="5200122" y="3136431"/>
            <a:ext cx="1363310" cy="94911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48" tIns="46648" rIns="46648" bIns="46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Work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2" name="Right Arrow 61"/>
          <p:cNvSpPr/>
          <p:nvPr/>
        </p:nvSpPr>
        <p:spPr bwMode="gray">
          <a:xfrm rot="10800000">
            <a:off x="5007077" y="1941323"/>
            <a:ext cx="1400985" cy="276167"/>
          </a:xfrm>
          <a:prstGeom prst="rightArrow">
            <a:avLst/>
          </a:prstGeom>
          <a:solidFill>
            <a:srgbClr val="03162A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3" name="Right Arrow 62"/>
          <p:cNvSpPr/>
          <p:nvPr/>
        </p:nvSpPr>
        <p:spPr bwMode="gray">
          <a:xfrm rot="10800000">
            <a:off x="2557906" y="1909165"/>
            <a:ext cx="1400985" cy="276167"/>
          </a:xfrm>
          <a:prstGeom prst="rightArrow">
            <a:avLst/>
          </a:prstGeom>
          <a:solidFill>
            <a:srgbClr val="03162A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7" name="Right Arrow 66"/>
          <p:cNvSpPr/>
          <p:nvPr/>
        </p:nvSpPr>
        <p:spPr bwMode="gray">
          <a:xfrm>
            <a:off x="4956456" y="1542795"/>
            <a:ext cx="1400985" cy="276167"/>
          </a:xfrm>
          <a:prstGeom prst="rightArrow">
            <a:avLst/>
          </a:prstGeom>
          <a:solidFill>
            <a:srgbClr val="ACC23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8" name="Right Arrow 67"/>
          <p:cNvSpPr/>
          <p:nvPr/>
        </p:nvSpPr>
        <p:spPr bwMode="gray">
          <a:xfrm>
            <a:off x="2461549" y="1542795"/>
            <a:ext cx="1286457" cy="276167"/>
          </a:xfrm>
          <a:prstGeom prst="rightArrow">
            <a:avLst/>
          </a:prstGeom>
          <a:solidFill>
            <a:srgbClr val="0066CC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9" name="Right Arrow 68"/>
          <p:cNvSpPr/>
          <p:nvPr/>
        </p:nvSpPr>
        <p:spPr bwMode="gray">
          <a:xfrm rot="4262365">
            <a:off x="6502982" y="2480272"/>
            <a:ext cx="1286382" cy="276183"/>
          </a:xfrm>
          <a:prstGeom prst="rightArrow">
            <a:avLst/>
          </a:prstGeom>
          <a:solidFill>
            <a:srgbClr val="ACC23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70" name="Right Arrow 69"/>
          <p:cNvSpPr/>
          <p:nvPr/>
        </p:nvSpPr>
        <p:spPr bwMode="gray">
          <a:xfrm rot="15037137">
            <a:off x="6909882" y="3230460"/>
            <a:ext cx="1646341" cy="276183"/>
          </a:xfrm>
          <a:prstGeom prst="rightArrow">
            <a:avLst/>
          </a:prstGeom>
          <a:solidFill>
            <a:schemeClr val="accent1">
              <a:lumMod val="1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71" name="Picture 70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 bwMode="gray">
          <a:xfrm>
            <a:off x="310594" y="3008998"/>
            <a:ext cx="886104" cy="746378"/>
          </a:xfrm>
          <a:prstGeom prst="rect">
            <a:avLst/>
          </a:prstGeom>
        </p:spPr>
      </p:pic>
      <p:sp>
        <p:nvSpPr>
          <p:cNvPr id="72" name="Legend2"/>
          <p:cNvSpPr>
            <a:spLocks noChangeArrowheads="1"/>
          </p:cNvSpPr>
          <p:nvPr/>
        </p:nvSpPr>
        <p:spPr bwMode="gray">
          <a:xfrm>
            <a:off x="1189727" y="3003915"/>
            <a:ext cx="1863212" cy="762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en-US" dirty="0" smtClean="0">
                <a:latin typeface="+mn-lt"/>
              </a:rPr>
              <a:t>The </a:t>
            </a:r>
            <a:r>
              <a:rPr lang="en-US" b="1" u="sng" dirty="0" smtClean="0">
                <a:latin typeface="+mn-lt"/>
              </a:rPr>
              <a:t>R</a:t>
            </a:r>
            <a:r>
              <a:rPr lang="en-US" dirty="0" smtClean="0">
                <a:latin typeface="+mn-lt"/>
              </a:rPr>
              <a:t>esource </a:t>
            </a:r>
            <a:r>
              <a:rPr lang="en-US" b="1" u="sng" dirty="0" smtClean="0">
                <a:latin typeface="+mn-lt"/>
              </a:rPr>
              <a:t>e</a:t>
            </a:r>
            <a:r>
              <a:rPr lang="en-US" dirty="0" smtClean="0">
                <a:latin typeface="+mn-lt"/>
              </a:rPr>
              <a:t>fficiency </a:t>
            </a:r>
            <a:r>
              <a:rPr lang="en-US" b="1" u="sng" dirty="0" smtClean="0">
                <a:latin typeface="+mn-lt"/>
              </a:rPr>
              <a:t>d</a:t>
            </a:r>
            <a:r>
              <a:rPr lang="en-US" dirty="0" smtClean="0">
                <a:latin typeface="+mn-lt"/>
              </a:rPr>
              <a:t>eploy-</a:t>
            </a:r>
            <a:r>
              <a:rPr lang="en-US" dirty="0" err="1" smtClean="0">
                <a:latin typeface="+mn-lt"/>
              </a:rPr>
              <a:t>ment</a:t>
            </a:r>
            <a:r>
              <a:rPr lang="en-US" dirty="0" smtClean="0">
                <a:latin typeface="+mn-lt"/>
              </a:rPr>
              <a:t> </a:t>
            </a:r>
            <a:r>
              <a:rPr lang="en-US" b="1" u="sng" dirty="0" smtClean="0">
                <a:solidFill>
                  <a:srgbClr val="FF0000"/>
                </a:solidFill>
                <a:latin typeface="+mn-lt"/>
              </a:rPr>
              <a:t>E</a:t>
            </a:r>
            <a:r>
              <a:rPr lang="en-US" dirty="0" smtClean="0">
                <a:latin typeface="+mn-lt"/>
              </a:rPr>
              <a:t>ngine</a:t>
            </a:r>
            <a:endParaRPr lang="en-US" dirty="0">
              <a:latin typeface="+mn-lt"/>
            </a:endParaRPr>
          </a:p>
        </p:txBody>
      </p:sp>
      <p:sp>
        <p:nvSpPr>
          <p:cNvPr id="73" name="Rectangle 6174"/>
          <p:cNvSpPr txBox="1"/>
          <p:nvPr/>
        </p:nvSpPr>
        <p:spPr bwMode="gray">
          <a:xfrm>
            <a:off x="315304" y="3910895"/>
            <a:ext cx="2432562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Driving supply chain resource efficiency through technical and peer community support</a:t>
            </a:r>
          </a:p>
        </p:txBody>
      </p:sp>
      <p:sp>
        <p:nvSpPr>
          <p:cNvPr id="74" name="McK 1. On-page tracker"/>
          <p:cNvSpPr>
            <a:spLocks noChangeArrowheads="1"/>
          </p:cNvSpPr>
          <p:nvPr/>
        </p:nvSpPr>
        <p:spPr bwMode="gray">
          <a:xfrm>
            <a:off x="121489" y="27537"/>
            <a:ext cx="47448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dirty="0" smtClean="0">
                <a:solidFill>
                  <a:srgbClr val="808080"/>
                </a:solidFill>
                <a:latin typeface="Arial Narrow" pitchFamily="34" charset="0"/>
                <a:ea typeface="+mj-ea"/>
              </a:rPr>
              <a:t>RedE</a:t>
            </a:r>
            <a:endParaRPr lang="en-US" b="1" baseline="0" noProof="0" dirty="0">
              <a:solidFill>
                <a:srgbClr val="FF0000"/>
              </a:solidFill>
              <a:latin typeface="Arial Narrow" pitchFamily="34" charset="0"/>
              <a:ea typeface="+mj-ea"/>
            </a:endParaRPr>
          </a:p>
        </p:txBody>
      </p:sp>
      <p:grpSp>
        <p:nvGrpSpPr>
          <p:cNvPr id="4" name="Group 74"/>
          <p:cNvGrpSpPr/>
          <p:nvPr/>
        </p:nvGrpSpPr>
        <p:grpSpPr bwMode="gray">
          <a:xfrm>
            <a:off x="483090" y="5065693"/>
            <a:ext cx="1408207" cy="276999"/>
            <a:chOff x="473445" y="4464963"/>
            <a:chExt cx="1380092" cy="271485"/>
          </a:xfrm>
        </p:grpSpPr>
        <p:sp>
          <p:nvSpPr>
            <p:cNvPr id="76" name="RectangleLegend2"/>
            <p:cNvSpPr>
              <a:spLocks noChangeArrowheads="1"/>
            </p:cNvSpPr>
            <p:nvPr/>
          </p:nvSpPr>
          <p:spPr bwMode="gray">
            <a:xfrm>
              <a:off x="473445" y="4476076"/>
              <a:ext cx="165100" cy="160338"/>
            </a:xfrm>
            <a:prstGeom prst="rect">
              <a:avLst/>
            </a:prstGeom>
            <a:solidFill>
              <a:srgbClr val="ACC23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85" name="Legend2"/>
            <p:cNvSpPr>
              <a:spLocks noChangeArrowheads="1"/>
            </p:cNvSpPr>
            <p:nvPr/>
          </p:nvSpPr>
          <p:spPr bwMode="gray">
            <a:xfrm>
              <a:off x="727445" y="4464963"/>
              <a:ext cx="1126092" cy="2714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dirty="0" smtClean="0">
                  <a:latin typeface="+mn-lt"/>
                </a:rPr>
                <a:t>Product info</a:t>
              </a:r>
              <a:endParaRPr lang="en-US" dirty="0">
                <a:latin typeface="+mn-lt"/>
              </a:endParaRPr>
            </a:p>
          </p:txBody>
        </p:sp>
      </p:grpSp>
      <p:grpSp>
        <p:nvGrpSpPr>
          <p:cNvPr id="5" name="Group 85"/>
          <p:cNvGrpSpPr/>
          <p:nvPr/>
        </p:nvGrpSpPr>
        <p:grpSpPr bwMode="gray">
          <a:xfrm>
            <a:off x="483090" y="5356218"/>
            <a:ext cx="1904241" cy="276999"/>
            <a:chOff x="473445" y="4736426"/>
            <a:chExt cx="1866222" cy="271485"/>
          </a:xfrm>
        </p:grpSpPr>
        <p:sp>
          <p:nvSpPr>
            <p:cNvPr id="93" name="RectangleLegend3"/>
            <p:cNvSpPr>
              <a:spLocks noChangeArrowheads="1"/>
            </p:cNvSpPr>
            <p:nvPr/>
          </p:nvSpPr>
          <p:spPr bwMode="gray">
            <a:xfrm>
              <a:off x="473445" y="474753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gray">
            <a:xfrm>
              <a:off x="727445" y="4736426"/>
              <a:ext cx="1612222" cy="2714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dirty="0" smtClean="0">
                  <a:latin typeface="+mn-lt"/>
                </a:rPr>
                <a:t>Raw material info</a:t>
              </a:r>
              <a:endParaRPr lang="en-US" dirty="0">
                <a:latin typeface="+mn-lt"/>
              </a:endParaRPr>
            </a:p>
          </p:txBody>
        </p:sp>
      </p:grpSp>
      <p:grpSp>
        <p:nvGrpSpPr>
          <p:cNvPr id="7" name="Group 94"/>
          <p:cNvGrpSpPr/>
          <p:nvPr/>
        </p:nvGrpSpPr>
        <p:grpSpPr bwMode="gray">
          <a:xfrm>
            <a:off x="483090" y="5654399"/>
            <a:ext cx="2006832" cy="553998"/>
            <a:chOff x="473445" y="5573921"/>
            <a:chExt cx="1966765" cy="542970"/>
          </a:xfrm>
        </p:grpSpPr>
        <p:sp>
          <p:nvSpPr>
            <p:cNvPr id="96" name="RectangleLegend4"/>
            <p:cNvSpPr>
              <a:spLocks noChangeArrowheads="1"/>
            </p:cNvSpPr>
            <p:nvPr/>
          </p:nvSpPr>
          <p:spPr bwMode="gray">
            <a:xfrm>
              <a:off x="473445" y="5585033"/>
              <a:ext cx="165100" cy="160338"/>
            </a:xfrm>
            <a:prstGeom prst="rect">
              <a:avLst/>
            </a:prstGeom>
            <a:solidFill>
              <a:schemeClr val="accent1">
                <a:lumMod val="10000"/>
              </a:schemeClr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7" name="Legend4"/>
            <p:cNvSpPr>
              <a:spLocks noChangeArrowheads="1"/>
            </p:cNvSpPr>
            <p:nvPr/>
          </p:nvSpPr>
          <p:spPr bwMode="gray">
            <a:xfrm>
              <a:off x="727445" y="5573921"/>
              <a:ext cx="1712765" cy="5429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dirty="0" smtClean="0">
                  <a:latin typeface="+mn-lt"/>
                </a:rPr>
                <a:t>Best practices, </a:t>
              </a:r>
            </a:p>
            <a:p>
              <a:pPr defTabSz="913526">
                <a:buClr>
                  <a:schemeClr val="tx2"/>
                </a:buClr>
              </a:pPr>
              <a:r>
                <a:rPr lang="en-US" dirty="0">
                  <a:latin typeface="+mn-lt"/>
                </a:rPr>
                <a:t>t</a:t>
              </a:r>
              <a:r>
                <a:rPr lang="en-US" dirty="0" smtClean="0">
                  <a:latin typeface="+mn-lt"/>
                </a:rPr>
                <a:t>echnical guidance</a:t>
              </a:r>
              <a:endParaRPr lang="en-US" dirty="0">
                <a:latin typeface="+mn-lt"/>
              </a:endParaRPr>
            </a:p>
          </p:txBody>
        </p:sp>
      </p:grpSp>
      <p:sp>
        <p:nvSpPr>
          <p:cNvPr id="19" name="Rectangle 18"/>
          <p:cNvSpPr/>
          <p:nvPr/>
        </p:nvSpPr>
        <p:spPr bwMode="gray">
          <a:xfrm>
            <a:off x="1290025" y="1099333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Raw materials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3733035" y="1096978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ier 2/3 suppliers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6338549" y="1240249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ier 1 suppliers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5236251" y="4744931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tores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7130169" y="3209933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uyer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3312100" y="3209933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nsumers</a:t>
            </a:r>
          </a:p>
        </p:txBody>
      </p:sp>
    </p:spTree>
    <p:extLst>
      <p:ext uri="{BB962C8B-B14F-4D97-AF65-F5344CB8AC3E}">
        <p14:creationId xmlns:p14="http://schemas.microsoft.com/office/powerpoint/2010/main" val="1654678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2668262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8" name="Rounded Rectangle 97"/>
          <p:cNvSpPr/>
          <p:nvPr/>
        </p:nvSpPr>
        <p:spPr bwMode="gray">
          <a:xfrm>
            <a:off x="224311" y="2907172"/>
            <a:ext cx="2627764" cy="3312178"/>
          </a:xfrm>
          <a:prstGeom prst="roundRect">
            <a:avLst>
              <a:gd name="adj" fmla="val 8274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8" name="Freeform 3"/>
          <p:cNvSpPr>
            <a:spLocks/>
          </p:cNvSpPr>
          <p:nvPr/>
        </p:nvSpPr>
        <p:spPr bwMode="gray">
          <a:xfrm>
            <a:off x="1117462" y="990403"/>
            <a:ext cx="5020369" cy="1542024"/>
          </a:xfrm>
          <a:custGeom>
            <a:avLst/>
            <a:gdLst>
              <a:gd name="T0" fmla="*/ 0 w 2554"/>
              <a:gd name="T1" fmla="*/ 0 h 890"/>
              <a:gd name="T2" fmla="*/ 2147483647 w 2554"/>
              <a:gd name="T3" fmla="*/ 0 h 890"/>
              <a:gd name="T4" fmla="*/ 2147483647 w 2554"/>
              <a:gd name="T5" fmla="*/ 2147483647 h 890"/>
              <a:gd name="T6" fmla="*/ 2147483647 w 2554"/>
              <a:gd name="T7" fmla="*/ 2147483647 h 890"/>
              <a:gd name="T8" fmla="*/ 0 w 2554"/>
              <a:gd name="T9" fmla="*/ 2147483647 h 890"/>
              <a:gd name="T10" fmla="*/ 0 w 2554"/>
              <a:gd name="T11" fmla="*/ 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554"/>
              <a:gd name="T19" fmla="*/ 0 h 890"/>
              <a:gd name="T20" fmla="*/ 2554 w 2554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554" h="890">
                <a:moveTo>
                  <a:pt x="0" y="0"/>
                </a:moveTo>
                <a:lnTo>
                  <a:pt x="2368" y="0"/>
                </a:lnTo>
                <a:lnTo>
                  <a:pt x="2554" y="457"/>
                </a:lnTo>
                <a:lnTo>
                  <a:pt x="2370" y="889"/>
                </a:lnTo>
                <a:lnTo>
                  <a:pt x="0" y="89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3296" tIns="46648" rIns="93296" bIns="46648">
            <a:noAutofit/>
          </a:bodyPr>
          <a:lstStyle/>
          <a:p>
            <a:endParaRPr lang="en-US" dirty="0"/>
          </a:p>
        </p:txBody>
      </p:sp>
      <p:grpSp>
        <p:nvGrpSpPr>
          <p:cNvPr id="3" name="Group 49"/>
          <p:cNvGrpSpPr>
            <a:grpSpLocks/>
          </p:cNvGrpSpPr>
          <p:nvPr/>
        </p:nvGrpSpPr>
        <p:grpSpPr bwMode="gray">
          <a:xfrm>
            <a:off x="3094956" y="986835"/>
            <a:ext cx="5611479" cy="5252515"/>
            <a:chOff x="-84370714" y="-50229900"/>
            <a:chExt cx="92615078" cy="92947206"/>
          </a:xfrm>
          <a:solidFill>
            <a:schemeClr val="bg2">
              <a:lumMod val="9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64" name="Freeform 5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-38375416" y="-50229900"/>
              <a:ext cx="46619780" cy="57270904"/>
            </a:xfrm>
            <a:custGeom>
              <a:avLst/>
              <a:gdLst>
                <a:gd name="T0" fmla="*/ 2147483647 w 1530"/>
                <a:gd name="T1" fmla="*/ 2147483647 h 1871"/>
                <a:gd name="T2" fmla="*/ 2147483647 w 1530"/>
                <a:gd name="T3" fmla="*/ 2147483647 h 1871"/>
                <a:gd name="T4" fmla="*/ 2147483647 w 1530"/>
                <a:gd name="T5" fmla="*/ 2147483647 h 1871"/>
                <a:gd name="T6" fmla="*/ 2147483647 w 1530"/>
                <a:gd name="T7" fmla="*/ 2147483647 h 1871"/>
                <a:gd name="T8" fmla="*/ 2147483647 w 1530"/>
                <a:gd name="T9" fmla="*/ 2147483647 h 1871"/>
                <a:gd name="T10" fmla="*/ 2147483647 w 1530"/>
                <a:gd name="T11" fmla="*/ 2147483647 h 1871"/>
                <a:gd name="T12" fmla="*/ 2147483647 w 1530"/>
                <a:gd name="T13" fmla="*/ 2147483647 h 1871"/>
                <a:gd name="T14" fmla="*/ 2147483647 w 1530"/>
                <a:gd name="T15" fmla="*/ 2147483647 h 1871"/>
                <a:gd name="T16" fmla="*/ 2147483647 w 1530"/>
                <a:gd name="T17" fmla="*/ 2147483647 h 1871"/>
                <a:gd name="T18" fmla="*/ 2147483647 w 1530"/>
                <a:gd name="T19" fmla="*/ 2147483647 h 1871"/>
                <a:gd name="T20" fmla="*/ 2147483647 w 1530"/>
                <a:gd name="T21" fmla="*/ 2147483647 h 1871"/>
                <a:gd name="T22" fmla="*/ 2147483647 w 1530"/>
                <a:gd name="T23" fmla="*/ 2147483647 h 1871"/>
                <a:gd name="T24" fmla="*/ 2147483647 w 1530"/>
                <a:gd name="T25" fmla="*/ 2147483647 h 1871"/>
                <a:gd name="T26" fmla="*/ 2147483647 w 1530"/>
                <a:gd name="T27" fmla="*/ 2147483647 h 1871"/>
                <a:gd name="T28" fmla="*/ 2147483647 w 1530"/>
                <a:gd name="T29" fmla="*/ 2147483647 h 1871"/>
                <a:gd name="T30" fmla="*/ 2147483647 w 1530"/>
                <a:gd name="T31" fmla="*/ 2147483647 h 1871"/>
                <a:gd name="T32" fmla="*/ 2147483647 w 1530"/>
                <a:gd name="T33" fmla="*/ 2147483647 h 1871"/>
                <a:gd name="T34" fmla="*/ 2147483647 w 1530"/>
                <a:gd name="T35" fmla="*/ 2147483647 h 1871"/>
                <a:gd name="T36" fmla="*/ 2147483647 w 1530"/>
                <a:gd name="T37" fmla="*/ 2147483647 h 1871"/>
                <a:gd name="T38" fmla="*/ 2147483647 w 1530"/>
                <a:gd name="T39" fmla="*/ 2147483647 h 1871"/>
                <a:gd name="T40" fmla="*/ 2147483647 w 1530"/>
                <a:gd name="T41" fmla="*/ 2147483647 h 1871"/>
                <a:gd name="T42" fmla="*/ 2147483647 w 1530"/>
                <a:gd name="T43" fmla="*/ 2147483647 h 1871"/>
                <a:gd name="T44" fmla="*/ 2147483647 w 1530"/>
                <a:gd name="T45" fmla="*/ 2147483647 h 1871"/>
                <a:gd name="T46" fmla="*/ 2147483647 w 1530"/>
                <a:gd name="T47" fmla="*/ 2147483647 h 1871"/>
                <a:gd name="T48" fmla="*/ 2147483647 w 1530"/>
                <a:gd name="T49" fmla="*/ 2147483647 h 1871"/>
                <a:gd name="T50" fmla="*/ 2147483647 w 1530"/>
                <a:gd name="T51" fmla="*/ 2147483647 h 1871"/>
                <a:gd name="T52" fmla="*/ 2147483647 w 1530"/>
                <a:gd name="T53" fmla="*/ 2147483647 h 1871"/>
                <a:gd name="T54" fmla="*/ 2147483647 w 1530"/>
                <a:gd name="T55" fmla="*/ 2147483647 h 1871"/>
                <a:gd name="T56" fmla="*/ 2147483647 w 1530"/>
                <a:gd name="T57" fmla="*/ 2147483647 h 1871"/>
                <a:gd name="T58" fmla="*/ 2147483647 w 1530"/>
                <a:gd name="T59" fmla="*/ 2147483647 h 1871"/>
                <a:gd name="T60" fmla="*/ 2147483647 w 1530"/>
                <a:gd name="T61" fmla="*/ 2147483647 h 1871"/>
                <a:gd name="T62" fmla="*/ 2147483647 w 1530"/>
                <a:gd name="T63" fmla="*/ 2147483647 h 1871"/>
                <a:gd name="T64" fmla="*/ 2147483647 w 1530"/>
                <a:gd name="T65" fmla="*/ 2147483647 h 1871"/>
                <a:gd name="T66" fmla="*/ 2147483647 w 1530"/>
                <a:gd name="T67" fmla="*/ 2147483647 h 1871"/>
                <a:gd name="T68" fmla="*/ 2147483647 w 1530"/>
                <a:gd name="T69" fmla="*/ 2147483647 h 1871"/>
                <a:gd name="T70" fmla="*/ 2147483647 w 1530"/>
                <a:gd name="T71" fmla="*/ 2147483647 h 1871"/>
                <a:gd name="T72" fmla="*/ 2147483647 w 1530"/>
                <a:gd name="T73" fmla="*/ 2147483647 h 1871"/>
                <a:gd name="T74" fmla="*/ 2147483647 w 1530"/>
                <a:gd name="T75" fmla="*/ 2147483647 h 1871"/>
                <a:gd name="T76" fmla="*/ 2147483647 w 1530"/>
                <a:gd name="T77" fmla="*/ 2147483647 h 1871"/>
                <a:gd name="T78" fmla="*/ 2147483647 w 1530"/>
                <a:gd name="T79" fmla="*/ 2147483647 h 1871"/>
                <a:gd name="T80" fmla="*/ 2147483647 w 1530"/>
                <a:gd name="T81" fmla="*/ 2147483647 h 1871"/>
                <a:gd name="T82" fmla="*/ 2147483647 w 1530"/>
                <a:gd name="T83" fmla="*/ 2147483647 h 1871"/>
                <a:gd name="T84" fmla="*/ 2147483647 w 1530"/>
                <a:gd name="T85" fmla="*/ 2147483647 h 1871"/>
                <a:gd name="T86" fmla="*/ 2147483647 w 1530"/>
                <a:gd name="T87" fmla="*/ 2147483647 h 1871"/>
                <a:gd name="T88" fmla="*/ 2147483647 w 1530"/>
                <a:gd name="T89" fmla="*/ 2147483647 h 1871"/>
                <a:gd name="T90" fmla="*/ 2147483647 w 1530"/>
                <a:gd name="T91" fmla="*/ 2147483647 h 1871"/>
                <a:gd name="T92" fmla="*/ 2147483647 w 1530"/>
                <a:gd name="T93" fmla="*/ 2147483647 h 1871"/>
                <a:gd name="T94" fmla="*/ 2147483647 w 1530"/>
                <a:gd name="T95" fmla="*/ 2147483647 h 1871"/>
                <a:gd name="T96" fmla="*/ 2147483647 w 1530"/>
                <a:gd name="T97" fmla="*/ 0 h 1871"/>
                <a:gd name="T98" fmla="*/ 2147483647 w 1530"/>
                <a:gd name="T99" fmla="*/ 2147483647 h 187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530"/>
                <a:gd name="T151" fmla="*/ 0 h 1871"/>
                <a:gd name="T152" fmla="*/ 1530 w 1530"/>
                <a:gd name="T153" fmla="*/ 1871 h 1871"/>
                <a:gd name="connsiteX0" fmla="*/ 26 w 10000"/>
                <a:gd name="connsiteY0" fmla="*/ 4768 h 10000"/>
                <a:gd name="connsiteX1" fmla="*/ 59 w 10000"/>
                <a:gd name="connsiteY1" fmla="*/ 4762 h 10000"/>
                <a:gd name="connsiteX2" fmla="*/ 163 w 10000"/>
                <a:gd name="connsiteY2" fmla="*/ 4762 h 10000"/>
                <a:gd name="connsiteX3" fmla="*/ 268 w 10000"/>
                <a:gd name="connsiteY3" fmla="*/ 4768 h 10000"/>
                <a:gd name="connsiteX4" fmla="*/ 373 w 10000"/>
                <a:gd name="connsiteY4" fmla="*/ 4773 h 10000"/>
                <a:gd name="connsiteX5" fmla="*/ 477 w 10000"/>
                <a:gd name="connsiteY5" fmla="*/ 4778 h 10000"/>
                <a:gd name="connsiteX6" fmla="*/ 582 w 10000"/>
                <a:gd name="connsiteY6" fmla="*/ 4794 h 10000"/>
                <a:gd name="connsiteX7" fmla="*/ 686 w 10000"/>
                <a:gd name="connsiteY7" fmla="*/ 4805 h 10000"/>
                <a:gd name="connsiteX8" fmla="*/ 784 w 10000"/>
                <a:gd name="connsiteY8" fmla="*/ 4816 h 10000"/>
                <a:gd name="connsiteX9" fmla="*/ 882 w 10000"/>
                <a:gd name="connsiteY9" fmla="*/ 4832 h 10000"/>
                <a:gd name="connsiteX10" fmla="*/ 987 w 10000"/>
                <a:gd name="connsiteY10" fmla="*/ 4848 h 10000"/>
                <a:gd name="connsiteX11" fmla="*/ 1085 w 10000"/>
                <a:gd name="connsiteY11" fmla="*/ 4869 h 10000"/>
                <a:gd name="connsiteX12" fmla="*/ 1183 w 10000"/>
                <a:gd name="connsiteY12" fmla="*/ 4890 h 10000"/>
                <a:gd name="connsiteX13" fmla="*/ 1281 w 10000"/>
                <a:gd name="connsiteY13" fmla="*/ 4912 h 10000"/>
                <a:gd name="connsiteX14" fmla="*/ 1373 w 10000"/>
                <a:gd name="connsiteY14" fmla="*/ 4939 h 10000"/>
                <a:gd name="connsiteX15" fmla="*/ 1471 w 10000"/>
                <a:gd name="connsiteY15" fmla="*/ 4965 h 10000"/>
                <a:gd name="connsiteX16" fmla="*/ 1562 w 10000"/>
                <a:gd name="connsiteY16" fmla="*/ 4997 h 10000"/>
                <a:gd name="connsiteX17" fmla="*/ 1654 w 10000"/>
                <a:gd name="connsiteY17" fmla="*/ 5029 h 10000"/>
                <a:gd name="connsiteX18" fmla="*/ 1745 w 10000"/>
                <a:gd name="connsiteY18" fmla="*/ 5061 h 10000"/>
                <a:gd name="connsiteX19" fmla="*/ 1837 w 10000"/>
                <a:gd name="connsiteY19" fmla="*/ 5094 h 10000"/>
                <a:gd name="connsiteX20" fmla="*/ 1928 w 10000"/>
                <a:gd name="connsiteY20" fmla="*/ 5131 h 10000"/>
                <a:gd name="connsiteX21" fmla="*/ 2020 w 10000"/>
                <a:gd name="connsiteY21" fmla="*/ 5168 h 10000"/>
                <a:gd name="connsiteX22" fmla="*/ 2105 w 10000"/>
                <a:gd name="connsiteY22" fmla="*/ 5211 h 10000"/>
                <a:gd name="connsiteX23" fmla="*/ 2190 w 10000"/>
                <a:gd name="connsiteY23" fmla="*/ 5249 h 10000"/>
                <a:gd name="connsiteX24" fmla="*/ 2275 w 10000"/>
                <a:gd name="connsiteY24" fmla="*/ 5291 h 10000"/>
                <a:gd name="connsiteX25" fmla="*/ 2353 w 10000"/>
                <a:gd name="connsiteY25" fmla="*/ 5334 h 10000"/>
                <a:gd name="connsiteX26" fmla="*/ 2438 w 10000"/>
                <a:gd name="connsiteY26" fmla="*/ 5382 h 10000"/>
                <a:gd name="connsiteX27" fmla="*/ 2516 w 10000"/>
                <a:gd name="connsiteY27" fmla="*/ 5430 h 10000"/>
                <a:gd name="connsiteX28" fmla="*/ 2595 w 10000"/>
                <a:gd name="connsiteY28" fmla="*/ 5478 h 10000"/>
                <a:gd name="connsiteX29" fmla="*/ 2673 w 10000"/>
                <a:gd name="connsiteY29" fmla="*/ 5526 h 10000"/>
                <a:gd name="connsiteX30" fmla="*/ 2752 w 10000"/>
                <a:gd name="connsiteY30" fmla="*/ 5580 h 10000"/>
                <a:gd name="connsiteX31" fmla="*/ 2824 w 10000"/>
                <a:gd name="connsiteY31" fmla="*/ 5633 h 10000"/>
                <a:gd name="connsiteX32" fmla="*/ 2895 w 10000"/>
                <a:gd name="connsiteY32" fmla="*/ 5687 h 10000"/>
                <a:gd name="connsiteX33" fmla="*/ 2967 w 10000"/>
                <a:gd name="connsiteY33" fmla="*/ 5746 h 10000"/>
                <a:gd name="connsiteX34" fmla="*/ 3033 w 10000"/>
                <a:gd name="connsiteY34" fmla="*/ 5804 h 10000"/>
                <a:gd name="connsiteX35" fmla="*/ 3105 w 10000"/>
                <a:gd name="connsiteY35" fmla="*/ 5863 h 10000"/>
                <a:gd name="connsiteX36" fmla="*/ 3170 w 10000"/>
                <a:gd name="connsiteY36" fmla="*/ 5922 h 10000"/>
                <a:gd name="connsiteX37" fmla="*/ 3229 w 10000"/>
                <a:gd name="connsiteY37" fmla="*/ 5986 h 10000"/>
                <a:gd name="connsiteX38" fmla="*/ 3294 w 10000"/>
                <a:gd name="connsiteY38" fmla="*/ 6045 h 10000"/>
                <a:gd name="connsiteX39" fmla="*/ 3353 w 10000"/>
                <a:gd name="connsiteY39" fmla="*/ 6109 h 10000"/>
                <a:gd name="connsiteX40" fmla="*/ 3412 w 10000"/>
                <a:gd name="connsiteY40" fmla="*/ 6173 h 10000"/>
                <a:gd name="connsiteX41" fmla="*/ 3471 w 10000"/>
                <a:gd name="connsiteY41" fmla="*/ 6237 h 10000"/>
                <a:gd name="connsiteX42" fmla="*/ 3523 w 10000"/>
                <a:gd name="connsiteY42" fmla="*/ 6307 h 10000"/>
                <a:gd name="connsiteX43" fmla="*/ 3575 w 10000"/>
                <a:gd name="connsiteY43" fmla="*/ 6376 h 10000"/>
                <a:gd name="connsiteX44" fmla="*/ 3627 w 10000"/>
                <a:gd name="connsiteY44" fmla="*/ 6446 h 10000"/>
                <a:gd name="connsiteX45" fmla="*/ 3680 w 10000"/>
                <a:gd name="connsiteY45" fmla="*/ 6515 h 10000"/>
                <a:gd name="connsiteX46" fmla="*/ 3719 w 10000"/>
                <a:gd name="connsiteY46" fmla="*/ 6590 h 10000"/>
                <a:gd name="connsiteX47" fmla="*/ 3771 w 10000"/>
                <a:gd name="connsiteY47" fmla="*/ 6665 h 10000"/>
                <a:gd name="connsiteX48" fmla="*/ 3810 w 10000"/>
                <a:gd name="connsiteY48" fmla="*/ 6734 h 10000"/>
                <a:gd name="connsiteX49" fmla="*/ 3850 w 10000"/>
                <a:gd name="connsiteY49" fmla="*/ 6809 h 10000"/>
                <a:gd name="connsiteX50" fmla="*/ 3889 w 10000"/>
                <a:gd name="connsiteY50" fmla="*/ 6884 h 10000"/>
                <a:gd name="connsiteX51" fmla="*/ 3922 w 10000"/>
                <a:gd name="connsiteY51" fmla="*/ 6959 h 10000"/>
                <a:gd name="connsiteX52" fmla="*/ 3954 w 10000"/>
                <a:gd name="connsiteY52" fmla="*/ 7039 h 10000"/>
                <a:gd name="connsiteX53" fmla="*/ 3987 w 10000"/>
                <a:gd name="connsiteY53" fmla="*/ 7119 h 10000"/>
                <a:gd name="connsiteX54" fmla="*/ 4020 w 10000"/>
                <a:gd name="connsiteY54" fmla="*/ 7194 h 10000"/>
                <a:gd name="connsiteX55" fmla="*/ 4046 w 10000"/>
                <a:gd name="connsiteY55" fmla="*/ 7274 h 10000"/>
                <a:gd name="connsiteX56" fmla="*/ 4065 w 10000"/>
                <a:gd name="connsiteY56" fmla="*/ 7354 h 10000"/>
                <a:gd name="connsiteX57" fmla="*/ 4092 w 10000"/>
                <a:gd name="connsiteY57" fmla="*/ 7440 h 10000"/>
                <a:gd name="connsiteX58" fmla="*/ 4111 w 10000"/>
                <a:gd name="connsiteY58" fmla="*/ 7520 h 10000"/>
                <a:gd name="connsiteX59" fmla="*/ 4131 w 10000"/>
                <a:gd name="connsiteY59" fmla="*/ 7600 h 10000"/>
                <a:gd name="connsiteX60" fmla="*/ 4144 w 10000"/>
                <a:gd name="connsiteY60" fmla="*/ 7686 h 10000"/>
                <a:gd name="connsiteX61" fmla="*/ 4157 w 10000"/>
                <a:gd name="connsiteY61" fmla="*/ 7771 h 10000"/>
                <a:gd name="connsiteX62" fmla="*/ 4163 w 10000"/>
                <a:gd name="connsiteY62" fmla="*/ 7857 h 10000"/>
                <a:gd name="connsiteX63" fmla="*/ 4170 w 10000"/>
                <a:gd name="connsiteY63" fmla="*/ 7942 h 10000"/>
                <a:gd name="connsiteX64" fmla="*/ 4170 w 10000"/>
                <a:gd name="connsiteY64" fmla="*/ 8028 h 10000"/>
                <a:gd name="connsiteX65" fmla="*/ 4176 w 10000"/>
                <a:gd name="connsiteY65" fmla="*/ 8113 h 10000"/>
                <a:gd name="connsiteX66" fmla="*/ 4170 w 10000"/>
                <a:gd name="connsiteY66" fmla="*/ 8226 h 10000"/>
                <a:gd name="connsiteX67" fmla="*/ 4163 w 10000"/>
                <a:gd name="connsiteY67" fmla="*/ 8343 h 10000"/>
                <a:gd name="connsiteX68" fmla="*/ 4157 w 10000"/>
                <a:gd name="connsiteY68" fmla="*/ 8450 h 10000"/>
                <a:gd name="connsiteX69" fmla="*/ 4137 w 10000"/>
                <a:gd name="connsiteY69" fmla="*/ 8562 h 10000"/>
                <a:gd name="connsiteX70" fmla="*/ 6739 w 10000"/>
                <a:gd name="connsiteY70" fmla="*/ 10000 h 10000"/>
                <a:gd name="connsiteX71" fmla="*/ 9850 w 10000"/>
                <a:gd name="connsiteY71" fmla="*/ 9498 h 10000"/>
                <a:gd name="connsiteX72" fmla="*/ 9889 w 10000"/>
                <a:gd name="connsiteY72" fmla="*/ 9332 h 10000"/>
                <a:gd name="connsiteX73" fmla="*/ 9915 w 10000"/>
                <a:gd name="connsiteY73" fmla="*/ 9161 h 10000"/>
                <a:gd name="connsiteX74" fmla="*/ 9941 w 10000"/>
                <a:gd name="connsiteY74" fmla="*/ 8990 h 10000"/>
                <a:gd name="connsiteX75" fmla="*/ 9961 w 10000"/>
                <a:gd name="connsiteY75" fmla="*/ 8813 h 10000"/>
                <a:gd name="connsiteX76" fmla="*/ 9974 w 10000"/>
                <a:gd name="connsiteY76" fmla="*/ 8637 h 10000"/>
                <a:gd name="connsiteX77" fmla="*/ 9987 w 10000"/>
                <a:gd name="connsiteY77" fmla="*/ 8466 h 10000"/>
                <a:gd name="connsiteX78" fmla="*/ 9993 w 10000"/>
                <a:gd name="connsiteY78" fmla="*/ 8290 h 10000"/>
                <a:gd name="connsiteX79" fmla="*/ 10000 w 10000"/>
                <a:gd name="connsiteY79" fmla="*/ 8113 h 10000"/>
                <a:gd name="connsiteX80" fmla="*/ 9993 w 10000"/>
                <a:gd name="connsiteY80" fmla="*/ 7900 h 10000"/>
                <a:gd name="connsiteX81" fmla="*/ 9987 w 10000"/>
                <a:gd name="connsiteY81" fmla="*/ 7696 h 10000"/>
                <a:gd name="connsiteX82" fmla="*/ 9967 w 10000"/>
                <a:gd name="connsiteY82" fmla="*/ 7488 h 10000"/>
                <a:gd name="connsiteX83" fmla="*/ 9948 w 10000"/>
                <a:gd name="connsiteY83" fmla="*/ 7285 h 10000"/>
                <a:gd name="connsiteX84" fmla="*/ 9915 w 10000"/>
                <a:gd name="connsiteY84" fmla="*/ 7076 h 10000"/>
                <a:gd name="connsiteX85" fmla="*/ 9882 w 10000"/>
                <a:gd name="connsiteY85" fmla="*/ 6879 h 10000"/>
                <a:gd name="connsiteX86" fmla="*/ 9843 w 10000"/>
                <a:gd name="connsiteY86" fmla="*/ 6676 h 10000"/>
                <a:gd name="connsiteX87" fmla="*/ 9797 w 10000"/>
                <a:gd name="connsiteY87" fmla="*/ 6478 h 10000"/>
                <a:gd name="connsiteX88" fmla="*/ 9745 w 10000"/>
                <a:gd name="connsiteY88" fmla="*/ 6280 h 10000"/>
                <a:gd name="connsiteX89" fmla="*/ 9686 w 10000"/>
                <a:gd name="connsiteY89" fmla="*/ 6088 h 10000"/>
                <a:gd name="connsiteX90" fmla="*/ 9621 w 10000"/>
                <a:gd name="connsiteY90" fmla="*/ 5890 h 10000"/>
                <a:gd name="connsiteX91" fmla="*/ 9556 w 10000"/>
                <a:gd name="connsiteY91" fmla="*/ 5697 h 10000"/>
                <a:gd name="connsiteX92" fmla="*/ 9477 w 10000"/>
                <a:gd name="connsiteY92" fmla="*/ 5510 h 10000"/>
                <a:gd name="connsiteX93" fmla="*/ 9399 w 10000"/>
                <a:gd name="connsiteY93" fmla="*/ 5323 h 10000"/>
                <a:gd name="connsiteX94" fmla="*/ 9307 w 10000"/>
                <a:gd name="connsiteY94" fmla="*/ 5136 h 10000"/>
                <a:gd name="connsiteX95" fmla="*/ 9216 w 10000"/>
                <a:gd name="connsiteY95" fmla="*/ 4955 h 10000"/>
                <a:gd name="connsiteX96" fmla="*/ 9124 w 10000"/>
                <a:gd name="connsiteY96" fmla="*/ 4773 h 10000"/>
                <a:gd name="connsiteX97" fmla="*/ 9020 w 10000"/>
                <a:gd name="connsiteY97" fmla="*/ 4596 h 10000"/>
                <a:gd name="connsiteX98" fmla="*/ 8915 w 10000"/>
                <a:gd name="connsiteY98" fmla="*/ 4420 h 10000"/>
                <a:gd name="connsiteX99" fmla="*/ 8804 w 10000"/>
                <a:gd name="connsiteY99" fmla="*/ 4244 h 10000"/>
                <a:gd name="connsiteX100" fmla="*/ 8686 w 10000"/>
                <a:gd name="connsiteY100" fmla="*/ 4073 h 10000"/>
                <a:gd name="connsiteX101" fmla="*/ 8562 w 10000"/>
                <a:gd name="connsiteY101" fmla="*/ 3907 h 10000"/>
                <a:gd name="connsiteX102" fmla="*/ 8438 w 10000"/>
                <a:gd name="connsiteY102" fmla="*/ 3741 h 10000"/>
                <a:gd name="connsiteX103" fmla="*/ 8307 w 10000"/>
                <a:gd name="connsiteY103" fmla="*/ 3576 h 10000"/>
                <a:gd name="connsiteX104" fmla="*/ 8170 w 10000"/>
                <a:gd name="connsiteY104" fmla="*/ 3415 h 10000"/>
                <a:gd name="connsiteX105" fmla="*/ 8026 w 10000"/>
                <a:gd name="connsiteY105" fmla="*/ 3260 h 10000"/>
                <a:gd name="connsiteX106" fmla="*/ 7882 w 10000"/>
                <a:gd name="connsiteY106" fmla="*/ 3105 h 10000"/>
                <a:gd name="connsiteX107" fmla="*/ 7732 w 10000"/>
                <a:gd name="connsiteY107" fmla="*/ 2950 h 10000"/>
                <a:gd name="connsiteX108" fmla="*/ 7582 w 10000"/>
                <a:gd name="connsiteY108" fmla="*/ 2806 h 10000"/>
                <a:gd name="connsiteX109" fmla="*/ 7418 w 10000"/>
                <a:gd name="connsiteY109" fmla="*/ 2662 h 10000"/>
                <a:gd name="connsiteX110" fmla="*/ 7261 w 10000"/>
                <a:gd name="connsiteY110" fmla="*/ 2517 h 10000"/>
                <a:gd name="connsiteX111" fmla="*/ 7092 w 10000"/>
                <a:gd name="connsiteY111" fmla="*/ 2373 h 10000"/>
                <a:gd name="connsiteX112" fmla="*/ 6922 w 10000"/>
                <a:gd name="connsiteY112" fmla="*/ 2239 h 10000"/>
                <a:gd name="connsiteX113" fmla="*/ 6752 w 10000"/>
                <a:gd name="connsiteY113" fmla="*/ 2106 h 10000"/>
                <a:gd name="connsiteX114" fmla="*/ 6569 w 10000"/>
                <a:gd name="connsiteY114" fmla="*/ 1978 h 10000"/>
                <a:gd name="connsiteX115" fmla="*/ 6386 w 10000"/>
                <a:gd name="connsiteY115" fmla="*/ 1855 h 10000"/>
                <a:gd name="connsiteX116" fmla="*/ 6203 w 10000"/>
                <a:gd name="connsiteY116" fmla="*/ 1732 h 10000"/>
                <a:gd name="connsiteX117" fmla="*/ 6013 w 10000"/>
                <a:gd name="connsiteY117" fmla="*/ 1614 h 10000"/>
                <a:gd name="connsiteX118" fmla="*/ 5817 w 10000"/>
                <a:gd name="connsiteY118" fmla="*/ 1497 h 10000"/>
                <a:gd name="connsiteX119" fmla="*/ 5621 w 10000"/>
                <a:gd name="connsiteY119" fmla="*/ 1384 h 10000"/>
                <a:gd name="connsiteX120" fmla="*/ 5425 w 10000"/>
                <a:gd name="connsiteY120" fmla="*/ 1277 h 10000"/>
                <a:gd name="connsiteX121" fmla="*/ 5222 w 10000"/>
                <a:gd name="connsiteY121" fmla="*/ 1176 h 10000"/>
                <a:gd name="connsiteX122" fmla="*/ 5020 w 10000"/>
                <a:gd name="connsiteY122" fmla="*/ 1074 h 10000"/>
                <a:gd name="connsiteX123" fmla="*/ 4804 w 10000"/>
                <a:gd name="connsiteY123" fmla="*/ 978 h 10000"/>
                <a:gd name="connsiteX124" fmla="*/ 4595 w 10000"/>
                <a:gd name="connsiteY124" fmla="*/ 887 h 10000"/>
                <a:gd name="connsiteX125" fmla="*/ 4379 w 10000"/>
                <a:gd name="connsiteY125" fmla="*/ 802 h 10000"/>
                <a:gd name="connsiteX126" fmla="*/ 4157 w 10000"/>
                <a:gd name="connsiteY126" fmla="*/ 716 h 10000"/>
                <a:gd name="connsiteX127" fmla="*/ 3941 w 10000"/>
                <a:gd name="connsiteY127" fmla="*/ 636 h 10000"/>
                <a:gd name="connsiteX128" fmla="*/ 3719 w 10000"/>
                <a:gd name="connsiteY128" fmla="*/ 567 h 10000"/>
                <a:gd name="connsiteX129" fmla="*/ 3490 w 10000"/>
                <a:gd name="connsiteY129" fmla="*/ 492 h 10000"/>
                <a:gd name="connsiteX130" fmla="*/ 3261 w 10000"/>
                <a:gd name="connsiteY130" fmla="*/ 428 h 10000"/>
                <a:gd name="connsiteX131" fmla="*/ 3026 w 10000"/>
                <a:gd name="connsiteY131" fmla="*/ 363 h 10000"/>
                <a:gd name="connsiteX132" fmla="*/ 2797 w 10000"/>
                <a:gd name="connsiteY132" fmla="*/ 310 h 10000"/>
                <a:gd name="connsiteX133" fmla="*/ 2556 w 10000"/>
                <a:gd name="connsiteY133" fmla="*/ 257 h 10000"/>
                <a:gd name="connsiteX134" fmla="*/ 2314 w 10000"/>
                <a:gd name="connsiteY134" fmla="*/ 208 h 10000"/>
                <a:gd name="connsiteX135" fmla="*/ 2078 w 10000"/>
                <a:gd name="connsiteY135" fmla="*/ 166 h 10000"/>
                <a:gd name="connsiteX136" fmla="*/ 1837 w 10000"/>
                <a:gd name="connsiteY136" fmla="*/ 128 h 10000"/>
                <a:gd name="connsiteX137" fmla="*/ 1588 w 10000"/>
                <a:gd name="connsiteY137" fmla="*/ 91 h 10000"/>
                <a:gd name="connsiteX138" fmla="*/ 1340 w 10000"/>
                <a:gd name="connsiteY138" fmla="*/ 64 h 10000"/>
                <a:gd name="connsiteX139" fmla="*/ 1092 w 10000"/>
                <a:gd name="connsiteY139" fmla="*/ 43 h 10000"/>
                <a:gd name="connsiteX140" fmla="*/ 843 w 10000"/>
                <a:gd name="connsiteY140" fmla="*/ 27 h 10000"/>
                <a:gd name="connsiteX141" fmla="*/ 588 w 10000"/>
                <a:gd name="connsiteY141" fmla="*/ 11 h 10000"/>
                <a:gd name="connsiteX142" fmla="*/ 333 w 10000"/>
                <a:gd name="connsiteY142" fmla="*/ 5 h 10000"/>
                <a:gd name="connsiteX143" fmla="*/ 78 w 10000"/>
                <a:gd name="connsiteY143" fmla="*/ 0 h 10000"/>
                <a:gd name="connsiteX144" fmla="*/ 0 w 10000"/>
                <a:gd name="connsiteY144" fmla="*/ 5 h 10000"/>
                <a:gd name="connsiteX145" fmla="*/ 1245 w 10000"/>
                <a:gd name="connsiteY145" fmla="*/ 2475 h 10000"/>
                <a:gd name="connsiteX146" fmla="*/ 26 w 10000"/>
                <a:gd name="connsiteY146" fmla="*/ 4768 h 10000"/>
                <a:gd name="connsiteX0" fmla="*/ 26 w 10000"/>
                <a:gd name="connsiteY0" fmla="*/ 4768 h 10000"/>
                <a:gd name="connsiteX1" fmla="*/ 59 w 10000"/>
                <a:gd name="connsiteY1" fmla="*/ 4762 h 10000"/>
                <a:gd name="connsiteX2" fmla="*/ 163 w 10000"/>
                <a:gd name="connsiteY2" fmla="*/ 4762 h 10000"/>
                <a:gd name="connsiteX3" fmla="*/ 268 w 10000"/>
                <a:gd name="connsiteY3" fmla="*/ 4768 h 10000"/>
                <a:gd name="connsiteX4" fmla="*/ 373 w 10000"/>
                <a:gd name="connsiteY4" fmla="*/ 4773 h 10000"/>
                <a:gd name="connsiteX5" fmla="*/ 477 w 10000"/>
                <a:gd name="connsiteY5" fmla="*/ 4778 h 10000"/>
                <a:gd name="connsiteX6" fmla="*/ 582 w 10000"/>
                <a:gd name="connsiteY6" fmla="*/ 4794 h 10000"/>
                <a:gd name="connsiteX7" fmla="*/ 686 w 10000"/>
                <a:gd name="connsiteY7" fmla="*/ 4805 h 10000"/>
                <a:gd name="connsiteX8" fmla="*/ 784 w 10000"/>
                <a:gd name="connsiteY8" fmla="*/ 4816 h 10000"/>
                <a:gd name="connsiteX9" fmla="*/ 882 w 10000"/>
                <a:gd name="connsiteY9" fmla="*/ 4832 h 10000"/>
                <a:gd name="connsiteX10" fmla="*/ 987 w 10000"/>
                <a:gd name="connsiteY10" fmla="*/ 4848 h 10000"/>
                <a:gd name="connsiteX11" fmla="*/ 1085 w 10000"/>
                <a:gd name="connsiteY11" fmla="*/ 4869 h 10000"/>
                <a:gd name="connsiteX12" fmla="*/ 1183 w 10000"/>
                <a:gd name="connsiteY12" fmla="*/ 4890 h 10000"/>
                <a:gd name="connsiteX13" fmla="*/ 1281 w 10000"/>
                <a:gd name="connsiteY13" fmla="*/ 4912 h 10000"/>
                <a:gd name="connsiteX14" fmla="*/ 1373 w 10000"/>
                <a:gd name="connsiteY14" fmla="*/ 4939 h 10000"/>
                <a:gd name="connsiteX15" fmla="*/ 1471 w 10000"/>
                <a:gd name="connsiteY15" fmla="*/ 4965 h 10000"/>
                <a:gd name="connsiteX16" fmla="*/ 1562 w 10000"/>
                <a:gd name="connsiteY16" fmla="*/ 4997 h 10000"/>
                <a:gd name="connsiteX17" fmla="*/ 1654 w 10000"/>
                <a:gd name="connsiteY17" fmla="*/ 5029 h 10000"/>
                <a:gd name="connsiteX18" fmla="*/ 1745 w 10000"/>
                <a:gd name="connsiteY18" fmla="*/ 5061 h 10000"/>
                <a:gd name="connsiteX19" fmla="*/ 1837 w 10000"/>
                <a:gd name="connsiteY19" fmla="*/ 5094 h 10000"/>
                <a:gd name="connsiteX20" fmla="*/ 1928 w 10000"/>
                <a:gd name="connsiteY20" fmla="*/ 5131 h 10000"/>
                <a:gd name="connsiteX21" fmla="*/ 2020 w 10000"/>
                <a:gd name="connsiteY21" fmla="*/ 5168 h 10000"/>
                <a:gd name="connsiteX22" fmla="*/ 2105 w 10000"/>
                <a:gd name="connsiteY22" fmla="*/ 5211 h 10000"/>
                <a:gd name="connsiteX23" fmla="*/ 2190 w 10000"/>
                <a:gd name="connsiteY23" fmla="*/ 5249 h 10000"/>
                <a:gd name="connsiteX24" fmla="*/ 2275 w 10000"/>
                <a:gd name="connsiteY24" fmla="*/ 5291 h 10000"/>
                <a:gd name="connsiteX25" fmla="*/ 2353 w 10000"/>
                <a:gd name="connsiteY25" fmla="*/ 5334 h 10000"/>
                <a:gd name="connsiteX26" fmla="*/ 2438 w 10000"/>
                <a:gd name="connsiteY26" fmla="*/ 5382 h 10000"/>
                <a:gd name="connsiteX27" fmla="*/ 2516 w 10000"/>
                <a:gd name="connsiteY27" fmla="*/ 5430 h 10000"/>
                <a:gd name="connsiteX28" fmla="*/ 2595 w 10000"/>
                <a:gd name="connsiteY28" fmla="*/ 5478 h 10000"/>
                <a:gd name="connsiteX29" fmla="*/ 2673 w 10000"/>
                <a:gd name="connsiteY29" fmla="*/ 5526 h 10000"/>
                <a:gd name="connsiteX30" fmla="*/ 2752 w 10000"/>
                <a:gd name="connsiteY30" fmla="*/ 5580 h 10000"/>
                <a:gd name="connsiteX31" fmla="*/ 2824 w 10000"/>
                <a:gd name="connsiteY31" fmla="*/ 5633 h 10000"/>
                <a:gd name="connsiteX32" fmla="*/ 2895 w 10000"/>
                <a:gd name="connsiteY32" fmla="*/ 5687 h 10000"/>
                <a:gd name="connsiteX33" fmla="*/ 2967 w 10000"/>
                <a:gd name="connsiteY33" fmla="*/ 5746 h 10000"/>
                <a:gd name="connsiteX34" fmla="*/ 3033 w 10000"/>
                <a:gd name="connsiteY34" fmla="*/ 5804 h 10000"/>
                <a:gd name="connsiteX35" fmla="*/ 3105 w 10000"/>
                <a:gd name="connsiteY35" fmla="*/ 5863 h 10000"/>
                <a:gd name="connsiteX36" fmla="*/ 3170 w 10000"/>
                <a:gd name="connsiteY36" fmla="*/ 5922 h 10000"/>
                <a:gd name="connsiteX37" fmla="*/ 3229 w 10000"/>
                <a:gd name="connsiteY37" fmla="*/ 5986 h 10000"/>
                <a:gd name="connsiteX38" fmla="*/ 3294 w 10000"/>
                <a:gd name="connsiteY38" fmla="*/ 6045 h 10000"/>
                <a:gd name="connsiteX39" fmla="*/ 3353 w 10000"/>
                <a:gd name="connsiteY39" fmla="*/ 6109 h 10000"/>
                <a:gd name="connsiteX40" fmla="*/ 3412 w 10000"/>
                <a:gd name="connsiteY40" fmla="*/ 6173 h 10000"/>
                <a:gd name="connsiteX41" fmla="*/ 3471 w 10000"/>
                <a:gd name="connsiteY41" fmla="*/ 6237 h 10000"/>
                <a:gd name="connsiteX42" fmla="*/ 3523 w 10000"/>
                <a:gd name="connsiteY42" fmla="*/ 6307 h 10000"/>
                <a:gd name="connsiteX43" fmla="*/ 3575 w 10000"/>
                <a:gd name="connsiteY43" fmla="*/ 6376 h 10000"/>
                <a:gd name="connsiteX44" fmla="*/ 3627 w 10000"/>
                <a:gd name="connsiteY44" fmla="*/ 6446 h 10000"/>
                <a:gd name="connsiteX45" fmla="*/ 3680 w 10000"/>
                <a:gd name="connsiteY45" fmla="*/ 6515 h 10000"/>
                <a:gd name="connsiteX46" fmla="*/ 3719 w 10000"/>
                <a:gd name="connsiteY46" fmla="*/ 6590 h 10000"/>
                <a:gd name="connsiteX47" fmla="*/ 3771 w 10000"/>
                <a:gd name="connsiteY47" fmla="*/ 6665 h 10000"/>
                <a:gd name="connsiteX48" fmla="*/ 3810 w 10000"/>
                <a:gd name="connsiteY48" fmla="*/ 6734 h 10000"/>
                <a:gd name="connsiteX49" fmla="*/ 3850 w 10000"/>
                <a:gd name="connsiteY49" fmla="*/ 6809 h 10000"/>
                <a:gd name="connsiteX50" fmla="*/ 3889 w 10000"/>
                <a:gd name="connsiteY50" fmla="*/ 6884 h 10000"/>
                <a:gd name="connsiteX51" fmla="*/ 3922 w 10000"/>
                <a:gd name="connsiteY51" fmla="*/ 6959 h 10000"/>
                <a:gd name="connsiteX52" fmla="*/ 3954 w 10000"/>
                <a:gd name="connsiteY52" fmla="*/ 7039 h 10000"/>
                <a:gd name="connsiteX53" fmla="*/ 3987 w 10000"/>
                <a:gd name="connsiteY53" fmla="*/ 7119 h 10000"/>
                <a:gd name="connsiteX54" fmla="*/ 4020 w 10000"/>
                <a:gd name="connsiteY54" fmla="*/ 7194 h 10000"/>
                <a:gd name="connsiteX55" fmla="*/ 4046 w 10000"/>
                <a:gd name="connsiteY55" fmla="*/ 7274 h 10000"/>
                <a:gd name="connsiteX56" fmla="*/ 4065 w 10000"/>
                <a:gd name="connsiteY56" fmla="*/ 7354 h 10000"/>
                <a:gd name="connsiteX57" fmla="*/ 4092 w 10000"/>
                <a:gd name="connsiteY57" fmla="*/ 7440 h 10000"/>
                <a:gd name="connsiteX58" fmla="*/ 4111 w 10000"/>
                <a:gd name="connsiteY58" fmla="*/ 7520 h 10000"/>
                <a:gd name="connsiteX59" fmla="*/ 4131 w 10000"/>
                <a:gd name="connsiteY59" fmla="*/ 7600 h 10000"/>
                <a:gd name="connsiteX60" fmla="*/ 4144 w 10000"/>
                <a:gd name="connsiteY60" fmla="*/ 7686 h 10000"/>
                <a:gd name="connsiteX61" fmla="*/ 4157 w 10000"/>
                <a:gd name="connsiteY61" fmla="*/ 7771 h 10000"/>
                <a:gd name="connsiteX62" fmla="*/ 4163 w 10000"/>
                <a:gd name="connsiteY62" fmla="*/ 7857 h 10000"/>
                <a:gd name="connsiteX63" fmla="*/ 4170 w 10000"/>
                <a:gd name="connsiteY63" fmla="*/ 7942 h 10000"/>
                <a:gd name="connsiteX64" fmla="*/ 4170 w 10000"/>
                <a:gd name="connsiteY64" fmla="*/ 8028 h 10000"/>
                <a:gd name="connsiteX65" fmla="*/ 4176 w 10000"/>
                <a:gd name="connsiteY65" fmla="*/ 8113 h 10000"/>
                <a:gd name="connsiteX66" fmla="*/ 4170 w 10000"/>
                <a:gd name="connsiteY66" fmla="*/ 8226 h 10000"/>
                <a:gd name="connsiteX67" fmla="*/ 4163 w 10000"/>
                <a:gd name="connsiteY67" fmla="*/ 8343 h 10000"/>
                <a:gd name="connsiteX68" fmla="*/ 4157 w 10000"/>
                <a:gd name="connsiteY68" fmla="*/ 8450 h 10000"/>
                <a:gd name="connsiteX69" fmla="*/ 4137 w 10000"/>
                <a:gd name="connsiteY69" fmla="*/ 8562 h 10000"/>
                <a:gd name="connsiteX70" fmla="*/ 6739 w 10000"/>
                <a:gd name="connsiteY70" fmla="*/ 10000 h 10000"/>
                <a:gd name="connsiteX71" fmla="*/ 9850 w 10000"/>
                <a:gd name="connsiteY71" fmla="*/ 9498 h 10000"/>
                <a:gd name="connsiteX72" fmla="*/ 9889 w 10000"/>
                <a:gd name="connsiteY72" fmla="*/ 9332 h 10000"/>
                <a:gd name="connsiteX73" fmla="*/ 9915 w 10000"/>
                <a:gd name="connsiteY73" fmla="*/ 9161 h 10000"/>
                <a:gd name="connsiteX74" fmla="*/ 9941 w 10000"/>
                <a:gd name="connsiteY74" fmla="*/ 8990 h 10000"/>
                <a:gd name="connsiteX75" fmla="*/ 9961 w 10000"/>
                <a:gd name="connsiteY75" fmla="*/ 8813 h 10000"/>
                <a:gd name="connsiteX76" fmla="*/ 9974 w 10000"/>
                <a:gd name="connsiteY76" fmla="*/ 8637 h 10000"/>
                <a:gd name="connsiteX77" fmla="*/ 9987 w 10000"/>
                <a:gd name="connsiteY77" fmla="*/ 8466 h 10000"/>
                <a:gd name="connsiteX78" fmla="*/ 9993 w 10000"/>
                <a:gd name="connsiteY78" fmla="*/ 8290 h 10000"/>
                <a:gd name="connsiteX79" fmla="*/ 10000 w 10000"/>
                <a:gd name="connsiteY79" fmla="*/ 8113 h 10000"/>
                <a:gd name="connsiteX80" fmla="*/ 9993 w 10000"/>
                <a:gd name="connsiteY80" fmla="*/ 7900 h 10000"/>
                <a:gd name="connsiteX81" fmla="*/ 9987 w 10000"/>
                <a:gd name="connsiteY81" fmla="*/ 7696 h 10000"/>
                <a:gd name="connsiteX82" fmla="*/ 9967 w 10000"/>
                <a:gd name="connsiteY82" fmla="*/ 7488 h 10000"/>
                <a:gd name="connsiteX83" fmla="*/ 9948 w 10000"/>
                <a:gd name="connsiteY83" fmla="*/ 7285 h 10000"/>
                <a:gd name="connsiteX84" fmla="*/ 9915 w 10000"/>
                <a:gd name="connsiteY84" fmla="*/ 7076 h 10000"/>
                <a:gd name="connsiteX85" fmla="*/ 9882 w 10000"/>
                <a:gd name="connsiteY85" fmla="*/ 6879 h 10000"/>
                <a:gd name="connsiteX86" fmla="*/ 9843 w 10000"/>
                <a:gd name="connsiteY86" fmla="*/ 6676 h 10000"/>
                <a:gd name="connsiteX87" fmla="*/ 9797 w 10000"/>
                <a:gd name="connsiteY87" fmla="*/ 6478 h 10000"/>
                <a:gd name="connsiteX88" fmla="*/ 9745 w 10000"/>
                <a:gd name="connsiteY88" fmla="*/ 6280 h 10000"/>
                <a:gd name="connsiteX89" fmla="*/ 9686 w 10000"/>
                <a:gd name="connsiteY89" fmla="*/ 6088 h 10000"/>
                <a:gd name="connsiteX90" fmla="*/ 9621 w 10000"/>
                <a:gd name="connsiteY90" fmla="*/ 5890 h 10000"/>
                <a:gd name="connsiteX91" fmla="*/ 9556 w 10000"/>
                <a:gd name="connsiteY91" fmla="*/ 5697 h 10000"/>
                <a:gd name="connsiteX92" fmla="*/ 9477 w 10000"/>
                <a:gd name="connsiteY92" fmla="*/ 5510 h 10000"/>
                <a:gd name="connsiteX93" fmla="*/ 9399 w 10000"/>
                <a:gd name="connsiteY93" fmla="*/ 5323 h 10000"/>
                <a:gd name="connsiteX94" fmla="*/ 9307 w 10000"/>
                <a:gd name="connsiteY94" fmla="*/ 5136 h 10000"/>
                <a:gd name="connsiteX95" fmla="*/ 9216 w 10000"/>
                <a:gd name="connsiteY95" fmla="*/ 4955 h 10000"/>
                <a:gd name="connsiteX96" fmla="*/ 9124 w 10000"/>
                <a:gd name="connsiteY96" fmla="*/ 4773 h 10000"/>
                <a:gd name="connsiteX97" fmla="*/ 9020 w 10000"/>
                <a:gd name="connsiteY97" fmla="*/ 4596 h 10000"/>
                <a:gd name="connsiteX98" fmla="*/ 8915 w 10000"/>
                <a:gd name="connsiteY98" fmla="*/ 4420 h 10000"/>
                <a:gd name="connsiteX99" fmla="*/ 8804 w 10000"/>
                <a:gd name="connsiteY99" fmla="*/ 4244 h 10000"/>
                <a:gd name="connsiteX100" fmla="*/ 8686 w 10000"/>
                <a:gd name="connsiteY100" fmla="*/ 4073 h 10000"/>
                <a:gd name="connsiteX101" fmla="*/ 8562 w 10000"/>
                <a:gd name="connsiteY101" fmla="*/ 3907 h 10000"/>
                <a:gd name="connsiteX102" fmla="*/ 8438 w 10000"/>
                <a:gd name="connsiteY102" fmla="*/ 3741 h 10000"/>
                <a:gd name="connsiteX103" fmla="*/ 8307 w 10000"/>
                <a:gd name="connsiteY103" fmla="*/ 3576 h 10000"/>
                <a:gd name="connsiteX104" fmla="*/ 8170 w 10000"/>
                <a:gd name="connsiteY104" fmla="*/ 3415 h 10000"/>
                <a:gd name="connsiteX105" fmla="*/ 8026 w 10000"/>
                <a:gd name="connsiteY105" fmla="*/ 3260 h 10000"/>
                <a:gd name="connsiteX106" fmla="*/ 7882 w 10000"/>
                <a:gd name="connsiteY106" fmla="*/ 3105 h 10000"/>
                <a:gd name="connsiteX107" fmla="*/ 7732 w 10000"/>
                <a:gd name="connsiteY107" fmla="*/ 2950 h 10000"/>
                <a:gd name="connsiteX108" fmla="*/ 7582 w 10000"/>
                <a:gd name="connsiteY108" fmla="*/ 2806 h 10000"/>
                <a:gd name="connsiteX109" fmla="*/ 7418 w 10000"/>
                <a:gd name="connsiteY109" fmla="*/ 2662 h 10000"/>
                <a:gd name="connsiteX110" fmla="*/ 7261 w 10000"/>
                <a:gd name="connsiteY110" fmla="*/ 2517 h 10000"/>
                <a:gd name="connsiteX111" fmla="*/ 7092 w 10000"/>
                <a:gd name="connsiteY111" fmla="*/ 2373 h 10000"/>
                <a:gd name="connsiteX112" fmla="*/ 6922 w 10000"/>
                <a:gd name="connsiteY112" fmla="*/ 2239 h 10000"/>
                <a:gd name="connsiteX113" fmla="*/ 6752 w 10000"/>
                <a:gd name="connsiteY113" fmla="*/ 2106 h 10000"/>
                <a:gd name="connsiteX114" fmla="*/ 6569 w 10000"/>
                <a:gd name="connsiteY114" fmla="*/ 1978 h 10000"/>
                <a:gd name="connsiteX115" fmla="*/ 6386 w 10000"/>
                <a:gd name="connsiteY115" fmla="*/ 1855 h 10000"/>
                <a:gd name="connsiteX116" fmla="*/ 6203 w 10000"/>
                <a:gd name="connsiteY116" fmla="*/ 1732 h 10000"/>
                <a:gd name="connsiteX117" fmla="*/ 6013 w 10000"/>
                <a:gd name="connsiteY117" fmla="*/ 1614 h 10000"/>
                <a:gd name="connsiteX118" fmla="*/ 5817 w 10000"/>
                <a:gd name="connsiteY118" fmla="*/ 1497 h 10000"/>
                <a:gd name="connsiteX119" fmla="*/ 5621 w 10000"/>
                <a:gd name="connsiteY119" fmla="*/ 1384 h 10000"/>
                <a:gd name="connsiteX120" fmla="*/ 5425 w 10000"/>
                <a:gd name="connsiteY120" fmla="*/ 1277 h 10000"/>
                <a:gd name="connsiteX121" fmla="*/ 5222 w 10000"/>
                <a:gd name="connsiteY121" fmla="*/ 1176 h 10000"/>
                <a:gd name="connsiteX122" fmla="*/ 5020 w 10000"/>
                <a:gd name="connsiteY122" fmla="*/ 1074 h 10000"/>
                <a:gd name="connsiteX123" fmla="*/ 4804 w 10000"/>
                <a:gd name="connsiteY123" fmla="*/ 978 h 10000"/>
                <a:gd name="connsiteX124" fmla="*/ 4595 w 10000"/>
                <a:gd name="connsiteY124" fmla="*/ 887 h 10000"/>
                <a:gd name="connsiteX125" fmla="*/ 4379 w 10000"/>
                <a:gd name="connsiteY125" fmla="*/ 802 h 10000"/>
                <a:gd name="connsiteX126" fmla="*/ 4157 w 10000"/>
                <a:gd name="connsiteY126" fmla="*/ 716 h 10000"/>
                <a:gd name="connsiteX127" fmla="*/ 3941 w 10000"/>
                <a:gd name="connsiteY127" fmla="*/ 636 h 10000"/>
                <a:gd name="connsiteX128" fmla="*/ 3719 w 10000"/>
                <a:gd name="connsiteY128" fmla="*/ 567 h 10000"/>
                <a:gd name="connsiteX129" fmla="*/ 3490 w 10000"/>
                <a:gd name="connsiteY129" fmla="*/ 492 h 10000"/>
                <a:gd name="connsiteX130" fmla="*/ 3261 w 10000"/>
                <a:gd name="connsiteY130" fmla="*/ 428 h 10000"/>
                <a:gd name="connsiteX131" fmla="*/ 3026 w 10000"/>
                <a:gd name="connsiteY131" fmla="*/ 363 h 10000"/>
                <a:gd name="connsiteX132" fmla="*/ 2797 w 10000"/>
                <a:gd name="connsiteY132" fmla="*/ 310 h 10000"/>
                <a:gd name="connsiteX133" fmla="*/ 2556 w 10000"/>
                <a:gd name="connsiteY133" fmla="*/ 257 h 10000"/>
                <a:gd name="connsiteX134" fmla="*/ 2314 w 10000"/>
                <a:gd name="connsiteY134" fmla="*/ 208 h 10000"/>
                <a:gd name="connsiteX135" fmla="*/ 2078 w 10000"/>
                <a:gd name="connsiteY135" fmla="*/ 166 h 10000"/>
                <a:gd name="connsiteX136" fmla="*/ 1837 w 10000"/>
                <a:gd name="connsiteY136" fmla="*/ 128 h 10000"/>
                <a:gd name="connsiteX137" fmla="*/ 1588 w 10000"/>
                <a:gd name="connsiteY137" fmla="*/ 91 h 10000"/>
                <a:gd name="connsiteX138" fmla="*/ 1340 w 10000"/>
                <a:gd name="connsiteY138" fmla="*/ 64 h 10000"/>
                <a:gd name="connsiteX139" fmla="*/ 1092 w 10000"/>
                <a:gd name="connsiteY139" fmla="*/ 43 h 10000"/>
                <a:gd name="connsiteX140" fmla="*/ 843 w 10000"/>
                <a:gd name="connsiteY140" fmla="*/ 27 h 10000"/>
                <a:gd name="connsiteX141" fmla="*/ 588 w 10000"/>
                <a:gd name="connsiteY141" fmla="*/ 11 h 10000"/>
                <a:gd name="connsiteX142" fmla="*/ 333 w 10000"/>
                <a:gd name="connsiteY142" fmla="*/ 5 h 10000"/>
                <a:gd name="connsiteX143" fmla="*/ 78 w 10000"/>
                <a:gd name="connsiteY143" fmla="*/ 0 h 10000"/>
                <a:gd name="connsiteX144" fmla="*/ 0 w 10000"/>
                <a:gd name="connsiteY144" fmla="*/ 5 h 10000"/>
                <a:gd name="connsiteX145" fmla="*/ 1245 w 10000"/>
                <a:gd name="connsiteY145" fmla="*/ 2443 h 10000"/>
                <a:gd name="connsiteX146" fmla="*/ 26 w 10000"/>
                <a:gd name="connsiteY146" fmla="*/ 4768 h 10000"/>
                <a:gd name="connsiteX0" fmla="*/ 26 w 10000"/>
                <a:gd name="connsiteY0" fmla="*/ 4768 h 10000"/>
                <a:gd name="connsiteX1" fmla="*/ 59 w 10000"/>
                <a:gd name="connsiteY1" fmla="*/ 4762 h 10000"/>
                <a:gd name="connsiteX2" fmla="*/ 163 w 10000"/>
                <a:gd name="connsiteY2" fmla="*/ 4762 h 10000"/>
                <a:gd name="connsiteX3" fmla="*/ 268 w 10000"/>
                <a:gd name="connsiteY3" fmla="*/ 4768 h 10000"/>
                <a:gd name="connsiteX4" fmla="*/ 373 w 10000"/>
                <a:gd name="connsiteY4" fmla="*/ 4773 h 10000"/>
                <a:gd name="connsiteX5" fmla="*/ 477 w 10000"/>
                <a:gd name="connsiteY5" fmla="*/ 4778 h 10000"/>
                <a:gd name="connsiteX6" fmla="*/ 582 w 10000"/>
                <a:gd name="connsiteY6" fmla="*/ 4794 h 10000"/>
                <a:gd name="connsiteX7" fmla="*/ 686 w 10000"/>
                <a:gd name="connsiteY7" fmla="*/ 4805 h 10000"/>
                <a:gd name="connsiteX8" fmla="*/ 784 w 10000"/>
                <a:gd name="connsiteY8" fmla="*/ 4816 h 10000"/>
                <a:gd name="connsiteX9" fmla="*/ 882 w 10000"/>
                <a:gd name="connsiteY9" fmla="*/ 4832 h 10000"/>
                <a:gd name="connsiteX10" fmla="*/ 987 w 10000"/>
                <a:gd name="connsiteY10" fmla="*/ 4848 h 10000"/>
                <a:gd name="connsiteX11" fmla="*/ 1085 w 10000"/>
                <a:gd name="connsiteY11" fmla="*/ 4869 h 10000"/>
                <a:gd name="connsiteX12" fmla="*/ 1183 w 10000"/>
                <a:gd name="connsiteY12" fmla="*/ 4890 h 10000"/>
                <a:gd name="connsiteX13" fmla="*/ 1281 w 10000"/>
                <a:gd name="connsiteY13" fmla="*/ 4912 h 10000"/>
                <a:gd name="connsiteX14" fmla="*/ 1373 w 10000"/>
                <a:gd name="connsiteY14" fmla="*/ 4939 h 10000"/>
                <a:gd name="connsiteX15" fmla="*/ 1471 w 10000"/>
                <a:gd name="connsiteY15" fmla="*/ 4965 h 10000"/>
                <a:gd name="connsiteX16" fmla="*/ 1562 w 10000"/>
                <a:gd name="connsiteY16" fmla="*/ 4997 h 10000"/>
                <a:gd name="connsiteX17" fmla="*/ 1654 w 10000"/>
                <a:gd name="connsiteY17" fmla="*/ 5029 h 10000"/>
                <a:gd name="connsiteX18" fmla="*/ 1745 w 10000"/>
                <a:gd name="connsiteY18" fmla="*/ 5061 h 10000"/>
                <a:gd name="connsiteX19" fmla="*/ 1837 w 10000"/>
                <a:gd name="connsiteY19" fmla="*/ 5094 h 10000"/>
                <a:gd name="connsiteX20" fmla="*/ 1928 w 10000"/>
                <a:gd name="connsiteY20" fmla="*/ 5131 h 10000"/>
                <a:gd name="connsiteX21" fmla="*/ 2020 w 10000"/>
                <a:gd name="connsiteY21" fmla="*/ 5168 h 10000"/>
                <a:gd name="connsiteX22" fmla="*/ 2105 w 10000"/>
                <a:gd name="connsiteY22" fmla="*/ 5211 h 10000"/>
                <a:gd name="connsiteX23" fmla="*/ 2190 w 10000"/>
                <a:gd name="connsiteY23" fmla="*/ 5249 h 10000"/>
                <a:gd name="connsiteX24" fmla="*/ 2275 w 10000"/>
                <a:gd name="connsiteY24" fmla="*/ 5291 h 10000"/>
                <a:gd name="connsiteX25" fmla="*/ 2353 w 10000"/>
                <a:gd name="connsiteY25" fmla="*/ 5334 h 10000"/>
                <a:gd name="connsiteX26" fmla="*/ 2438 w 10000"/>
                <a:gd name="connsiteY26" fmla="*/ 5382 h 10000"/>
                <a:gd name="connsiteX27" fmla="*/ 2516 w 10000"/>
                <a:gd name="connsiteY27" fmla="*/ 5430 h 10000"/>
                <a:gd name="connsiteX28" fmla="*/ 2595 w 10000"/>
                <a:gd name="connsiteY28" fmla="*/ 5478 h 10000"/>
                <a:gd name="connsiteX29" fmla="*/ 2673 w 10000"/>
                <a:gd name="connsiteY29" fmla="*/ 5526 h 10000"/>
                <a:gd name="connsiteX30" fmla="*/ 2752 w 10000"/>
                <a:gd name="connsiteY30" fmla="*/ 5580 h 10000"/>
                <a:gd name="connsiteX31" fmla="*/ 2824 w 10000"/>
                <a:gd name="connsiteY31" fmla="*/ 5633 h 10000"/>
                <a:gd name="connsiteX32" fmla="*/ 2895 w 10000"/>
                <a:gd name="connsiteY32" fmla="*/ 5687 h 10000"/>
                <a:gd name="connsiteX33" fmla="*/ 2967 w 10000"/>
                <a:gd name="connsiteY33" fmla="*/ 5746 h 10000"/>
                <a:gd name="connsiteX34" fmla="*/ 3033 w 10000"/>
                <a:gd name="connsiteY34" fmla="*/ 5804 h 10000"/>
                <a:gd name="connsiteX35" fmla="*/ 3105 w 10000"/>
                <a:gd name="connsiteY35" fmla="*/ 5863 h 10000"/>
                <a:gd name="connsiteX36" fmla="*/ 3170 w 10000"/>
                <a:gd name="connsiteY36" fmla="*/ 5922 h 10000"/>
                <a:gd name="connsiteX37" fmla="*/ 3229 w 10000"/>
                <a:gd name="connsiteY37" fmla="*/ 5986 h 10000"/>
                <a:gd name="connsiteX38" fmla="*/ 3294 w 10000"/>
                <a:gd name="connsiteY38" fmla="*/ 6045 h 10000"/>
                <a:gd name="connsiteX39" fmla="*/ 3353 w 10000"/>
                <a:gd name="connsiteY39" fmla="*/ 6109 h 10000"/>
                <a:gd name="connsiteX40" fmla="*/ 3412 w 10000"/>
                <a:gd name="connsiteY40" fmla="*/ 6173 h 10000"/>
                <a:gd name="connsiteX41" fmla="*/ 3471 w 10000"/>
                <a:gd name="connsiteY41" fmla="*/ 6237 h 10000"/>
                <a:gd name="connsiteX42" fmla="*/ 3523 w 10000"/>
                <a:gd name="connsiteY42" fmla="*/ 6307 h 10000"/>
                <a:gd name="connsiteX43" fmla="*/ 3575 w 10000"/>
                <a:gd name="connsiteY43" fmla="*/ 6376 h 10000"/>
                <a:gd name="connsiteX44" fmla="*/ 3627 w 10000"/>
                <a:gd name="connsiteY44" fmla="*/ 6446 h 10000"/>
                <a:gd name="connsiteX45" fmla="*/ 3680 w 10000"/>
                <a:gd name="connsiteY45" fmla="*/ 6515 h 10000"/>
                <a:gd name="connsiteX46" fmla="*/ 3719 w 10000"/>
                <a:gd name="connsiteY46" fmla="*/ 6590 h 10000"/>
                <a:gd name="connsiteX47" fmla="*/ 3771 w 10000"/>
                <a:gd name="connsiteY47" fmla="*/ 6665 h 10000"/>
                <a:gd name="connsiteX48" fmla="*/ 3810 w 10000"/>
                <a:gd name="connsiteY48" fmla="*/ 6734 h 10000"/>
                <a:gd name="connsiteX49" fmla="*/ 3850 w 10000"/>
                <a:gd name="connsiteY49" fmla="*/ 6809 h 10000"/>
                <a:gd name="connsiteX50" fmla="*/ 3889 w 10000"/>
                <a:gd name="connsiteY50" fmla="*/ 6884 h 10000"/>
                <a:gd name="connsiteX51" fmla="*/ 3922 w 10000"/>
                <a:gd name="connsiteY51" fmla="*/ 6959 h 10000"/>
                <a:gd name="connsiteX52" fmla="*/ 3954 w 10000"/>
                <a:gd name="connsiteY52" fmla="*/ 7039 h 10000"/>
                <a:gd name="connsiteX53" fmla="*/ 3987 w 10000"/>
                <a:gd name="connsiteY53" fmla="*/ 7119 h 10000"/>
                <a:gd name="connsiteX54" fmla="*/ 4020 w 10000"/>
                <a:gd name="connsiteY54" fmla="*/ 7194 h 10000"/>
                <a:gd name="connsiteX55" fmla="*/ 4046 w 10000"/>
                <a:gd name="connsiteY55" fmla="*/ 7274 h 10000"/>
                <a:gd name="connsiteX56" fmla="*/ 4065 w 10000"/>
                <a:gd name="connsiteY56" fmla="*/ 7354 h 10000"/>
                <a:gd name="connsiteX57" fmla="*/ 4092 w 10000"/>
                <a:gd name="connsiteY57" fmla="*/ 7440 h 10000"/>
                <a:gd name="connsiteX58" fmla="*/ 4111 w 10000"/>
                <a:gd name="connsiteY58" fmla="*/ 7520 h 10000"/>
                <a:gd name="connsiteX59" fmla="*/ 4131 w 10000"/>
                <a:gd name="connsiteY59" fmla="*/ 7600 h 10000"/>
                <a:gd name="connsiteX60" fmla="*/ 4144 w 10000"/>
                <a:gd name="connsiteY60" fmla="*/ 7686 h 10000"/>
                <a:gd name="connsiteX61" fmla="*/ 4157 w 10000"/>
                <a:gd name="connsiteY61" fmla="*/ 7771 h 10000"/>
                <a:gd name="connsiteX62" fmla="*/ 4163 w 10000"/>
                <a:gd name="connsiteY62" fmla="*/ 7857 h 10000"/>
                <a:gd name="connsiteX63" fmla="*/ 4170 w 10000"/>
                <a:gd name="connsiteY63" fmla="*/ 7942 h 10000"/>
                <a:gd name="connsiteX64" fmla="*/ 4170 w 10000"/>
                <a:gd name="connsiteY64" fmla="*/ 8028 h 10000"/>
                <a:gd name="connsiteX65" fmla="*/ 4176 w 10000"/>
                <a:gd name="connsiteY65" fmla="*/ 8113 h 10000"/>
                <a:gd name="connsiteX66" fmla="*/ 4170 w 10000"/>
                <a:gd name="connsiteY66" fmla="*/ 8226 h 10000"/>
                <a:gd name="connsiteX67" fmla="*/ 4163 w 10000"/>
                <a:gd name="connsiteY67" fmla="*/ 8343 h 10000"/>
                <a:gd name="connsiteX68" fmla="*/ 4157 w 10000"/>
                <a:gd name="connsiteY68" fmla="*/ 8450 h 10000"/>
                <a:gd name="connsiteX69" fmla="*/ 4137 w 10000"/>
                <a:gd name="connsiteY69" fmla="*/ 8562 h 10000"/>
                <a:gd name="connsiteX70" fmla="*/ 6739 w 10000"/>
                <a:gd name="connsiteY70" fmla="*/ 10000 h 10000"/>
                <a:gd name="connsiteX71" fmla="*/ 9850 w 10000"/>
                <a:gd name="connsiteY71" fmla="*/ 9498 h 10000"/>
                <a:gd name="connsiteX72" fmla="*/ 9889 w 10000"/>
                <a:gd name="connsiteY72" fmla="*/ 9332 h 10000"/>
                <a:gd name="connsiteX73" fmla="*/ 9915 w 10000"/>
                <a:gd name="connsiteY73" fmla="*/ 9161 h 10000"/>
                <a:gd name="connsiteX74" fmla="*/ 9941 w 10000"/>
                <a:gd name="connsiteY74" fmla="*/ 8990 h 10000"/>
                <a:gd name="connsiteX75" fmla="*/ 9961 w 10000"/>
                <a:gd name="connsiteY75" fmla="*/ 8813 h 10000"/>
                <a:gd name="connsiteX76" fmla="*/ 9974 w 10000"/>
                <a:gd name="connsiteY76" fmla="*/ 8637 h 10000"/>
                <a:gd name="connsiteX77" fmla="*/ 9987 w 10000"/>
                <a:gd name="connsiteY77" fmla="*/ 8466 h 10000"/>
                <a:gd name="connsiteX78" fmla="*/ 9993 w 10000"/>
                <a:gd name="connsiteY78" fmla="*/ 8290 h 10000"/>
                <a:gd name="connsiteX79" fmla="*/ 10000 w 10000"/>
                <a:gd name="connsiteY79" fmla="*/ 8113 h 10000"/>
                <a:gd name="connsiteX80" fmla="*/ 9993 w 10000"/>
                <a:gd name="connsiteY80" fmla="*/ 7900 h 10000"/>
                <a:gd name="connsiteX81" fmla="*/ 9987 w 10000"/>
                <a:gd name="connsiteY81" fmla="*/ 7696 h 10000"/>
                <a:gd name="connsiteX82" fmla="*/ 9967 w 10000"/>
                <a:gd name="connsiteY82" fmla="*/ 7488 h 10000"/>
                <a:gd name="connsiteX83" fmla="*/ 9948 w 10000"/>
                <a:gd name="connsiteY83" fmla="*/ 7285 h 10000"/>
                <a:gd name="connsiteX84" fmla="*/ 9915 w 10000"/>
                <a:gd name="connsiteY84" fmla="*/ 7076 h 10000"/>
                <a:gd name="connsiteX85" fmla="*/ 9882 w 10000"/>
                <a:gd name="connsiteY85" fmla="*/ 6879 h 10000"/>
                <a:gd name="connsiteX86" fmla="*/ 9843 w 10000"/>
                <a:gd name="connsiteY86" fmla="*/ 6676 h 10000"/>
                <a:gd name="connsiteX87" fmla="*/ 9797 w 10000"/>
                <a:gd name="connsiteY87" fmla="*/ 6478 h 10000"/>
                <a:gd name="connsiteX88" fmla="*/ 9745 w 10000"/>
                <a:gd name="connsiteY88" fmla="*/ 6280 h 10000"/>
                <a:gd name="connsiteX89" fmla="*/ 9686 w 10000"/>
                <a:gd name="connsiteY89" fmla="*/ 6088 h 10000"/>
                <a:gd name="connsiteX90" fmla="*/ 9621 w 10000"/>
                <a:gd name="connsiteY90" fmla="*/ 5890 h 10000"/>
                <a:gd name="connsiteX91" fmla="*/ 9556 w 10000"/>
                <a:gd name="connsiteY91" fmla="*/ 5697 h 10000"/>
                <a:gd name="connsiteX92" fmla="*/ 9477 w 10000"/>
                <a:gd name="connsiteY92" fmla="*/ 5510 h 10000"/>
                <a:gd name="connsiteX93" fmla="*/ 9399 w 10000"/>
                <a:gd name="connsiteY93" fmla="*/ 5323 h 10000"/>
                <a:gd name="connsiteX94" fmla="*/ 9307 w 10000"/>
                <a:gd name="connsiteY94" fmla="*/ 5136 h 10000"/>
                <a:gd name="connsiteX95" fmla="*/ 9216 w 10000"/>
                <a:gd name="connsiteY95" fmla="*/ 4955 h 10000"/>
                <a:gd name="connsiteX96" fmla="*/ 9124 w 10000"/>
                <a:gd name="connsiteY96" fmla="*/ 4773 h 10000"/>
                <a:gd name="connsiteX97" fmla="*/ 9020 w 10000"/>
                <a:gd name="connsiteY97" fmla="*/ 4596 h 10000"/>
                <a:gd name="connsiteX98" fmla="*/ 8915 w 10000"/>
                <a:gd name="connsiteY98" fmla="*/ 4420 h 10000"/>
                <a:gd name="connsiteX99" fmla="*/ 8804 w 10000"/>
                <a:gd name="connsiteY99" fmla="*/ 4244 h 10000"/>
                <a:gd name="connsiteX100" fmla="*/ 8686 w 10000"/>
                <a:gd name="connsiteY100" fmla="*/ 4073 h 10000"/>
                <a:gd name="connsiteX101" fmla="*/ 8562 w 10000"/>
                <a:gd name="connsiteY101" fmla="*/ 3907 h 10000"/>
                <a:gd name="connsiteX102" fmla="*/ 8438 w 10000"/>
                <a:gd name="connsiteY102" fmla="*/ 3741 h 10000"/>
                <a:gd name="connsiteX103" fmla="*/ 8307 w 10000"/>
                <a:gd name="connsiteY103" fmla="*/ 3576 h 10000"/>
                <a:gd name="connsiteX104" fmla="*/ 8170 w 10000"/>
                <a:gd name="connsiteY104" fmla="*/ 3415 h 10000"/>
                <a:gd name="connsiteX105" fmla="*/ 8026 w 10000"/>
                <a:gd name="connsiteY105" fmla="*/ 3260 h 10000"/>
                <a:gd name="connsiteX106" fmla="*/ 7882 w 10000"/>
                <a:gd name="connsiteY106" fmla="*/ 3105 h 10000"/>
                <a:gd name="connsiteX107" fmla="*/ 7732 w 10000"/>
                <a:gd name="connsiteY107" fmla="*/ 2950 h 10000"/>
                <a:gd name="connsiteX108" fmla="*/ 7582 w 10000"/>
                <a:gd name="connsiteY108" fmla="*/ 2806 h 10000"/>
                <a:gd name="connsiteX109" fmla="*/ 7418 w 10000"/>
                <a:gd name="connsiteY109" fmla="*/ 2662 h 10000"/>
                <a:gd name="connsiteX110" fmla="*/ 7261 w 10000"/>
                <a:gd name="connsiteY110" fmla="*/ 2517 h 10000"/>
                <a:gd name="connsiteX111" fmla="*/ 7092 w 10000"/>
                <a:gd name="connsiteY111" fmla="*/ 2373 h 10000"/>
                <a:gd name="connsiteX112" fmla="*/ 6922 w 10000"/>
                <a:gd name="connsiteY112" fmla="*/ 2239 h 10000"/>
                <a:gd name="connsiteX113" fmla="*/ 6752 w 10000"/>
                <a:gd name="connsiteY113" fmla="*/ 2106 h 10000"/>
                <a:gd name="connsiteX114" fmla="*/ 6569 w 10000"/>
                <a:gd name="connsiteY114" fmla="*/ 1978 h 10000"/>
                <a:gd name="connsiteX115" fmla="*/ 6386 w 10000"/>
                <a:gd name="connsiteY115" fmla="*/ 1855 h 10000"/>
                <a:gd name="connsiteX116" fmla="*/ 6203 w 10000"/>
                <a:gd name="connsiteY116" fmla="*/ 1732 h 10000"/>
                <a:gd name="connsiteX117" fmla="*/ 6013 w 10000"/>
                <a:gd name="connsiteY117" fmla="*/ 1614 h 10000"/>
                <a:gd name="connsiteX118" fmla="*/ 5817 w 10000"/>
                <a:gd name="connsiteY118" fmla="*/ 1497 h 10000"/>
                <a:gd name="connsiteX119" fmla="*/ 5621 w 10000"/>
                <a:gd name="connsiteY119" fmla="*/ 1384 h 10000"/>
                <a:gd name="connsiteX120" fmla="*/ 5425 w 10000"/>
                <a:gd name="connsiteY120" fmla="*/ 1277 h 10000"/>
                <a:gd name="connsiteX121" fmla="*/ 5222 w 10000"/>
                <a:gd name="connsiteY121" fmla="*/ 1176 h 10000"/>
                <a:gd name="connsiteX122" fmla="*/ 5020 w 10000"/>
                <a:gd name="connsiteY122" fmla="*/ 1074 h 10000"/>
                <a:gd name="connsiteX123" fmla="*/ 4804 w 10000"/>
                <a:gd name="connsiteY123" fmla="*/ 978 h 10000"/>
                <a:gd name="connsiteX124" fmla="*/ 4595 w 10000"/>
                <a:gd name="connsiteY124" fmla="*/ 887 h 10000"/>
                <a:gd name="connsiteX125" fmla="*/ 4379 w 10000"/>
                <a:gd name="connsiteY125" fmla="*/ 802 h 10000"/>
                <a:gd name="connsiteX126" fmla="*/ 4157 w 10000"/>
                <a:gd name="connsiteY126" fmla="*/ 716 h 10000"/>
                <a:gd name="connsiteX127" fmla="*/ 3941 w 10000"/>
                <a:gd name="connsiteY127" fmla="*/ 636 h 10000"/>
                <a:gd name="connsiteX128" fmla="*/ 3719 w 10000"/>
                <a:gd name="connsiteY128" fmla="*/ 567 h 10000"/>
                <a:gd name="connsiteX129" fmla="*/ 3490 w 10000"/>
                <a:gd name="connsiteY129" fmla="*/ 492 h 10000"/>
                <a:gd name="connsiteX130" fmla="*/ 3261 w 10000"/>
                <a:gd name="connsiteY130" fmla="*/ 428 h 10000"/>
                <a:gd name="connsiteX131" fmla="*/ 3026 w 10000"/>
                <a:gd name="connsiteY131" fmla="*/ 363 h 10000"/>
                <a:gd name="connsiteX132" fmla="*/ 2797 w 10000"/>
                <a:gd name="connsiteY132" fmla="*/ 310 h 10000"/>
                <a:gd name="connsiteX133" fmla="*/ 2556 w 10000"/>
                <a:gd name="connsiteY133" fmla="*/ 257 h 10000"/>
                <a:gd name="connsiteX134" fmla="*/ 2314 w 10000"/>
                <a:gd name="connsiteY134" fmla="*/ 208 h 10000"/>
                <a:gd name="connsiteX135" fmla="*/ 2078 w 10000"/>
                <a:gd name="connsiteY135" fmla="*/ 166 h 10000"/>
                <a:gd name="connsiteX136" fmla="*/ 1837 w 10000"/>
                <a:gd name="connsiteY136" fmla="*/ 128 h 10000"/>
                <a:gd name="connsiteX137" fmla="*/ 1588 w 10000"/>
                <a:gd name="connsiteY137" fmla="*/ 91 h 10000"/>
                <a:gd name="connsiteX138" fmla="*/ 1340 w 10000"/>
                <a:gd name="connsiteY138" fmla="*/ 64 h 10000"/>
                <a:gd name="connsiteX139" fmla="*/ 1092 w 10000"/>
                <a:gd name="connsiteY139" fmla="*/ 43 h 10000"/>
                <a:gd name="connsiteX140" fmla="*/ 843 w 10000"/>
                <a:gd name="connsiteY140" fmla="*/ 27 h 10000"/>
                <a:gd name="connsiteX141" fmla="*/ 588 w 10000"/>
                <a:gd name="connsiteY141" fmla="*/ 11 h 10000"/>
                <a:gd name="connsiteX142" fmla="*/ 333 w 10000"/>
                <a:gd name="connsiteY142" fmla="*/ 5 h 10000"/>
                <a:gd name="connsiteX143" fmla="*/ 78 w 10000"/>
                <a:gd name="connsiteY143" fmla="*/ 0 h 10000"/>
                <a:gd name="connsiteX144" fmla="*/ 0 w 10000"/>
                <a:gd name="connsiteY144" fmla="*/ 5 h 10000"/>
                <a:gd name="connsiteX145" fmla="*/ 1245 w 10000"/>
                <a:gd name="connsiteY145" fmla="*/ 2443 h 10000"/>
                <a:gd name="connsiteX146" fmla="*/ 26 w 10000"/>
                <a:gd name="connsiteY146" fmla="*/ 4768 h 10000"/>
                <a:gd name="connsiteX0" fmla="*/ 0 w 9974"/>
                <a:gd name="connsiteY0" fmla="*/ 4771 h 10003"/>
                <a:gd name="connsiteX1" fmla="*/ 33 w 9974"/>
                <a:gd name="connsiteY1" fmla="*/ 4765 h 10003"/>
                <a:gd name="connsiteX2" fmla="*/ 137 w 9974"/>
                <a:gd name="connsiteY2" fmla="*/ 4765 h 10003"/>
                <a:gd name="connsiteX3" fmla="*/ 242 w 9974"/>
                <a:gd name="connsiteY3" fmla="*/ 4771 h 10003"/>
                <a:gd name="connsiteX4" fmla="*/ 347 w 9974"/>
                <a:gd name="connsiteY4" fmla="*/ 4776 h 10003"/>
                <a:gd name="connsiteX5" fmla="*/ 451 w 9974"/>
                <a:gd name="connsiteY5" fmla="*/ 4781 h 10003"/>
                <a:gd name="connsiteX6" fmla="*/ 556 w 9974"/>
                <a:gd name="connsiteY6" fmla="*/ 4797 h 10003"/>
                <a:gd name="connsiteX7" fmla="*/ 660 w 9974"/>
                <a:gd name="connsiteY7" fmla="*/ 4808 h 10003"/>
                <a:gd name="connsiteX8" fmla="*/ 758 w 9974"/>
                <a:gd name="connsiteY8" fmla="*/ 4819 h 10003"/>
                <a:gd name="connsiteX9" fmla="*/ 856 w 9974"/>
                <a:gd name="connsiteY9" fmla="*/ 4835 h 10003"/>
                <a:gd name="connsiteX10" fmla="*/ 961 w 9974"/>
                <a:gd name="connsiteY10" fmla="*/ 4851 h 10003"/>
                <a:gd name="connsiteX11" fmla="*/ 1059 w 9974"/>
                <a:gd name="connsiteY11" fmla="*/ 4872 h 10003"/>
                <a:gd name="connsiteX12" fmla="*/ 1157 w 9974"/>
                <a:gd name="connsiteY12" fmla="*/ 4893 h 10003"/>
                <a:gd name="connsiteX13" fmla="*/ 1255 w 9974"/>
                <a:gd name="connsiteY13" fmla="*/ 4915 h 10003"/>
                <a:gd name="connsiteX14" fmla="*/ 1347 w 9974"/>
                <a:gd name="connsiteY14" fmla="*/ 4942 h 10003"/>
                <a:gd name="connsiteX15" fmla="*/ 1445 w 9974"/>
                <a:gd name="connsiteY15" fmla="*/ 4968 h 10003"/>
                <a:gd name="connsiteX16" fmla="*/ 1536 w 9974"/>
                <a:gd name="connsiteY16" fmla="*/ 5000 h 10003"/>
                <a:gd name="connsiteX17" fmla="*/ 1628 w 9974"/>
                <a:gd name="connsiteY17" fmla="*/ 5032 h 10003"/>
                <a:gd name="connsiteX18" fmla="*/ 1719 w 9974"/>
                <a:gd name="connsiteY18" fmla="*/ 5064 h 10003"/>
                <a:gd name="connsiteX19" fmla="*/ 1811 w 9974"/>
                <a:gd name="connsiteY19" fmla="*/ 5097 h 10003"/>
                <a:gd name="connsiteX20" fmla="*/ 1902 w 9974"/>
                <a:gd name="connsiteY20" fmla="*/ 5134 h 10003"/>
                <a:gd name="connsiteX21" fmla="*/ 1994 w 9974"/>
                <a:gd name="connsiteY21" fmla="*/ 5171 h 10003"/>
                <a:gd name="connsiteX22" fmla="*/ 2079 w 9974"/>
                <a:gd name="connsiteY22" fmla="*/ 5214 h 10003"/>
                <a:gd name="connsiteX23" fmla="*/ 2164 w 9974"/>
                <a:gd name="connsiteY23" fmla="*/ 5252 h 10003"/>
                <a:gd name="connsiteX24" fmla="*/ 2249 w 9974"/>
                <a:gd name="connsiteY24" fmla="*/ 5294 h 10003"/>
                <a:gd name="connsiteX25" fmla="*/ 2327 w 9974"/>
                <a:gd name="connsiteY25" fmla="*/ 5337 h 10003"/>
                <a:gd name="connsiteX26" fmla="*/ 2412 w 9974"/>
                <a:gd name="connsiteY26" fmla="*/ 5385 h 10003"/>
                <a:gd name="connsiteX27" fmla="*/ 2490 w 9974"/>
                <a:gd name="connsiteY27" fmla="*/ 5433 h 10003"/>
                <a:gd name="connsiteX28" fmla="*/ 2569 w 9974"/>
                <a:gd name="connsiteY28" fmla="*/ 5481 h 10003"/>
                <a:gd name="connsiteX29" fmla="*/ 2647 w 9974"/>
                <a:gd name="connsiteY29" fmla="*/ 5529 h 10003"/>
                <a:gd name="connsiteX30" fmla="*/ 2726 w 9974"/>
                <a:gd name="connsiteY30" fmla="*/ 5583 h 10003"/>
                <a:gd name="connsiteX31" fmla="*/ 2798 w 9974"/>
                <a:gd name="connsiteY31" fmla="*/ 5636 h 10003"/>
                <a:gd name="connsiteX32" fmla="*/ 2869 w 9974"/>
                <a:gd name="connsiteY32" fmla="*/ 5690 h 10003"/>
                <a:gd name="connsiteX33" fmla="*/ 2941 w 9974"/>
                <a:gd name="connsiteY33" fmla="*/ 5749 h 10003"/>
                <a:gd name="connsiteX34" fmla="*/ 3007 w 9974"/>
                <a:gd name="connsiteY34" fmla="*/ 5807 h 10003"/>
                <a:gd name="connsiteX35" fmla="*/ 3079 w 9974"/>
                <a:gd name="connsiteY35" fmla="*/ 5866 h 10003"/>
                <a:gd name="connsiteX36" fmla="*/ 3144 w 9974"/>
                <a:gd name="connsiteY36" fmla="*/ 5925 h 10003"/>
                <a:gd name="connsiteX37" fmla="*/ 3203 w 9974"/>
                <a:gd name="connsiteY37" fmla="*/ 5989 h 10003"/>
                <a:gd name="connsiteX38" fmla="*/ 3268 w 9974"/>
                <a:gd name="connsiteY38" fmla="*/ 6048 h 10003"/>
                <a:gd name="connsiteX39" fmla="*/ 3327 w 9974"/>
                <a:gd name="connsiteY39" fmla="*/ 6112 h 10003"/>
                <a:gd name="connsiteX40" fmla="*/ 3386 w 9974"/>
                <a:gd name="connsiteY40" fmla="*/ 6176 h 10003"/>
                <a:gd name="connsiteX41" fmla="*/ 3445 w 9974"/>
                <a:gd name="connsiteY41" fmla="*/ 6240 h 10003"/>
                <a:gd name="connsiteX42" fmla="*/ 3497 w 9974"/>
                <a:gd name="connsiteY42" fmla="*/ 6310 h 10003"/>
                <a:gd name="connsiteX43" fmla="*/ 3549 w 9974"/>
                <a:gd name="connsiteY43" fmla="*/ 6379 h 10003"/>
                <a:gd name="connsiteX44" fmla="*/ 3601 w 9974"/>
                <a:gd name="connsiteY44" fmla="*/ 6449 h 10003"/>
                <a:gd name="connsiteX45" fmla="*/ 3654 w 9974"/>
                <a:gd name="connsiteY45" fmla="*/ 6518 h 10003"/>
                <a:gd name="connsiteX46" fmla="*/ 3693 w 9974"/>
                <a:gd name="connsiteY46" fmla="*/ 6593 h 10003"/>
                <a:gd name="connsiteX47" fmla="*/ 3745 w 9974"/>
                <a:gd name="connsiteY47" fmla="*/ 6668 h 10003"/>
                <a:gd name="connsiteX48" fmla="*/ 3784 w 9974"/>
                <a:gd name="connsiteY48" fmla="*/ 6737 h 10003"/>
                <a:gd name="connsiteX49" fmla="*/ 3824 w 9974"/>
                <a:gd name="connsiteY49" fmla="*/ 6812 h 10003"/>
                <a:gd name="connsiteX50" fmla="*/ 3863 w 9974"/>
                <a:gd name="connsiteY50" fmla="*/ 6887 h 10003"/>
                <a:gd name="connsiteX51" fmla="*/ 3896 w 9974"/>
                <a:gd name="connsiteY51" fmla="*/ 6962 h 10003"/>
                <a:gd name="connsiteX52" fmla="*/ 3928 w 9974"/>
                <a:gd name="connsiteY52" fmla="*/ 7042 h 10003"/>
                <a:gd name="connsiteX53" fmla="*/ 3961 w 9974"/>
                <a:gd name="connsiteY53" fmla="*/ 7122 h 10003"/>
                <a:gd name="connsiteX54" fmla="*/ 3994 w 9974"/>
                <a:gd name="connsiteY54" fmla="*/ 7197 h 10003"/>
                <a:gd name="connsiteX55" fmla="*/ 4020 w 9974"/>
                <a:gd name="connsiteY55" fmla="*/ 7277 h 10003"/>
                <a:gd name="connsiteX56" fmla="*/ 4039 w 9974"/>
                <a:gd name="connsiteY56" fmla="*/ 7357 h 10003"/>
                <a:gd name="connsiteX57" fmla="*/ 4066 w 9974"/>
                <a:gd name="connsiteY57" fmla="*/ 7443 h 10003"/>
                <a:gd name="connsiteX58" fmla="*/ 4085 w 9974"/>
                <a:gd name="connsiteY58" fmla="*/ 7523 h 10003"/>
                <a:gd name="connsiteX59" fmla="*/ 4105 w 9974"/>
                <a:gd name="connsiteY59" fmla="*/ 7603 h 10003"/>
                <a:gd name="connsiteX60" fmla="*/ 4118 w 9974"/>
                <a:gd name="connsiteY60" fmla="*/ 7689 h 10003"/>
                <a:gd name="connsiteX61" fmla="*/ 4131 w 9974"/>
                <a:gd name="connsiteY61" fmla="*/ 7774 h 10003"/>
                <a:gd name="connsiteX62" fmla="*/ 4137 w 9974"/>
                <a:gd name="connsiteY62" fmla="*/ 7860 h 10003"/>
                <a:gd name="connsiteX63" fmla="*/ 4144 w 9974"/>
                <a:gd name="connsiteY63" fmla="*/ 7945 h 10003"/>
                <a:gd name="connsiteX64" fmla="*/ 4144 w 9974"/>
                <a:gd name="connsiteY64" fmla="*/ 8031 h 10003"/>
                <a:gd name="connsiteX65" fmla="*/ 4150 w 9974"/>
                <a:gd name="connsiteY65" fmla="*/ 8116 h 10003"/>
                <a:gd name="connsiteX66" fmla="*/ 4144 w 9974"/>
                <a:gd name="connsiteY66" fmla="*/ 8229 h 10003"/>
                <a:gd name="connsiteX67" fmla="*/ 4137 w 9974"/>
                <a:gd name="connsiteY67" fmla="*/ 8346 h 10003"/>
                <a:gd name="connsiteX68" fmla="*/ 4131 w 9974"/>
                <a:gd name="connsiteY68" fmla="*/ 8453 h 10003"/>
                <a:gd name="connsiteX69" fmla="*/ 4111 w 9974"/>
                <a:gd name="connsiteY69" fmla="*/ 8565 h 10003"/>
                <a:gd name="connsiteX70" fmla="*/ 6713 w 9974"/>
                <a:gd name="connsiteY70" fmla="*/ 10003 h 10003"/>
                <a:gd name="connsiteX71" fmla="*/ 9824 w 9974"/>
                <a:gd name="connsiteY71" fmla="*/ 9501 h 10003"/>
                <a:gd name="connsiteX72" fmla="*/ 9863 w 9974"/>
                <a:gd name="connsiteY72" fmla="*/ 9335 h 10003"/>
                <a:gd name="connsiteX73" fmla="*/ 9889 w 9974"/>
                <a:gd name="connsiteY73" fmla="*/ 9164 h 10003"/>
                <a:gd name="connsiteX74" fmla="*/ 9915 w 9974"/>
                <a:gd name="connsiteY74" fmla="*/ 8993 h 10003"/>
                <a:gd name="connsiteX75" fmla="*/ 9935 w 9974"/>
                <a:gd name="connsiteY75" fmla="*/ 8816 h 10003"/>
                <a:gd name="connsiteX76" fmla="*/ 9948 w 9974"/>
                <a:gd name="connsiteY76" fmla="*/ 8640 h 10003"/>
                <a:gd name="connsiteX77" fmla="*/ 9961 w 9974"/>
                <a:gd name="connsiteY77" fmla="*/ 8469 h 10003"/>
                <a:gd name="connsiteX78" fmla="*/ 9967 w 9974"/>
                <a:gd name="connsiteY78" fmla="*/ 8293 h 10003"/>
                <a:gd name="connsiteX79" fmla="*/ 9974 w 9974"/>
                <a:gd name="connsiteY79" fmla="*/ 8116 h 10003"/>
                <a:gd name="connsiteX80" fmla="*/ 9967 w 9974"/>
                <a:gd name="connsiteY80" fmla="*/ 7903 h 10003"/>
                <a:gd name="connsiteX81" fmla="*/ 9961 w 9974"/>
                <a:gd name="connsiteY81" fmla="*/ 7699 h 10003"/>
                <a:gd name="connsiteX82" fmla="*/ 9941 w 9974"/>
                <a:gd name="connsiteY82" fmla="*/ 7491 h 10003"/>
                <a:gd name="connsiteX83" fmla="*/ 9922 w 9974"/>
                <a:gd name="connsiteY83" fmla="*/ 7288 h 10003"/>
                <a:gd name="connsiteX84" fmla="*/ 9889 w 9974"/>
                <a:gd name="connsiteY84" fmla="*/ 7079 h 10003"/>
                <a:gd name="connsiteX85" fmla="*/ 9856 w 9974"/>
                <a:gd name="connsiteY85" fmla="*/ 6882 h 10003"/>
                <a:gd name="connsiteX86" fmla="*/ 9817 w 9974"/>
                <a:gd name="connsiteY86" fmla="*/ 6679 h 10003"/>
                <a:gd name="connsiteX87" fmla="*/ 9771 w 9974"/>
                <a:gd name="connsiteY87" fmla="*/ 6481 h 10003"/>
                <a:gd name="connsiteX88" fmla="*/ 9719 w 9974"/>
                <a:gd name="connsiteY88" fmla="*/ 6283 h 10003"/>
                <a:gd name="connsiteX89" fmla="*/ 9660 w 9974"/>
                <a:gd name="connsiteY89" fmla="*/ 6091 h 10003"/>
                <a:gd name="connsiteX90" fmla="*/ 9595 w 9974"/>
                <a:gd name="connsiteY90" fmla="*/ 5893 h 10003"/>
                <a:gd name="connsiteX91" fmla="*/ 9530 w 9974"/>
                <a:gd name="connsiteY91" fmla="*/ 5700 h 10003"/>
                <a:gd name="connsiteX92" fmla="*/ 9451 w 9974"/>
                <a:gd name="connsiteY92" fmla="*/ 5513 h 10003"/>
                <a:gd name="connsiteX93" fmla="*/ 9373 w 9974"/>
                <a:gd name="connsiteY93" fmla="*/ 5326 h 10003"/>
                <a:gd name="connsiteX94" fmla="*/ 9281 w 9974"/>
                <a:gd name="connsiteY94" fmla="*/ 5139 h 10003"/>
                <a:gd name="connsiteX95" fmla="*/ 9190 w 9974"/>
                <a:gd name="connsiteY95" fmla="*/ 4958 h 10003"/>
                <a:gd name="connsiteX96" fmla="*/ 9098 w 9974"/>
                <a:gd name="connsiteY96" fmla="*/ 4776 h 10003"/>
                <a:gd name="connsiteX97" fmla="*/ 8994 w 9974"/>
                <a:gd name="connsiteY97" fmla="*/ 4599 h 10003"/>
                <a:gd name="connsiteX98" fmla="*/ 8889 w 9974"/>
                <a:gd name="connsiteY98" fmla="*/ 4423 h 10003"/>
                <a:gd name="connsiteX99" fmla="*/ 8778 w 9974"/>
                <a:gd name="connsiteY99" fmla="*/ 4247 h 10003"/>
                <a:gd name="connsiteX100" fmla="*/ 8660 w 9974"/>
                <a:gd name="connsiteY100" fmla="*/ 4076 h 10003"/>
                <a:gd name="connsiteX101" fmla="*/ 8536 w 9974"/>
                <a:gd name="connsiteY101" fmla="*/ 3910 h 10003"/>
                <a:gd name="connsiteX102" fmla="*/ 8412 w 9974"/>
                <a:gd name="connsiteY102" fmla="*/ 3744 h 10003"/>
                <a:gd name="connsiteX103" fmla="*/ 8281 w 9974"/>
                <a:gd name="connsiteY103" fmla="*/ 3579 h 10003"/>
                <a:gd name="connsiteX104" fmla="*/ 8144 w 9974"/>
                <a:gd name="connsiteY104" fmla="*/ 3418 h 10003"/>
                <a:gd name="connsiteX105" fmla="*/ 8000 w 9974"/>
                <a:gd name="connsiteY105" fmla="*/ 3263 h 10003"/>
                <a:gd name="connsiteX106" fmla="*/ 7856 w 9974"/>
                <a:gd name="connsiteY106" fmla="*/ 3108 h 10003"/>
                <a:gd name="connsiteX107" fmla="*/ 7706 w 9974"/>
                <a:gd name="connsiteY107" fmla="*/ 2953 h 10003"/>
                <a:gd name="connsiteX108" fmla="*/ 7556 w 9974"/>
                <a:gd name="connsiteY108" fmla="*/ 2809 h 10003"/>
                <a:gd name="connsiteX109" fmla="*/ 7392 w 9974"/>
                <a:gd name="connsiteY109" fmla="*/ 2665 h 10003"/>
                <a:gd name="connsiteX110" fmla="*/ 7235 w 9974"/>
                <a:gd name="connsiteY110" fmla="*/ 2520 h 10003"/>
                <a:gd name="connsiteX111" fmla="*/ 7066 w 9974"/>
                <a:gd name="connsiteY111" fmla="*/ 2376 h 10003"/>
                <a:gd name="connsiteX112" fmla="*/ 6896 w 9974"/>
                <a:gd name="connsiteY112" fmla="*/ 2242 h 10003"/>
                <a:gd name="connsiteX113" fmla="*/ 6726 w 9974"/>
                <a:gd name="connsiteY113" fmla="*/ 2109 h 10003"/>
                <a:gd name="connsiteX114" fmla="*/ 6543 w 9974"/>
                <a:gd name="connsiteY114" fmla="*/ 1981 h 10003"/>
                <a:gd name="connsiteX115" fmla="*/ 6360 w 9974"/>
                <a:gd name="connsiteY115" fmla="*/ 1858 h 10003"/>
                <a:gd name="connsiteX116" fmla="*/ 6177 w 9974"/>
                <a:gd name="connsiteY116" fmla="*/ 1735 h 10003"/>
                <a:gd name="connsiteX117" fmla="*/ 5987 w 9974"/>
                <a:gd name="connsiteY117" fmla="*/ 1617 h 10003"/>
                <a:gd name="connsiteX118" fmla="*/ 5791 w 9974"/>
                <a:gd name="connsiteY118" fmla="*/ 1500 h 10003"/>
                <a:gd name="connsiteX119" fmla="*/ 5595 w 9974"/>
                <a:gd name="connsiteY119" fmla="*/ 1387 h 10003"/>
                <a:gd name="connsiteX120" fmla="*/ 5399 w 9974"/>
                <a:gd name="connsiteY120" fmla="*/ 1280 h 10003"/>
                <a:gd name="connsiteX121" fmla="*/ 5196 w 9974"/>
                <a:gd name="connsiteY121" fmla="*/ 1179 h 10003"/>
                <a:gd name="connsiteX122" fmla="*/ 4994 w 9974"/>
                <a:gd name="connsiteY122" fmla="*/ 1077 h 10003"/>
                <a:gd name="connsiteX123" fmla="*/ 4778 w 9974"/>
                <a:gd name="connsiteY123" fmla="*/ 981 h 10003"/>
                <a:gd name="connsiteX124" fmla="*/ 4569 w 9974"/>
                <a:gd name="connsiteY124" fmla="*/ 890 h 10003"/>
                <a:gd name="connsiteX125" fmla="*/ 4353 w 9974"/>
                <a:gd name="connsiteY125" fmla="*/ 805 h 10003"/>
                <a:gd name="connsiteX126" fmla="*/ 4131 w 9974"/>
                <a:gd name="connsiteY126" fmla="*/ 719 h 10003"/>
                <a:gd name="connsiteX127" fmla="*/ 3915 w 9974"/>
                <a:gd name="connsiteY127" fmla="*/ 639 h 10003"/>
                <a:gd name="connsiteX128" fmla="*/ 3693 w 9974"/>
                <a:gd name="connsiteY128" fmla="*/ 570 h 10003"/>
                <a:gd name="connsiteX129" fmla="*/ 3464 w 9974"/>
                <a:gd name="connsiteY129" fmla="*/ 495 h 10003"/>
                <a:gd name="connsiteX130" fmla="*/ 3235 w 9974"/>
                <a:gd name="connsiteY130" fmla="*/ 431 h 10003"/>
                <a:gd name="connsiteX131" fmla="*/ 3000 w 9974"/>
                <a:gd name="connsiteY131" fmla="*/ 366 h 10003"/>
                <a:gd name="connsiteX132" fmla="*/ 2771 w 9974"/>
                <a:gd name="connsiteY132" fmla="*/ 313 h 10003"/>
                <a:gd name="connsiteX133" fmla="*/ 2530 w 9974"/>
                <a:gd name="connsiteY133" fmla="*/ 260 h 10003"/>
                <a:gd name="connsiteX134" fmla="*/ 2288 w 9974"/>
                <a:gd name="connsiteY134" fmla="*/ 211 h 10003"/>
                <a:gd name="connsiteX135" fmla="*/ 2052 w 9974"/>
                <a:gd name="connsiteY135" fmla="*/ 169 h 10003"/>
                <a:gd name="connsiteX136" fmla="*/ 1811 w 9974"/>
                <a:gd name="connsiteY136" fmla="*/ 131 h 10003"/>
                <a:gd name="connsiteX137" fmla="*/ 1562 w 9974"/>
                <a:gd name="connsiteY137" fmla="*/ 94 h 10003"/>
                <a:gd name="connsiteX138" fmla="*/ 1314 w 9974"/>
                <a:gd name="connsiteY138" fmla="*/ 67 h 10003"/>
                <a:gd name="connsiteX139" fmla="*/ 1066 w 9974"/>
                <a:gd name="connsiteY139" fmla="*/ 46 h 10003"/>
                <a:gd name="connsiteX140" fmla="*/ 817 w 9974"/>
                <a:gd name="connsiteY140" fmla="*/ 30 h 10003"/>
                <a:gd name="connsiteX141" fmla="*/ 562 w 9974"/>
                <a:gd name="connsiteY141" fmla="*/ 14 h 10003"/>
                <a:gd name="connsiteX142" fmla="*/ 307 w 9974"/>
                <a:gd name="connsiteY142" fmla="*/ 8 h 10003"/>
                <a:gd name="connsiteX143" fmla="*/ 52 w 9974"/>
                <a:gd name="connsiteY143" fmla="*/ 3 h 10003"/>
                <a:gd name="connsiteX144" fmla="*/ 13 w 9974"/>
                <a:gd name="connsiteY144" fmla="*/ 0 h 10003"/>
                <a:gd name="connsiteX145" fmla="*/ 1219 w 9974"/>
                <a:gd name="connsiteY145" fmla="*/ 2446 h 10003"/>
                <a:gd name="connsiteX146" fmla="*/ 0 w 9974"/>
                <a:gd name="connsiteY146" fmla="*/ 4771 h 10003"/>
                <a:gd name="connsiteX0" fmla="*/ 0 w 9990"/>
                <a:gd name="connsiteY0" fmla="*/ 4770 h 10000"/>
                <a:gd name="connsiteX1" fmla="*/ 23 w 9990"/>
                <a:gd name="connsiteY1" fmla="*/ 4764 h 10000"/>
                <a:gd name="connsiteX2" fmla="*/ 127 w 9990"/>
                <a:gd name="connsiteY2" fmla="*/ 4764 h 10000"/>
                <a:gd name="connsiteX3" fmla="*/ 233 w 9990"/>
                <a:gd name="connsiteY3" fmla="*/ 4770 h 10000"/>
                <a:gd name="connsiteX4" fmla="*/ 338 w 9990"/>
                <a:gd name="connsiteY4" fmla="*/ 4775 h 10000"/>
                <a:gd name="connsiteX5" fmla="*/ 442 w 9990"/>
                <a:gd name="connsiteY5" fmla="*/ 4780 h 10000"/>
                <a:gd name="connsiteX6" fmla="*/ 547 w 9990"/>
                <a:gd name="connsiteY6" fmla="*/ 4796 h 10000"/>
                <a:gd name="connsiteX7" fmla="*/ 652 w 9990"/>
                <a:gd name="connsiteY7" fmla="*/ 4807 h 10000"/>
                <a:gd name="connsiteX8" fmla="*/ 750 w 9990"/>
                <a:gd name="connsiteY8" fmla="*/ 4818 h 10000"/>
                <a:gd name="connsiteX9" fmla="*/ 848 w 9990"/>
                <a:gd name="connsiteY9" fmla="*/ 4834 h 10000"/>
                <a:gd name="connsiteX10" fmla="*/ 954 w 9990"/>
                <a:gd name="connsiteY10" fmla="*/ 4850 h 10000"/>
                <a:gd name="connsiteX11" fmla="*/ 1052 w 9990"/>
                <a:gd name="connsiteY11" fmla="*/ 4871 h 10000"/>
                <a:gd name="connsiteX12" fmla="*/ 1150 w 9990"/>
                <a:gd name="connsiteY12" fmla="*/ 4892 h 10000"/>
                <a:gd name="connsiteX13" fmla="*/ 1248 w 9990"/>
                <a:gd name="connsiteY13" fmla="*/ 4914 h 10000"/>
                <a:gd name="connsiteX14" fmla="*/ 1341 w 9990"/>
                <a:gd name="connsiteY14" fmla="*/ 4941 h 10000"/>
                <a:gd name="connsiteX15" fmla="*/ 1439 w 9990"/>
                <a:gd name="connsiteY15" fmla="*/ 4967 h 10000"/>
                <a:gd name="connsiteX16" fmla="*/ 1530 w 9990"/>
                <a:gd name="connsiteY16" fmla="*/ 4999 h 10000"/>
                <a:gd name="connsiteX17" fmla="*/ 1622 w 9990"/>
                <a:gd name="connsiteY17" fmla="*/ 5030 h 10000"/>
                <a:gd name="connsiteX18" fmla="*/ 1713 w 9990"/>
                <a:gd name="connsiteY18" fmla="*/ 5062 h 10000"/>
                <a:gd name="connsiteX19" fmla="*/ 1806 w 9990"/>
                <a:gd name="connsiteY19" fmla="*/ 5095 h 10000"/>
                <a:gd name="connsiteX20" fmla="*/ 1897 w 9990"/>
                <a:gd name="connsiteY20" fmla="*/ 5132 h 10000"/>
                <a:gd name="connsiteX21" fmla="*/ 1989 w 9990"/>
                <a:gd name="connsiteY21" fmla="*/ 5169 h 10000"/>
                <a:gd name="connsiteX22" fmla="*/ 2074 w 9990"/>
                <a:gd name="connsiteY22" fmla="*/ 5212 h 10000"/>
                <a:gd name="connsiteX23" fmla="*/ 2160 w 9990"/>
                <a:gd name="connsiteY23" fmla="*/ 5250 h 10000"/>
                <a:gd name="connsiteX24" fmla="*/ 2245 w 9990"/>
                <a:gd name="connsiteY24" fmla="*/ 5292 h 10000"/>
                <a:gd name="connsiteX25" fmla="*/ 2323 w 9990"/>
                <a:gd name="connsiteY25" fmla="*/ 5335 h 10000"/>
                <a:gd name="connsiteX26" fmla="*/ 2408 w 9990"/>
                <a:gd name="connsiteY26" fmla="*/ 5383 h 10000"/>
                <a:gd name="connsiteX27" fmla="*/ 2486 w 9990"/>
                <a:gd name="connsiteY27" fmla="*/ 5431 h 10000"/>
                <a:gd name="connsiteX28" fmla="*/ 2566 w 9990"/>
                <a:gd name="connsiteY28" fmla="*/ 5479 h 10000"/>
                <a:gd name="connsiteX29" fmla="*/ 2644 w 9990"/>
                <a:gd name="connsiteY29" fmla="*/ 5527 h 10000"/>
                <a:gd name="connsiteX30" fmla="*/ 2723 w 9990"/>
                <a:gd name="connsiteY30" fmla="*/ 5581 h 10000"/>
                <a:gd name="connsiteX31" fmla="*/ 2795 w 9990"/>
                <a:gd name="connsiteY31" fmla="*/ 5634 h 10000"/>
                <a:gd name="connsiteX32" fmla="*/ 2866 w 9990"/>
                <a:gd name="connsiteY32" fmla="*/ 5688 h 10000"/>
                <a:gd name="connsiteX33" fmla="*/ 2939 w 9990"/>
                <a:gd name="connsiteY33" fmla="*/ 5747 h 10000"/>
                <a:gd name="connsiteX34" fmla="*/ 3005 w 9990"/>
                <a:gd name="connsiteY34" fmla="*/ 5805 h 10000"/>
                <a:gd name="connsiteX35" fmla="*/ 3077 w 9990"/>
                <a:gd name="connsiteY35" fmla="*/ 5864 h 10000"/>
                <a:gd name="connsiteX36" fmla="*/ 3142 w 9990"/>
                <a:gd name="connsiteY36" fmla="*/ 5923 h 10000"/>
                <a:gd name="connsiteX37" fmla="*/ 3201 w 9990"/>
                <a:gd name="connsiteY37" fmla="*/ 5987 h 10000"/>
                <a:gd name="connsiteX38" fmla="*/ 3267 w 9990"/>
                <a:gd name="connsiteY38" fmla="*/ 6046 h 10000"/>
                <a:gd name="connsiteX39" fmla="*/ 3326 w 9990"/>
                <a:gd name="connsiteY39" fmla="*/ 6110 h 10000"/>
                <a:gd name="connsiteX40" fmla="*/ 3385 w 9990"/>
                <a:gd name="connsiteY40" fmla="*/ 6174 h 10000"/>
                <a:gd name="connsiteX41" fmla="*/ 3444 w 9990"/>
                <a:gd name="connsiteY41" fmla="*/ 6238 h 10000"/>
                <a:gd name="connsiteX42" fmla="*/ 3496 w 9990"/>
                <a:gd name="connsiteY42" fmla="*/ 6308 h 10000"/>
                <a:gd name="connsiteX43" fmla="*/ 3548 w 9990"/>
                <a:gd name="connsiteY43" fmla="*/ 6377 h 10000"/>
                <a:gd name="connsiteX44" fmla="*/ 3600 w 9990"/>
                <a:gd name="connsiteY44" fmla="*/ 6447 h 10000"/>
                <a:gd name="connsiteX45" fmla="*/ 3654 w 9990"/>
                <a:gd name="connsiteY45" fmla="*/ 6516 h 10000"/>
                <a:gd name="connsiteX46" fmla="*/ 3693 w 9990"/>
                <a:gd name="connsiteY46" fmla="*/ 6591 h 10000"/>
                <a:gd name="connsiteX47" fmla="*/ 3745 w 9990"/>
                <a:gd name="connsiteY47" fmla="*/ 6666 h 10000"/>
                <a:gd name="connsiteX48" fmla="*/ 3784 w 9990"/>
                <a:gd name="connsiteY48" fmla="*/ 6735 h 10000"/>
                <a:gd name="connsiteX49" fmla="*/ 3824 w 9990"/>
                <a:gd name="connsiteY49" fmla="*/ 6810 h 10000"/>
                <a:gd name="connsiteX50" fmla="*/ 3863 w 9990"/>
                <a:gd name="connsiteY50" fmla="*/ 6885 h 10000"/>
                <a:gd name="connsiteX51" fmla="*/ 3896 w 9990"/>
                <a:gd name="connsiteY51" fmla="*/ 6960 h 10000"/>
                <a:gd name="connsiteX52" fmla="*/ 3928 w 9990"/>
                <a:gd name="connsiteY52" fmla="*/ 7040 h 10000"/>
                <a:gd name="connsiteX53" fmla="*/ 3961 w 9990"/>
                <a:gd name="connsiteY53" fmla="*/ 7120 h 10000"/>
                <a:gd name="connsiteX54" fmla="*/ 3994 w 9990"/>
                <a:gd name="connsiteY54" fmla="*/ 7195 h 10000"/>
                <a:gd name="connsiteX55" fmla="*/ 4020 w 9990"/>
                <a:gd name="connsiteY55" fmla="*/ 7275 h 10000"/>
                <a:gd name="connsiteX56" fmla="*/ 4040 w 9990"/>
                <a:gd name="connsiteY56" fmla="*/ 7355 h 10000"/>
                <a:gd name="connsiteX57" fmla="*/ 4067 w 9990"/>
                <a:gd name="connsiteY57" fmla="*/ 7441 h 10000"/>
                <a:gd name="connsiteX58" fmla="*/ 4086 w 9990"/>
                <a:gd name="connsiteY58" fmla="*/ 7521 h 10000"/>
                <a:gd name="connsiteX59" fmla="*/ 4106 w 9990"/>
                <a:gd name="connsiteY59" fmla="*/ 7601 h 10000"/>
                <a:gd name="connsiteX60" fmla="*/ 4119 w 9990"/>
                <a:gd name="connsiteY60" fmla="*/ 7687 h 10000"/>
                <a:gd name="connsiteX61" fmla="*/ 4132 w 9990"/>
                <a:gd name="connsiteY61" fmla="*/ 7772 h 10000"/>
                <a:gd name="connsiteX62" fmla="*/ 4138 w 9990"/>
                <a:gd name="connsiteY62" fmla="*/ 7858 h 10000"/>
                <a:gd name="connsiteX63" fmla="*/ 4145 w 9990"/>
                <a:gd name="connsiteY63" fmla="*/ 7943 h 10000"/>
                <a:gd name="connsiteX64" fmla="*/ 4145 w 9990"/>
                <a:gd name="connsiteY64" fmla="*/ 8029 h 10000"/>
                <a:gd name="connsiteX65" fmla="*/ 4151 w 9990"/>
                <a:gd name="connsiteY65" fmla="*/ 8114 h 10000"/>
                <a:gd name="connsiteX66" fmla="*/ 4145 w 9990"/>
                <a:gd name="connsiteY66" fmla="*/ 8227 h 10000"/>
                <a:gd name="connsiteX67" fmla="*/ 4138 w 9990"/>
                <a:gd name="connsiteY67" fmla="*/ 8343 h 10000"/>
                <a:gd name="connsiteX68" fmla="*/ 4132 w 9990"/>
                <a:gd name="connsiteY68" fmla="*/ 8450 h 10000"/>
                <a:gd name="connsiteX69" fmla="*/ 4112 w 9990"/>
                <a:gd name="connsiteY69" fmla="*/ 8562 h 10000"/>
                <a:gd name="connsiteX70" fmla="*/ 6720 w 9990"/>
                <a:gd name="connsiteY70" fmla="*/ 10000 h 10000"/>
                <a:gd name="connsiteX71" fmla="*/ 9840 w 9990"/>
                <a:gd name="connsiteY71" fmla="*/ 9498 h 10000"/>
                <a:gd name="connsiteX72" fmla="*/ 9879 w 9990"/>
                <a:gd name="connsiteY72" fmla="*/ 9332 h 10000"/>
                <a:gd name="connsiteX73" fmla="*/ 9905 w 9990"/>
                <a:gd name="connsiteY73" fmla="*/ 9161 h 10000"/>
                <a:gd name="connsiteX74" fmla="*/ 9931 w 9990"/>
                <a:gd name="connsiteY74" fmla="*/ 8990 h 10000"/>
                <a:gd name="connsiteX75" fmla="*/ 9951 w 9990"/>
                <a:gd name="connsiteY75" fmla="*/ 8813 h 10000"/>
                <a:gd name="connsiteX76" fmla="*/ 9964 w 9990"/>
                <a:gd name="connsiteY76" fmla="*/ 8637 h 10000"/>
                <a:gd name="connsiteX77" fmla="*/ 9977 w 9990"/>
                <a:gd name="connsiteY77" fmla="*/ 8466 h 10000"/>
                <a:gd name="connsiteX78" fmla="*/ 9983 w 9990"/>
                <a:gd name="connsiteY78" fmla="*/ 8291 h 10000"/>
                <a:gd name="connsiteX79" fmla="*/ 9990 w 9990"/>
                <a:gd name="connsiteY79" fmla="*/ 8114 h 10000"/>
                <a:gd name="connsiteX80" fmla="*/ 9983 w 9990"/>
                <a:gd name="connsiteY80" fmla="*/ 7901 h 10000"/>
                <a:gd name="connsiteX81" fmla="*/ 9977 w 9990"/>
                <a:gd name="connsiteY81" fmla="*/ 7697 h 10000"/>
                <a:gd name="connsiteX82" fmla="*/ 9957 w 9990"/>
                <a:gd name="connsiteY82" fmla="*/ 7489 h 10000"/>
                <a:gd name="connsiteX83" fmla="*/ 9938 w 9990"/>
                <a:gd name="connsiteY83" fmla="*/ 7286 h 10000"/>
                <a:gd name="connsiteX84" fmla="*/ 9905 w 9990"/>
                <a:gd name="connsiteY84" fmla="*/ 7077 h 10000"/>
                <a:gd name="connsiteX85" fmla="*/ 9872 w 9990"/>
                <a:gd name="connsiteY85" fmla="*/ 6880 h 10000"/>
                <a:gd name="connsiteX86" fmla="*/ 9833 w 9990"/>
                <a:gd name="connsiteY86" fmla="*/ 6677 h 10000"/>
                <a:gd name="connsiteX87" fmla="*/ 9786 w 9990"/>
                <a:gd name="connsiteY87" fmla="*/ 6479 h 10000"/>
                <a:gd name="connsiteX88" fmla="*/ 9734 w 9990"/>
                <a:gd name="connsiteY88" fmla="*/ 6281 h 10000"/>
                <a:gd name="connsiteX89" fmla="*/ 9675 w 9990"/>
                <a:gd name="connsiteY89" fmla="*/ 6089 h 10000"/>
                <a:gd name="connsiteX90" fmla="*/ 9610 w 9990"/>
                <a:gd name="connsiteY90" fmla="*/ 5891 h 10000"/>
                <a:gd name="connsiteX91" fmla="*/ 9545 w 9990"/>
                <a:gd name="connsiteY91" fmla="*/ 5698 h 10000"/>
                <a:gd name="connsiteX92" fmla="*/ 9466 w 9990"/>
                <a:gd name="connsiteY92" fmla="*/ 5511 h 10000"/>
                <a:gd name="connsiteX93" fmla="*/ 9387 w 9990"/>
                <a:gd name="connsiteY93" fmla="*/ 5324 h 10000"/>
                <a:gd name="connsiteX94" fmla="*/ 9295 w 9990"/>
                <a:gd name="connsiteY94" fmla="*/ 5137 h 10000"/>
                <a:gd name="connsiteX95" fmla="*/ 9204 w 9990"/>
                <a:gd name="connsiteY95" fmla="*/ 4957 h 10000"/>
                <a:gd name="connsiteX96" fmla="*/ 9112 w 9990"/>
                <a:gd name="connsiteY96" fmla="*/ 4775 h 10000"/>
                <a:gd name="connsiteX97" fmla="*/ 9007 w 9990"/>
                <a:gd name="connsiteY97" fmla="*/ 4598 h 10000"/>
                <a:gd name="connsiteX98" fmla="*/ 8902 w 9990"/>
                <a:gd name="connsiteY98" fmla="*/ 4422 h 10000"/>
                <a:gd name="connsiteX99" fmla="*/ 8791 w 9990"/>
                <a:gd name="connsiteY99" fmla="*/ 4246 h 10000"/>
                <a:gd name="connsiteX100" fmla="*/ 8673 w 9990"/>
                <a:gd name="connsiteY100" fmla="*/ 4075 h 10000"/>
                <a:gd name="connsiteX101" fmla="*/ 8548 w 9990"/>
                <a:gd name="connsiteY101" fmla="*/ 3909 h 10000"/>
                <a:gd name="connsiteX102" fmla="*/ 8424 w 9990"/>
                <a:gd name="connsiteY102" fmla="*/ 3743 h 10000"/>
                <a:gd name="connsiteX103" fmla="*/ 8293 w 9990"/>
                <a:gd name="connsiteY103" fmla="*/ 3578 h 10000"/>
                <a:gd name="connsiteX104" fmla="*/ 8155 w 9990"/>
                <a:gd name="connsiteY104" fmla="*/ 3417 h 10000"/>
                <a:gd name="connsiteX105" fmla="*/ 8011 w 9990"/>
                <a:gd name="connsiteY105" fmla="*/ 3262 h 10000"/>
                <a:gd name="connsiteX106" fmla="*/ 7866 w 9990"/>
                <a:gd name="connsiteY106" fmla="*/ 3107 h 10000"/>
                <a:gd name="connsiteX107" fmla="*/ 7716 w 9990"/>
                <a:gd name="connsiteY107" fmla="*/ 2952 h 10000"/>
                <a:gd name="connsiteX108" fmla="*/ 7566 w 9990"/>
                <a:gd name="connsiteY108" fmla="*/ 2808 h 10000"/>
                <a:gd name="connsiteX109" fmla="*/ 7401 w 9990"/>
                <a:gd name="connsiteY109" fmla="*/ 2664 h 10000"/>
                <a:gd name="connsiteX110" fmla="*/ 7244 w 9990"/>
                <a:gd name="connsiteY110" fmla="*/ 2519 h 10000"/>
                <a:gd name="connsiteX111" fmla="*/ 7074 w 9990"/>
                <a:gd name="connsiteY111" fmla="*/ 2375 h 10000"/>
                <a:gd name="connsiteX112" fmla="*/ 6904 w 9990"/>
                <a:gd name="connsiteY112" fmla="*/ 2241 h 10000"/>
                <a:gd name="connsiteX113" fmla="*/ 6734 w 9990"/>
                <a:gd name="connsiteY113" fmla="*/ 2108 h 10000"/>
                <a:gd name="connsiteX114" fmla="*/ 6550 w 9990"/>
                <a:gd name="connsiteY114" fmla="*/ 1980 h 10000"/>
                <a:gd name="connsiteX115" fmla="*/ 6367 w 9990"/>
                <a:gd name="connsiteY115" fmla="*/ 1857 h 10000"/>
                <a:gd name="connsiteX116" fmla="*/ 6183 w 9990"/>
                <a:gd name="connsiteY116" fmla="*/ 1734 h 10000"/>
                <a:gd name="connsiteX117" fmla="*/ 5993 w 9990"/>
                <a:gd name="connsiteY117" fmla="*/ 1617 h 10000"/>
                <a:gd name="connsiteX118" fmla="*/ 5796 w 9990"/>
                <a:gd name="connsiteY118" fmla="*/ 1500 h 10000"/>
                <a:gd name="connsiteX119" fmla="*/ 5600 w 9990"/>
                <a:gd name="connsiteY119" fmla="*/ 1387 h 10000"/>
                <a:gd name="connsiteX120" fmla="*/ 5403 w 9990"/>
                <a:gd name="connsiteY120" fmla="*/ 1280 h 10000"/>
                <a:gd name="connsiteX121" fmla="*/ 5200 w 9990"/>
                <a:gd name="connsiteY121" fmla="*/ 1179 h 10000"/>
                <a:gd name="connsiteX122" fmla="*/ 4997 w 9990"/>
                <a:gd name="connsiteY122" fmla="*/ 1077 h 10000"/>
                <a:gd name="connsiteX123" fmla="*/ 4780 w 9990"/>
                <a:gd name="connsiteY123" fmla="*/ 981 h 10000"/>
                <a:gd name="connsiteX124" fmla="*/ 4571 w 9990"/>
                <a:gd name="connsiteY124" fmla="*/ 890 h 10000"/>
                <a:gd name="connsiteX125" fmla="*/ 4354 w 9990"/>
                <a:gd name="connsiteY125" fmla="*/ 805 h 10000"/>
                <a:gd name="connsiteX126" fmla="*/ 4132 w 9990"/>
                <a:gd name="connsiteY126" fmla="*/ 719 h 10000"/>
                <a:gd name="connsiteX127" fmla="*/ 3915 w 9990"/>
                <a:gd name="connsiteY127" fmla="*/ 639 h 10000"/>
                <a:gd name="connsiteX128" fmla="*/ 3693 w 9990"/>
                <a:gd name="connsiteY128" fmla="*/ 570 h 10000"/>
                <a:gd name="connsiteX129" fmla="*/ 3463 w 9990"/>
                <a:gd name="connsiteY129" fmla="*/ 495 h 10000"/>
                <a:gd name="connsiteX130" fmla="*/ 3233 w 9990"/>
                <a:gd name="connsiteY130" fmla="*/ 431 h 10000"/>
                <a:gd name="connsiteX131" fmla="*/ 2998 w 9990"/>
                <a:gd name="connsiteY131" fmla="*/ 366 h 10000"/>
                <a:gd name="connsiteX132" fmla="*/ 2768 w 9990"/>
                <a:gd name="connsiteY132" fmla="*/ 313 h 10000"/>
                <a:gd name="connsiteX133" fmla="*/ 2527 w 9990"/>
                <a:gd name="connsiteY133" fmla="*/ 260 h 10000"/>
                <a:gd name="connsiteX134" fmla="*/ 2284 w 9990"/>
                <a:gd name="connsiteY134" fmla="*/ 211 h 10000"/>
                <a:gd name="connsiteX135" fmla="*/ 2047 w 9990"/>
                <a:gd name="connsiteY135" fmla="*/ 169 h 10000"/>
                <a:gd name="connsiteX136" fmla="*/ 1806 w 9990"/>
                <a:gd name="connsiteY136" fmla="*/ 131 h 10000"/>
                <a:gd name="connsiteX137" fmla="*/ 1556 w 9990"/>
                <a:gd name="connsiteY137" fmla="*/ 94 h 10000"/>
                <a:gd name="connsiteX138" fmla="*/ 1307 w 9990"/>
                <a:gd name="connsiteY138" fmla="*/ 67 h 10000"/>
                <a:gd name="connsiteX139" fmla="*/ 1059 w 9990"/>
                <a:gd name="connsiteY139" fmla="*/ 46 h 10000"/>
                <a:gd name="connsiteX140" fmla="*/ 809 w 9990"/>
                <a:gd name="connsiteY140" fmla="*/ 30 h 10000"/>
                <a:gd name="connsiteX141" fmla="*/ 553 w 9990"/>
                <a:gd name="connsiteY141" fmla="*/ 14 h 10000"/>
                <a:gd name="connsiteX142" fmla="*/ 298 w 9990"/>
                <a:gd name="connsiteY142" fmla="*/ 8 h 10000"/>
                <a:gd name="connsiteX143" fmla="*/ 42 w 9990"/>
                <a:gd name="connsiteY143" fmla="*/ 3 h 10000"/>
                <a:gd name="connsiteX144" fmla="*/ 3 w 9990"/>
                <a:gd name="connsiteY144" fmla="*/ 0 h 10000"/>
                <a:gd name="connsiteX145" fmla="*/ 1212 w 9990"/>
                <a:gd name="connsiteY145" fmla="*/ 2445 h 10000"/>
                <a:gd name="connsiteX146" fmla="*/ 0 w 9990"/>
                <a:gd name="connsiteY146" fmla="*/ 4770 h 10000"/>
                <a:gd name="connsiteX0" fmla="*/ 7 w 9997"/>
                <a:gd name="connsiteY0" fmla="*/ 4770 h 10000"/>
                <a:gd name="connsiteX1" fmla="*/ 20 w 9997"/>
                <a:gd name="connsiteY1" fmla="*/ 4764 h 10000"/>
                <a:gd name="connsiteX2" fmla="*/ 124 w 9997"/>
                <a:gd name="connsiteY2" fmla="*/ 4764 h 10000"/>
                <a:gd name="connsiteX3" fmla="*/ 230 w 9997"/>
                <a:gd name="connsiteY3" fmla="*/ 4770 h 10000"/>
                <a:gd name="connsiteX4" fmla="*/ 335 w 9997"/>
                <a:gd name="connsiteY4" fmla="*/ 4775 h 10000"/>
                <a:gd name="connsiteX5" fmla="*/ 439 w 9997"/>
                <a:gd name="connsiteY5" fmla="*/ 4780 h 10000"/>
                <a:gd name="connsiteX6" fmla="*/ 545 w 9997"/>
                <a:gd name="connsiteY6" fmla="*/ 4796 h 10000"/>
                <a:gd name="connsiteX7" fmla="*/ 650 w 9997"/>
                <a:gd name="connsiteY7" fmla="*/ 4807 h 10000"/>
                <a:gd name="connsiteX8" fmla="*/ 748 w 9997"/>
                <a:gd name="connsiteY8" fmla="*/ 4818 h 10000"/>
                <a:gd name="connsiteX9" fmla="*/ 846 w 9997"/>
                <a:gd name="connsiteY9" fmla="*/ 4834 h 10000"/>
                <a:gd name="connsiteX10" fmla="*/ 952 w 9997"/>
                <a:gd name="connsiteY10" fmla="*/ 4850 h 10000"/>
                <a:gd name="connsiteX11" fmla="*/ 1050 w 9997"/>
                <a:gd name="connsiteY11" fmla="*/ 4871 h 10000"/>
                <a:gd name="connsiteX12" fmla="*/ 1148 w 9997"/>
                <a:gd name="connsiteY12" fmla="*/ 4892 h 10000"/>
                <a:gd name="connsiteX13" fmla="*/ 1246 w 9997"/>
                <a:gd name="connsiteY13" fmla="*/ 4914 h 10000"/>
                <a:gd name="connsiteX14" fmla="*/ 1339 w 9997"/>
                <a:gd name="connsiteY14" fmla="*/ 4941 h 10000"/>
                <a:gd name="connsiteX15" fmla="*/ 1437 w 9997"/>
                <a:gd name="connsiteY15" fmla="*/ 4967 h 10000"/>
                <a:gd name="connsiteX16" fmla="*/ 1529 w 9997"/>
                <a:gd name="connsiteY16" fmla="*/ 4999 h 10000"/>
                <a:gd name="connsiteX17" fmla="*/ 1621 w 9997"/>
                <a:gd name="connsiteY17" fmla="*/ 5030 h 10000"/>
                <a:gd name="connsiteX18" fmla="*/ 1712 w 9997"/>
                <a:gd name="connsiteY18" fmla="*/ 5062 h 10000"/>
                <a:gd name="connsiteX19" fmla="*/ 1805 w 9997"/>
                <a:gd name="connsiteY19" fmla="*/ 5095 h 10000"/>
                <a:gd name="connsiteX20" fmla="*/ 1896 w 9997"/>
                <a:gd name="connsiteY20" fmla="*/ 5132 h 10000"/>
                <a:gd name="connsiteX21" fmla="*/ 1988 w 9997"/>
                <a:gd name="connsiteY21" fmla="*/ 5169 h 10000"/>
                <a:gd name="connsiteX22" fmla="*/ 2073 w 9997"/>
                <a:gd name="connsiteY22" fmla="*/ 5212 h 10000"/>
                <a:gd name="connsiteX23" fmla="*/ 2159 w 9997"/>
                <a:gd name="connsiteY23" fmla="*/ 5250 h 10000"/>
                <a:gd name="connsiteX24" fmla="*/ 2244 w 9997"/>
                <a:gd name="connsiteY24" fmla="*/ 5292 h 10000"/>
                <a:gd name="connsiteX25" fmla="*/ 2322 w 9997"/>
                <a:gd name="connsiteY25" fmla="*/ 5335 h 10000"/>
                <a:gd name="connsiteX26" fmla="*/ 2407 w 9997"/>
                <a:gd name="connsiteY26" fmla="*/ 5383 h 10000"/>
                <a:gd name="connsiteX27" fmla="*/ 2485 w 9997"/>
                <a:gd name="connsiteY27" fmla="*/ 5431 h 10000"/>
                <a:gd name="connsiteX28" fmla="*/ 2566 w 9997"/>
                <a:gd name="connsiteY28" fmla="*/ 5479 h 10000"/>
                <a:gd name="connsiteX29" fmla="*/ 2644 w 9997"/>
                <a:gd name="connsiteY29" fmla="*/ 5527 h 10000"/>
                <a:gd name="connsiteX30" fmla="*/ 2723 w 9997"/>
                <a:gd name="connsiteY30" fmla="*/ 5581 h 10000"/>
                <a:gd name="connsiteX31" fmla="*/ 2795 w 9997"/>
                <a:gd name="connsiteY31" fmla="*/ 5634 h 10000"/>
                <a:gd name="connsiteX32" fmla="*/ 2866 w 9997"/>
                <a:gd name="connsiteY32" fmla="*/ 5688 h 10000"/>
                <a:gd name="connsiteX33" fmla="*/ 2939 w 9997"/>
                <a:gd name="connsiteY33" fmla="*/ 5747 h 10000"/>
                <a:gd name="connsiteX34" fmla="*/ 3005 w 9997"/>
                <a:gd name="connsiteY34" fmla="*/ 5805 h 10000"/>
                <a:gd name="connsiteX35" fmla="*/ 3077 w 9997"/>
                <a:gd name="connsiteY35" fmla="*/ 5864 h 10000"/>
                <a:gd name="connsiteX36" fmla="*/ 3142 w 9997"/>
                <a:gd name="connsiteY36" fmla="*/ 5923 h 10000"/>
                <a:gd name="connsiteX37" fmla="*/ 3201 w 9997"/>
                <a:gd name="connsiteY37" fmla="*/ 5987 h 10000"/>
                <a:gd name="connsiteX38" fmla="*/ 3267 w 9997"/>
                <a:gd name="connsiteY38" fmla="*/ 6046 h 10000"/>
                <a:gd name="connsiteX39" fmla="*/ 3326 w 9997"/>
                <a:gd name="connsiteY39" fmla="*/ 6110 h 10000"/>
                <a:gd name="connsiteX40" fmla="*/ 3385 w 9997"/>
                <a:gd name="connsiteY40" fmla="*/ 6174 h 10000"/>
                <a:gd name="connsiteX41" fmla="*/ 3444 w 9997"/>
                <a:gd name="connsiteY41" fmla="*/ 6238 h 10000"/>
                <a:gd name="connsiteX42" fmla="*/ 3496 w 9997"/>
                <a:gd name="connsiteY42" fmla="*/ 6308 h 10000"/>
                <a:gd name="connsiteX43" fmla="*/ 3549 w 9997"/>
                <a:gd name="connsiteY43" fmla="*/ 6377 h 10000"/>
                <a:gd name="connsiteX44" fmla="*/ 3601 w 9997"/>
                <a:gd name="connsiteY44" fmla="*/ 6447 h 10000"/>
                <a:gd name="connsiteX45" fmla="*/ 3655 w 9997"/>
                <a:gd name="connsiteY45" fmla="*/ 6516 h 10000"/>
                <a:gd name="connsiteX46" fmla="*/ 3694 w 9997"/>
                <a:gd name="connsiteY46" fmla="*/ 6591 h 10000"/>
                <a:gd name="connsiteX47" fmla="*/ 3746 w 9997"/>
                <a:gd name="connsiteY47" fmla="*/ 6666 h 10000"/>
                <a:gd name="connsiteX48" fmla="*/ 3785 w 9997"/>
                <a:gd name="connsiteY48" fmla="*/ 6735 h 10000"/>
                <a:gd name="connsiteX49" fmla="*/ 3825 w 9997"/>
                <a:gd name="connsiteY49" fmla="*/ 6810 h 10000"/>
                <a:gd name="connsiteX50" fmla="*/ 3864 w 9997"/>
                <a:gd name="connsiteY50" fmla="*/ 6885 h 10000"/>
                <a:gd name="connsiteX51" fmla="*/ 3897 w 9997"/>
                <a:gd name="connsiteY51" fmla="*/ 6960 h 10000"/>
                <a:gd name="connsiteX52" fmla="*/ 3929 w 9997"/>
                <a:gd name="connsiteY52" fmla="*/ 7040 h 10000"/>
                <a:gd name="connsiteX53" fmla="*/ 3962 w 9997"/>
                <a:gd name="connsiteY53" fmla="*/ 7120 h 10000"/>
                <a:gd name="connsiteX54" fmla="*/ 3995 w 9997"/>
                <a:gd name="connsiteY54" fmla="*/ 7195 h 10000"/>
                <a:gd name="connsiteX55" fmla="*/ 4021 w 9997"/>
                <a:gd name="connsiteY55" fmla="*/ 7275 h 10000"/>
                <a:gd name="connsiteX56" fmla="*/ 4041 w 9997"/>
                <a:gd name="connsiteY56" fmla="*/ 7355 h 10000"/>
                <a:gd name="connsiteX57" fmla="*/ 4068 w 9997"/>
                <a:gd name="connsiteY57" fmla="*/ 7441 h 10000"/>
                <a:gd name="connsiteX58" fmla="*/ 4087 w 9997"/>
                <a:gd name="connsiteY58" fmla="*/ 7521 h 10000"/>
                <a:gd name="connsiteX59" fmla="*/ 4107 w 9997"/>
                <a:gd name="connsiteY59" fmla="*/ 7601 h 10000"/>
                <a:gd name="connsiteX60" fmla="*/ 4120 w 9997"/>
                <a:gd name="connsiteY60" fmla="*/ 7687 h 10000"/>
                <a:gd name="connsiteX61" fmla="*/ 4133 w 9997"/>
                <a:gd name="connsiteY61" fmla="*/ 7772 h 10000"/>
                <a:gd name="connsiteX62" fmla="*/ 4139 w 9997"/>
                <a:gd name="connsiteY62" fmla="*/ 7858 h 10000"/>
                <a:gd name="connsiteX63" fmla="*/ 4146 w 9997"/>
                <a:gd name="connsiteY63" fmla="*/ 7943 h 10000"/>
                <a:gd name="connsiteX64" fmla="*/ 4146 w 9997"/>
                <a:gd name="connsiteY64" fmla="*/ 8029 h 10000"/>
                <a:gd name="connsiteX65" fmla="*/ 4152 w 9997"/>
                <a:gd name="connsiteY65" fmla="*/ 8114 h 10000"/>
                <a:gd name="connsiteX66" fmla="*/ 4146 w 9997"/>
                <a:gd name="connsiteY66" fmla="*/ 8227 h 10000"/>
                <a:gd name="connsiteX67" fmla="*/ 4139 w 9997"/>
                <a:gd name="connsiteY67" fmla="*/ 8343 h 10000"/>
                <a:gd name="connsiteX68" fmla="*/ 4133 w 9997"/>
                <a:gd name="connsiteY68" fmla="*/ 8450 h 10000"/>
                <a:gd name="connsiteX69" fmla="*/ 4113 w 9997"/>
                <a:gd name="connsiteY69" fmla="*/ 8562 h 10000"/>
                <a:gd name="connsiteX70" fmla="*/ 6724 w 9997"/>
                <a:gd name="connsiteY70" fmla="*/ 10000 h 10000"/>
                <a:gd name="connsiteX71" fmla="*/ 9847 w 9997"/>
                <a:gd name="connsiteY71" fmla="*/ 9498 h 10000"/>
                <a:gd name="connsiteX72" fmla="*/ 9886 w 9997"/>
                <a:gd name="connsiteY72" fmla="*/ 9332 h 10000"/>
                <a:gd name="connsiteX73" fmla="*/ 9912 w 9997"/>
                <a:gd name="connsiteY73" fmla="*/ 9161 h 10000"/>
                <a:gd name="connsiteX74" fmla="*/ 9938 w 9997"/>
                <a:gd name="connsiteY74" fmla="*/ 8990 h 10000"/>
                <a:gd name="connsiteX75" fmla="*/ 9958 w 9997"/>
                <a:gd name="connsiteY75" fmla="*/ 8813 h 10000"/>
                <a:gd name="connsiteX76" fmla="*/ 9971 w 9997"/>
                <a:gd name="connsiteY76" fmla="*/ 8637 h 10000"/>
                <a:gd name="connsiteX77" fmla="*/ 9984 w 9997"/>
                <a:gd name="connsiteY77" fmla="*/ 8466 h 10000"/>
                <a:gd name="connsiteX78" fmla="*/ 9990 w 9997"/>
                <a:gd name="connsiteY78" fmla="*/ 8291 h 10000"/>
                <a:gd name="connsiteX79" fmla="*/ 9997 w 9997"/>
                <a:gd name="connsiteY79" fmla="*/ 8114 h 10000"/>
                <a:gd name="connsiteX80" fmla="*/ 9990 w 9997"/>
                <a:gd name="connsiteY80" fmla="*/ 7901 h 10000"/>
                <a:gd name="connsiteX81" fmla="*/ 9984 w 9997"/>
                <a:gd name="connsiteY81" fmla="*/ 7697 h 10000"/>
                <a:gd name="connsiteX82" fmla="*/ 9964 w 9997"/>
                <a:gd name="connsiteY82" fmla="*/ 7489 h 10000"/>
                <a:gd name="connsiteX83" fmla="*/ 9945 w 9997"/>
                <a:gd name="connsiteY83" fmla="*/ 7286 h 10000"/>
                <a:gd name="connsiteX84" fmla="*/ 9912 w 9997"/>
                <a:gd name="connsiteY84" fmla="*/ 7077 h 10000"/>
                <a:gd name="connsiteX85" fmla="*/ 9879 w 9997"/>
                <a:gd name="connsiteY85" fmla="*/ 6880 h 10000"/>
                <a:gd name="connsiteX86" fmla="*/ 9840 w 9997"/>
                <a:gd name="connsiteY86" fmla="*/ 6677 h 10000"/>
                <a:gd name="connsiteX87" fmla="*/ 9793 w 9997"/>
                <a:gd name="connsiteY87" fmla="*/ 6479 h 10000"/>
                <a:gd name="connsiteX88" fmla="*/ 9741 w 9997"/>
                <a:gd name="connsiteY88" fmla="*/ 6281 h 10000"/>
                <a:gd name="connsiteX89" fmla="*/ 9682 w 9997"/>
                <a:gd name="connsiteY89" fmla="*/ 6089 h 10000"/>
                <a:gd name="connsiteX90" fmla="*/ 9617 w 9997"/>
                <a:gd name="connsiteY90" fmla="*/ 5891 h 10000"/>
                <a:gd name="connsiteX91" fmla="*/ 9552 w 9997"/>
                <a:gd name="connsiteY91" fmla="*/ 5698 h 10000"/>
                <a:gd name="connsiteX92" fmla="*/ 9472 w 9997"/>
                <a:gd name="connsiteY92" fmla="*/ 5511 h 10000"/>
                <a:gd name="connsiteX93" fmla="*/ 9393 w 9997"/>
                <a:gd name="connsiteY93" fmla="*/ 5324 h 10000"/>
                <a:gd name="connsiteX94" fmla="*/ 9301 w 9997"/>
                <a:gd name="connsiteY94" fmla="*/ 5137 h 10000"/>
                <a:gd name="connsiteX95" fmla="*/ 9210 w 9997"/>
                <a:gd name="connsiteY95" fmla="*/ 4957 h 10000"/>
                <a:gd name="connsiteX96" fmla="*/ 9118 w 9997"/>
                <a:gd name="connsiteY96" fmla="*/ 4775 h 10000"/>
                <a:gd name="connsiteX97" fmla="*/ 9013 w 9997"/>
                <a:gd name="connsiteY97" fmla="*/ 4598 h 10000"/>
                <a:gd name="connsiteX98" fmla="*/ 8908 w 9997"/>
                <a:gd name="connsiteY98" fmla="*/ 4422 h 10000"/>
                <a:gd name="connsiteX99" fmla="*/ 8797 w 9997"/>
                <a:gd name="connsiteY99" fmla="*/ 4246 h 10000"/>
                <a:gd name="connsiteX100" fmla="*/ 8679 w 9997"/>
                <a:gd name="connsiteY100" fmla="*/ 4075 h 10000"/>
                <a:gd name="connsiteX101" fmla="*/ 8554 w 9997"/>
                <a:gd name="connsiteY101" fmla="*/ 3909 h 10000"/>
                <a:gd name="connsiteX102" fmla="*/ 8429 w 9997"/>
                <a:gd name="connsiteY102" fmla="*/ 3743 h 10000"/>
                <a:gd name="connsiteX103" fmla="*/ 8298 w 9997"/>
                <a:gd name="connsiteY103" fmla="*/ 3578 h 10000"/>
                <a:gd name="connsiteX104" fmla="*/ 8160 w 9997"/>
                <a:gd name="connsiteY104" fmla="*/ 3417 h 10000"/>
                <a:gd name="connsiteX105" fmla="*/ 8016 w 9997"/>
                <a:gd name="connsiteY105" fmla="*/ 3262 h 10000"/>
                <a:gd name="connsiteX106" fmla="*/ 7871 w 9997"/>
                <a:gd name="connsiteY106" fmla="*/ 3107 h 10000"/>
                <a:gd name="connsiteX107" fmla="*/ 7721 w 9997"/>
                <a:gd name="connsiteY107" fmla="*/ 2952 h 10000"/>
                <a:gd name="connsiteX108" fmla="*/ 7571 w 9997"/>
                <a:gd name="connsiteY108" fmla="*/ 2808 h 10000"/>
                <a:gd name="connsiteX109" fmla="*/ 7405 w 9997"/>
                <a:gd name="connsiteY109" fmla="*/ 2664 h 10000"/>
                <a:gd name="connsiteX110" fmla="*/ 7248 w 9997"/>
                <a:gd name="connsiteY110" fmla="*/ 2519 h 10000"/>
                <a:gd name="connsiteX111" fmla="*/ 7078 w 9997"/>
                <a:gd name="connsiteY111" fmla="*/ 2375 h 10000"/>
                <a:gd name="connsiteX112" fmla="*/ 6908 w 9997"/>
                <a:gd name="connsiteY112" fmla="*/ 2241 h 10000"/>
                <a:gd name="connsiteX113" fmla="*/ 6738 w 9997"/>
                <a:gd name="connsiteY113" fmla="*/ 2108 h 10000"/>
                <a:gd name="connsiteX114" fmla="*/ 6554 w 9997"/>
                <a:gd name="connsiteY114" fmla="*/ 1980 h 10000"/>
                <a:gd name="connsiteX115" fmla="*/ 6370 w 9997"/>
                <a:gd name="connsiteY115" fmla="*/ 1857 h 10000"/>
                <a:gd name="connsiteX116" fmla="*/ 6186 w 9997"/>
                <a:gd name="connsiteY116" fmla="*/ 1734 h 10000"/>
                <a:gd name="connsiteX117" fmla="*/ 5996 w 9997"/>
                <a:gd name="connsiteY117" fmla="*/ 1617 h 10000"/>
                <a:gd name="connsiteX118" fmla="*/ 5799 w 9997"/>
                <a:gd name="connsiteY118" fmla="*/ 1500 h 10000"/>
                <a:gd name="connsiteX119" fmla="*/ 5603 w 9997"/>
                <a:gd name="connsiteY119" fmla="*/ 1387 h 10000"/>
                <a:gd name="connsiteX120" fmla="*/ 5405 w 9997"/>
                <a:gd name="connsiteY120" fmla="*/ 1280 h 10000"/>
                <a:gd name="connsiteX121" fmla="*/ 5202 w 9997"/>
                <a:gd name="connsiteY121" fmla="*/ 1179 h 10000"/>
                <a:gd name="connsiteX122" fmla="*/ 4999 w 9997"/>
                <a:gd name="connsiteY122" fmla="*/ 1077 h 10000"/>
                <a:gd name="connsiteX123" fmla="*/ 4782 w 9997"/>
                <a:gd name="connsiteY123" fmla="*/ 981 h 10000"/>
                <a:gd name="connsiteX124" fmla="*/ 4573 w 9997"/>
                <a:gd name="connsiteY124" fmla="*/ 890 h 10000"/>
                <a:gd name="connsiteX125" fmla="*/ 4355 w 9997"/>
                <a:gd name="connsiteY125" fmla="*/ 805 h 10000"/>
                <a:gd name="connsiteX126" fmla="*/ 4133 w 9997"/>
                <a:gd name="connsiteY126" fmla="*/ 719 h 10000"/>
                <a:gd name="connsiteX127" fmla="*/ 3916 w 9997"/>
                <a:gd name="connsiteY127" fmla="*/ 639 h 10000"/>
                <a:gd name="connsiteX128" fmla="*/ 3694 w 9997"/>
                <a:gd name="connsiteY128" fmla="*/ 570 h 10000"/>
                <a:gd name="connsiteX129" fmla="*/ 3463 w 9997"/>
                <a:gd name="connsiteY129" fmla="*/ 495 h 10000"/>
                <a:gd name="connsiteX130" fmla="*/ 3233 w 9997"/>
                <a:gd name="connsiteY130" fmla="*/ 431 h 10000"/>
                <a:gd name="connsiteX131" fmla="*/ 2998 w 9997"/>
                <a:gd name="connsiteY131" fmla="*/ 366 h 10000"/>
                <a:gd name="connsiteX132" fmla="*/ 2768 w 9997"/>
                <a:gd name="connsiteY132" fmla="*/ 313 h 10000"/>
                <a:gd name="connsiteX133" fmla="*/ 2527 w 9997"/>
                <a:gd name="connsiteY133" fmla="*/ 260 h 10000"/>
                <a:gd name="connsiteX134" fmla="*/ 2283 w 9997"/>
                <a:gd name="connsiteY134" fmla="*/ 211 h 10000"/>
                <a:gd name="connsiteX135" fmla="*/ 2046 w 9997"/>
                <a:gd name="connsiteY135" fmla="*/ 169 h 10000"/>
                <a:gd name="connsiteX136" fmla="*/ 1805 w 9997"/>
                <a:gd name="connsiteY136" fmla="*/ 131 h 10000"/>
                <a:gd name="connsiteX137" fmla="*/ 1555 w 9997"/>
                <a:gd name="connsiteY137" fmla="*/ 94 h 10000"/>
                <a:gd name="connsiteX138" fmla="*/ 1305 w 9997"/>
                <a:gd name="connsiteY138" fmla="*/ 67 h 10000"/>
                <a:gd name="connsiteX139" fmla="*/ 1057 w 9997"/>
                <a:gd name="connsiteY139" fmla="*/ 46 h 10000"/>
                <a:gd name="connsiteX140" fmla="*/ 807 w 9997"/>
                <a:gd name="connsiteY140" fmla="*/ 30 h 10000"/>
                <a:gd name="connsiteX141" fmla="*/ 551 w 9997"/>
                <a:gd name="connsiteY141" fmla="*/ 14 h 10000"/>
                <a:gd name="connsiteX142" fmla="*/ 295 w 9997"/>
                <a:gd name="connsiteY142" fmla="*/ 8 h 10000"/>
                <a:gd name="connsiteX143" fmla="*/ 39 w 9997"/>
                <a:gd name="connsiteY143" fmla="*/ 3 h 10000"/>
                <a:gd name="connsiteX144" fmla="*/ 0 w 9997"/>
                <a:gd name="connsiteY144" fmla="*/ 0 h 10000"/>
                <a:gd name="connsiteX145" fmla="*/ 1210 w 9997"/>
                <a:gd name="connsiteY145" fmla="*/ 2445 h 10000"/>
                <a:gd name="connsiteX146" fmla="*/ 7 w 9997"/>
                <a:gd name="connsiteY146" fmla="*/ 477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</a:cxnLst>
              <a:rect l="l" t="t" r="r" b="b"/>
              <a:pathLst>
                <a:path w="9997" h="10000">
                  <a:moveTo>
                    <a:pt x="7" y="4770"/>
                  </a:moveTo>
                  <a:cubicBezTo>
                    <a:pt x="15" y="4768"/>
                    <a:pt x="12" y="4766"/>
                    <a:pt x="20" y="4764"/>
                  </a:cubicBezTo>
                  <a:lnTo>
                    <a:pt x="124" y="4764"/>
                  </a:lnTo>
                  <a:lnTo>
                    <a:pt x="230" y="4770"/>
                  </a:lnTo>
                  <a:lnTo>
                    <a:pt x="335" y="4775"/>
                  </a:lnTo>
                  <a:lnTo>
                    <a:pt x="439" y="4780"/>
                  </a:lnTo>
                  <a:lnTo>
                    <a:pt x="545" y="4796"/>
                  </a:lnTo>
                  <a:lnTo>
                    <a:pt x="650" y="4807"/>
                  </a:lnTo>
                  <a:lnTo>
                    <a:pt x="748" y="4818"/>
                  </a:lnTo>
                  <a:cubicBezTo>
                    <a:pt x="781" y="4823"/>
                    <a:pt x="813" y="4829"/>
                    <a:pt x="846" y="4834"/>
                  </a:cubicBezTo>
                  <a:lnTo>
                    <a:pt x="952" y="4850"/>
                  </a:lnTo>
                  <a:lnTo>
                    <a:pt x="1050" y="4871"/>
                  </a:lnTo>
                  <a:lnTo>
                    <a:pt x="1148" y="4892"/>
                  </a:lnTo>
                  <a:cubicBezTo>
                    <a:pt x="1181" y="4899"/>
                    <a:pt x="1213" y="4907"/>
                    <a:pt x="1246" y="4914"/>
                  </a:cubicBezTo>
                  <a:lnTo>
                    <a:pt x="1339" y="4941"/>
                  </a:lnTo>
                  <a:lnTo>
                    <a:pt x="1437" y="4967"/>
                  </a:lnTo>
                  <a:cubicBezTo>
                    <a:pt x="1467" y="4978"/>
                    <a:pt x="1499" y="4988"/>
                    <a:pt x="1529" y="4999"/>
                  </a:cubicBezTo>
                  <a:cubicBezTo>
                    <a:pt x="1560" y="5009"/>
                    <a:pt x="1590" y="5020"/>
                    <a:pt x="1621" y="5030"/>
                  </a:cubicBezTo>
                  <a:cubicBezTo>
                    <a:pt x="1651" y="5041"/>
                    <a:pt x="1682" y="5051"/>
                    <a:pt x="1712" y="5062"/>
                  </a:cubicBezTo>
                  <a:lnTo>
                    <a:pt x="1805" y="5095"/>
                  </a:lnTo>
                  <a:lnTo>
                    <a:pt x="1896" y="5132"/>
                  </a:lnTo>
                  <a:cubicBezTo>
                    <a:pt x="1927" y="5144"/>
                    <a:pt x="1957" y="5157"/>
                    <a:pt x="1988" y="5169"/>
                  </a:cubicBezTo>
                  <a:lnTo>
                    <a:pt x="2073" y="5212"/>
                  </a:lnTo>
                  <a:cubicBezTo>
                    <a:pt x="2101" y="5225"/>
                    <a:pt x="2131" y="5237"/>
                    <a:pt x="2159" y="5250"/>
                  </a:cubicBezTo>
                  <a:lnTo>
                    <a:pt x="2244" y="5292"/>
                  </a:lnTo>
                  <a:cubicBezTo>
                    <a:pt x="2270" y="5306"/>
                    <a:pt x="2296" y="5321"/>
                    <a:pt x="2322" y="5335"/>
                  </a:cubicBezTo>
                  <a:lnTo>
                    <a:pt x="2407" y="5383"/>
                  </a:lnTo>
                  <a:lnTo>
                    <a:pt x="2485" y="5431"/>
                  </a:lnTo>
                  <a:lnTo>
                    <a:pt x="2566" y="5479"/>
                  </a:lnTo>
                  <a:lnTo>
                    <a:pt x="2644" y="5527"/>
                  </a:lnTo>
                  <a:lnTo>
                    <a:pt x="2723" y="5581"/>
                  </a:lnTo>
                  <a:cubicBezTo>
                    <a:pt x="2747" y="5599"/>
                    <a:pt x="2771" y="5616"/>
                    <a:pt x="2795" y="5634"/>
                  </a:cubicBezTo>
                  <a:cubicBezTo>
                    <a:pt x="2819" y="5652"/>
                    <a:pt x="2842" y="5670"/>
                    <a:pt x="2866" y="5688"/>
                  </a:cubicBezTo>
                  <a:cubicBezTo>
                    <a:pt x="2891" y="5708"/>
                    <a:pt x="2915" y="5727"/>
                    <a:pt x="2939" y="5747"/>
                  </a:cubicBezTo>
                  <a:cubicBezTo>
                    <a:pt x="2961" y="5766"/>
                    <a:pt x="2983" y="5786"/>
                    <a:pt x="3005" y="5805"/>
                  </a:cubicBezTo>
                  <a:cubicBezTo>
                    <a:pt x="3029" y="5825"/>
                    <a:pt x="3053" y="5844"/>
                    <a:pt x="3077" y="5864"/>
                  </a:cubicBezTo>
                  <a:lnTo>
                    <a:pt x="3142" y="5923"/>
                  </a:lnTo>
                  <a:cubicBezTo>
                    <a:pt x="3162" y="5944"/>
                    <a:pt x="3181" y="5966"/>
                    <a:pt x="3201" y="5987"/>
                  </a:cubicBezTo>
                  <a:cubicBezTo>
                    <a:pt x="3223" y="6007"/>
                    <a:pt x="3245" y="6026"/>
                    <a:pt x="3267" y="6046"/>
                  </a:cubicBezTo>
                  <a:cubicBezTo>
                    <a:pt x="3287" y="6067"/>
                    <a:pt x="3306" y="6089"/>
                    <a:pt x="3326" y="6110"/>
                  </a:cubicBezTo>
                  <a:cubicBezTo>
                    <a:pt x="3346" y="6131"/>
                    <a:pt x="3365" y="6153"/>
                    <a:pt x="3385" y="6174"/>
                  </a:cubicBezTo>
                  <a:cubicBezTo>
                    <a:pt x="3405" y="6195"/>
                    <a:pt x="3424" y="6217"/>
                    <a:pt x="3444" y="6238"/>
                  </a:cubicBezTo>
                  <a:lnTo>
                    <a:pt x="3496" y="6308"/>
                  </a:lnTo>
                  <a:cubicBezTo>
                    <a:pt x="3514" y="6331"/>
                    <a:pt x="3532" y="6354"/>
                    <a:pt x="3549" y="6377"/>
                  </a:cubicBezTo>
                  <a:lnTo>
                    <a:pt x="3601" y="6447"/>
                  </a:lnTo>
                  <a:cubicBezTo>
                    <a:pt x="3619" y="6470"/>
                    <a:pt x="3636" y="6493"/>
                    <a:pt x="3655" y="6516"/>
                  </a:cubicBezTo>
                  <a:lnTo>
                    <a:pt x="3694" y="6591"/>
                  </a:lnTo>
                  <a:cubicBezTo>
                    <a:pt x="3711" y="6616"/>
                    <a:pt x="3729" y="6641"/>
                    <a:pt x="3746" y="6666"/>
                  </a:cubicBezTo>
                  <a:lnTo>
                    <a:pt x="3785" y="6735"/>
                  </a:lnTo>
                  <a:cubicBezTo>
                    <a:pt x="3798" y="6760"/>
                    <a:pt x="3812" y="6785"/>
                    <a:pt x="3825" y="6810"/>
                  </a:cubicBezTo>
                  <a:lnTo>
                    <a:pt x="3864" y="6885"/>
                  </a:lnTo>
                  <a:lnTo>
                    <a:pt x="3897" y="6960"/>
                  </a:lnTo>
                  <a:cubicBezTo>
                    <a:pt x="3908" y="6987"/>
                    <a:pt x="3918" y="7013"/>
                    <a:pt x="3929" y="7040"/>
                  </a:cubicBezTo>
                  <a:cubicBezTo>
                    <a:pt x="3940" y="7067"/>
                    <a:pt x="3951" y="7093"/>
                    <a:pt x="3962" y="7120"/>
                  </a:cubicBezTo>
                  <a:lnTo>
                    <a:pt x="3995" y="7195"/>
                  </a:lnTo>
                  <a:cubicBezTo>
                    <a:pt x="4004" y="7222"/>
                    <a:pt x="4012" y="7248"/>
                    <a:pt x="4021" y="7275"/>
                  </a:cubicBezTo>
                  <a:cubicBezTo>
                    <a:pt x="4027" y="7302"/>
                    <a:pt x="4035" y="7328"/>
                    <a:pt x="4041" y="7355"/>
                  </a:cubicBezTo>
                  <a:cubicBezTo>
                    <a:pt x="4050" y="7384"/>
                    <a:pt x="4059" y="7412"/>
                    <a:pt x="4068" y="7441"/>
                  </a:cubicBezTo>
                  <a:cubicBezTo>
                    <a:pt x="4074" y="7468"/>
                    <a:pt x="4081" y="7494"/>
                    <a:pt x="4087" y="7521"/>
                  </a:cubicBezTo>
                  <a:cubicBezTo>
                    <a:pt x="4094" y="7548"/>
                    <a:pt x="4100" y="7574"/>
                    <a:pt x="4107" y="7601"/>
                  </a:cubicBezTo>
                  <a:cubicBezTo>
                    <a:pt x="4111" y="7630"/>
                    <a:pt x="4116" y="7658"/>
                    <a:pt x="4120" y="7687"/>
                  </a:cubicBezTo>
                  <a:cubicBezTo>
                    <a:pt x="4124" y="7715"/>
                    <a:pt x="4129" y="7744"/>
                    <a:pt x="4133" y="7772"/>
                  </a:cubicBezTo>
                  <a:cubicBezTo>
                    <a:pt x="4135" y="7801"/>
                    <a:pt x="4137" y="7829"/>
                    <a:pt x="4139" y="7858"/>
                  </a:cubicBezTo>
                  <a:cubicBezTo>
                    <a:pt x="4141" y="7886"/>
                    <a:pt x="4144" y="7915"/>
                    <a:pt x="4146" y="7943"/>
                  </a:cubicBezTo>
                  <a:lnTo>
                    <a:pt x="4146" y="8029"/>
                  </a:lnTo>
                  <a:cubicBezTo>
                    <a:pt x="4148" y="8057"/>
                    <a:pt x="4150" y="8086"/>
                    <a:pt x="4152" y="8114"/>
                  </a:cubicBezTo>
                  <a:cubicBezTo>
                    <a:pt x="4150" y="8152"/>
                    <a:pt x="4148" y="8189"/>
                    <a:pt x="4146" y="8227"/>
                  </a:cubicBezTo>
                  <a:cubicBezTo>
                    <a:pt x="4144" y="8266"/>
                    <a:pt x="4141" y="8305"/>
                    <a:pt x="4139" y="8343"/>
                  </a:cubicBezTo>
                  <a:cubicBezTo>
                    <a:pt x="4137" y="8379"/>
                    <a:pt x="4135" y="8414"/>
                    <a:pt x="4133" y="8450"/>
                  </a:cubicBezTo>
                  <a:cubicBezTo>
                    <a:pt x="4126" y="8487"/>
                    <a:pt x="4120" y="8525"/>
                    <a:pt x="4113" y="8562"/>
                  </a:cubicBezTo>
                  <a:lnTo>
                    <a:pt x="6724" y="10000"/>
                  </a:lnTo>
                  <a:lnTo>
                    <a:pt x="9847" y="9498"/>
                  </a:lnTo>
                  <a:cubicBezTo>
                    <a:pt x="9860" y="9443"/>
                    <a:pt x="9873" y="9387"/>
                    <a:pt x="9886" y="9332"/>
                  </a:cubicBezTo>
                  <a:cubicBezTo>
                    <a:pt x="9895" y="9275"/>
                    <a:pt x="9903" y="9218"/>
                    <a:pt x="9912" y="9161"/>
                  </a:cubicBezTo>
                  <a:cubicBezTo>
                    <a:pt x="9921" y="9104"/>
                    <a:pt x="9929" y="9047"/>
                    <a:pt x="9938" y="8990"/>
                  </a:cubicBezTo>
                  <a:cubicBezTo>
                    <a:pt x="9945" y="8931"/>
                    <a:pt x="9951" y="8872"/>
                    <a:pt x="9958" y="8813"/>
                  </a:cubicBezTo>
                  <a:cubicBezTo>
                    <a:pt x="9962" y="8754"/>
                    <a:pt x="9967" y="8696"/>
                    <a:pt x="9971" y="8637"/>
                  </a:cubicBezTo>
                  <a:cubicBezTo>
                    <a:pt x="9975" y="8580"/>
                    <a:pt x="9980" y="8523"/>
                    <a:pt x="9984" y="8466"/>
                  </a:cubicBezTo>
                  <a:cubicBezTo>
                    <a:pt x="9986" y="8407"/>
                    <a:pt x="9988" y="8349"/>
                    <a:pt x="9990" y="8291"/>
                  </a:cubicBezTo>
                  <a:cubicBezTo>
                    <a:pt x="9992" y="8232"/>
                    <a:pt x="9995" y="8173"/>
                    <a:pt x="9997" y="8114"/>
                  </a:cubicBezTo>
                  <a:cubicBezTo>
                    <a:pt x="9995" y="8043"/>
                    <a:pt x="9992" y="7972"/>
                    <a:pt x="9990" y="7901"/>
                  </a:cubicBezTo>
                  <a:lnTo>
                    <a:pt x="9984" y="7697"/>
                  </a:lnTo>
                  <a:cubicBezTo>
                    <a:pt x="9977" y="7628"/>
                    <a:pt x="9971" y="7558"/>
                    <a:pt x="9964" y="7489"/>
                  </a:cubicBezTo>
                  <a:cubicBezTo>
                    <a:pt x="9958" y="7421"/>
                    <a:pt x="9951" y="7354"/>
                    <a:pt x="9945" y="7286"/>
                  </a:cubicBezTo>
                  <a:cubicBezTo>
                    <a:pt x="9934" y="7216"/>
                    <a:pt x="9923" y="7147"/>
                    <a:pt x="9912" y="7077"/>
                  </a:cubicBezTo>
                  <a:cubicBezTo>
                    <a:pt x="9901" y="7011"/>
                    <a:pt x="9890" y="6946"/>
                    <a:pt x="9879" y="6880"/>
                  </a:cubicBezTo>
                  <a:cubicBezTo>
                    <a:pt x="9866" y="6812"/>
                    <a:pt x="9853" y="6745"/>
                    <a:pt x="9840" y="6677"/>
                  </a:cubicBezTo>
                  <a:cubicBezTo>
                    <a:pt x="9825" y="6611"/>
                    <a:pt x="9809" y="6545"/>
                    <a:pt x="9793" y="6479"/>
                  </a:cubicBezTo>
                  <a:cubicBezTo>
                    <a:pt x="9776" y="6413"/>
                    <a:pt x="9758" y="6347"/>
                    <a:pt x="9741" y="6281"/>
                  </a:cubicBezTo>
                  <a:cubicBezTo>
                    <a:pt x="9721" y="6217"/>
                    <a:pt x="9702" y="6153"/>
                    <a:pt x="9682" y="6089"/>
                  </a:cubicBezTo>
                  <a:cubicBezTo>
                    <a:pt x="9660" y="6023"/>
                    <a:pt x="9639" y="5957"/>
                    <a:pt x="9617" y="5891"/>
                  </a:cubicBezTo>
                  <a:cubicBezTo>
                    <a:pt x="9595" y="5827"/>
                    <a:pt x="9574" y="5762"/>
                    <a:pt x="9552" y="5698"/>
                  </a:cubicBezTo>
                  <a:cubicBezTo>
                    <a:pt x="9526" y="5636"/>
                    <a:pt x="9499" y="5573"/>
                    <a:pt x="9472" y="5511"/>
                  </a:cubicBezTo>
                  <a:cubicBezTo>
                    <a:pt x="9446" y="5449"/>
                    <a:pt x="9420" y="5386"/>
                    <a:pt x="9393" y="5324"/>
                  </a:cubicBezTo>
                  <a:cubicBezTo>
                    <a:pt x="9362" y="5262"/>
                    <a:pt x="9332" y="5199"/>
                    <a:pt x="9301" y="5137"/>
                  </a:cubicBezTo>
                  <a:cubicBezTo>
                    <a:pt x="9271" y="5077"/>
                    <a:pt x="9240" y="5016"/>
                    <a:pt x="9210" y="4957"/>
                  </a:cubicBezTo>
                  <a:cubicBezTo>
                    <a:pt x="9179" y="4896"/>
                    <a:pt x="9149" y="4836"/>
                    <a:pt x="9118" y="4775"/>
                  </a:cubicBezTo>
                  <a:cubicBezTo>
                    <a:pt x="9083" y="4716"/>
                    <a:pt x="9049" y="4657"/>
                    <a:pt x="9013" y="4598"/>
                  </a:cubicBezTo>
                  <a:lnTo>
                    <a:pt x="8908" y="4422"/>
                  </a:lnTo>
                  <a:lnTo>
                    <a:pt x="8797" y="4246"/>
                  </a:lnTo>
                  <a:cubicBezTo>
                    <a:pt x="8758" y="4189"/>
                    <a:pt x="8718" y="4132"/>
                    <a:pt x="8679" y="4075"/>
                  </a:cubicBezTo>
                  <a:cubicBezTo>
                    <a:pt x="8637" y="4020"/>
                    <a:pt x="8596" y="3964"/>
                    <a:pt x="8554" y="3909"/>
                  </a:cubicBezTo>
                  <a:cubicBezTo>
                    <a:pt x="8512" y="3854"/>
                    <a:pt x="8471" y="3798"/>
                    <a:pt x="8429" y="3743"/>
                  </a:cubicBezTo>
                  <a:lnTo>
                    <a:pt x="8298" y="3578"/>
                  </a:lnTo>
                  <a:lnTo>
                    <a:pt x="8160" y="3417"/>
                  </a:lnTo>
                  <a:lnTo>
                    <a:pt x="8016" y="3262"/>
                  </a:lnTo>
                  <a:cubicBezTo>
                    <a:pt x="7968" y="3210"/>
                    <a:pt x="7919" y="3159"/>
                    <a:pt x="7871" y="3107"/>
                  </a:cubicBezTo>
                  <a:lnTo>
                    <a:pt x="7721" y="2952"/>
                  </a:lnTo>
                  <a:lnTo>
                    <a:pt x="7571" y="2808"/>
                  </a:lnTo>
                  <a:lnTo>
                    <a:pt x="7405" y="2664"/>
                  </a:lnTo>
                  <a:lnTo>
                    <a:pt x="7248" y="2519"/>
                  </a:lnTo>
                  <a:lnTo>
                    <a:pt x="7078" y="2375"/>
                  </a:lnTo>
                  <a:lnTo>
                    <a:pt x="6908" y="2241"/>
                  </a:lnTo>
                  <a:cubicBezTo>
                    <a:pt x="6851" y="2197"/>
                    <a:pt x="6795" y="2152"/>
                    <a:pt x="6738" y="2108"/>
                  </a:cubicBezTo>
                  <a:lnTo>
                    <a:pt x="6554" y="1980"/>
                  </a:lnTo>
                  <a:lnTo>
                    <a:pt x="6370" y="1857"/>
                  </a:lnTo>
                  <a:lnTo>
                    <a:pt x="6186" y="1734"/>
                  </a:lnTo>
                  <a:lnTo>
                    <a:pt x="5996" y="1617"/>
                  </a:lnTo>
                  <a:lnTo>
                    <a:pt x="5799" y="1500"/>
                  </a:lnTo>
                  <a:lnTo>
                    <a:pt x="5603" y="1387"/>
                  </a:lnTo>
                  <a:lnTo>
                    <a:pt x="5405" y="1280"/>
                  </a:lnTo>
                  <a:lnTo>
                    <a:pt x="5202" y="1179"/>
                  </a:lnTo>
                  <a:lnTo>
                    <a:pt x="4999" y="1077"/>
                  </a:lnTo>
                  <a:lnTo>
                    <a:pt x="4782" y="981"/>
                  </a:lnTo>
                  <a:lnTo>
                    <a:pt x="4573" y="890"/>
                  </a:lnTo>
                  <a:lnTo>
                    <a:pt x="4355" y="805"/>
                  </a:lnTo>
                  <a:lnTo>
                    <a:pt x="4133" y="719"/>
                  </a:lnTo>
                  <a:lnTo>
                    <a:pt x="3916" y="639"/>
                  </a:lnTo>
                  <a:lnTo>
                    <a:pt x="3694" y="570"/>
                  </a:lnTo>
                  <a:lnTo>
                    <a:pt x="3463" y="495"/>
                  </a:lnTo>
                  <a:lnTo>
                    <a:pt x="3233" y="431"/>
                  </a:lnTo>
                  <a:lnTo>
                    <a:pt x="2998" y="366"/>
                  </a:lnTo>
                  <a:lnTo>
                    <a:pt x="2768" y="313"/>
                  </a:lnTo>
                  <a:lnTo>
                    <a:pt x="2527" y="260"/>
                  </a:lnTo>
                  <a:lnTo>
                    <a:pt x="2283" y="211"/>
                  </a:lnTo>
                  <a:lnTo>
                    <a:pt x="2046" y="169"/>
                  </a:lnTo>
                  <a:lnTo>
                    <a:pt x="1805" y="131"/>
                  </a:lnTo>
                  <a:lnTo>
                    <a:pt x="1555" y="94"/>
                  </a:lnTo>
                  <a:lnTo>
                    <a:pt x="1305" y="67"/>
                  </a:lnTo>
                  <a:lnTo>
                    <a:pt x="1057" y="46"/>
                  </a:lnTo>
                  <a:lnTo>
                    <a:pt x="807" y="30"/>
                  </a:lnTo>
                  <a:lnTo>
                    <a:pt x="551" y="14"/>
                  </a:lnTo>
                  <a:lnTo>
                    <a:pt x="295" y="8"/>
                  </a:lnTo>
                  <a:lnTo>
                    <a:pt x="39" y="3"/>
                  </a:lnTo>
                  <a:cubicBezTo>
                    <a:pt x="13" y="5"/>
                    <a:pt x="26" y="-2"/>
                    <a:pt x="0" y="0"/>
                  </a:cubicBezTo>
                  <a:lnTo>
                    <a:pt x="1210" y="2445"/>
                  </a:lnTo>
                  <a:lnTo>
                    <a:pt x="7" y="477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/>
            </a:p>
          </p:txBody>
        </p:sp>
        <p:sp>
          <p:nvSpPr>
            <p:cNvPr id="65" name="Freeform 4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-84370714" y="-26265662"/>
              <a:ext cx="41346518" cy="66837563"/>
            </a:xfrm>
            <a:custGeom>
              <a:avLst/>
              <a:gdLst>
                <a:gd name="T0" fmla="*/ 2147483647 w 1349"/>
                <a:gd name="T1" fmla="*/ 2147483647 h 2182"/>
                <a:gd name="T2" fmla="*/ 2147483647 w 1349"/>
                <a:gd name="T3" fmla="*/ 2147483647 h 2182"/>
                <a:gd name="T4" fmla="*/ 2147483647 w 1349"/>
                <a:gd name="T5" fmla="*/ 2147483647 h 2182"/>
                <a:gd name="T6" fmla="*/ 2147483647 w 1349"/>
                <a:gd name="T7" fmla="*/ 2147483647 h 2182"/>
                <a:gd name="T8" fmla="*/ 2147483647 w 1349"/>
                <a:gd name="T9" fmla="*/ 2147483647 h 2182"/>
                <a:gd name="T10" fmla="*/ 2147483647 w 1349"/>
                <a:gd name="T11" fmla="*/ 2147483647 h 2182"/>
                <a:gd name="T12" fmla="*/ 2147483647 w 1349"/>
                <a:gd name="T13" fmla="*/ 2147483647 h 2182"/>
                <a:gd name="T14" fmla="*/ 2147483647 w 1349"/>
                <a:gd name="T15" fmla="*/ 2147483647 h 2182"/>
                <a:gd name="T16" fmla="*/ 2147483647 w 1349"/>
                <a:gd name="T17" fmla="*/ 2147483647 h 2182"/>
                <a:gd name="T18" fmla="*/ 2147483647 w 1349"/>
                <a:gd name="T19" fmla="*/ 2147483647 h 2182"/>
                <a:gd name="T20" fmla="*/ 2147483647 w 1349"/>
                <a:gd name="T21" fmla="*/ 2147483647 h 2182"/>
                <a:gd name="T22" fmla="*/ 2147483647 w 1349"/>
                <a:gd name="T23" fmla="*/ 2147483647 h 2182"/>
                <a:gd name="T24" fmla="*/ 2147483647 w 1349"/>
                <a:gd name="T25" fmla="*/ 2147483647 h 2182"/>
                <a:gd name="T26" fmla="*/ 2147483647 w 1349"/>
                <a:gd name="T27" fmla="*/ 2147483647 h 2182"/>
                <a:gd name="T28" fmla="*/ 2147483647 w 1349"/>
                <a:gd name="T29" fmla="*/ 2147483647 h 2182"/>
                <a:gd name="T30" fmla="*/ 2147483647 w 1349"/>
                <a:gd name="T31" fmla="*/ 2147483647 h 2182"/>
                <a:gd name="T32" fmla="*/ 2147483647 w 1349"/>
                <a:gd name="T33" fmla="*/ 2147483647 h 2182"/>
                <a:gd name="T34" fmla="*/ 2147483647 w 1349"/>
                <a:gd name="T35" fmla="*/ 2147483647 h 2182"/>
                <a:gd name="T36" fmla="*/ 2147483647 w 1349"/>
                <a:gd name="T37" fmla="*/ 2147483647 h 2182"/>
                <a:gd name="T38" fmla="*/ 2147483647 w 1349"/>
                <a:gd name="T39" fmla="*/ 2147483647 h 2182"/>
                <a:gd name="T40" fmla="*/ 2147483647 w 1349"/>
                <a:gd name="T41" fmla="*/ 2147483647 h 2182"/>
                <a:gd name="T42" fmla="*/ 2147483647 w 1349"/>
                <a:gd name="T43" fmla="*/ 2147483647 h 2182"/>
                <a:gd name="T44" fmla="*/ 2147483647 w 1349"/>
                <a:gd name="T45" fmla="*/ 2147483647 h 2182"/>
                <a:gd name="T46" fmla="*/ 2147483647 w 1349"/>
                <a:gd name="T47" fmla="*/ 2147483647 h 2182"/>
                <a:gd name="T48" fmla="*/ 2147483647 w 1349"/>
                <a:gd name="T49" fmla="*/ 2147483647 h 2182"/>
                <a:gd name="T50" fmla="*/ 2147483647 w 1349"/>
                <a:gd name="T51" fmla="*/ 2147483647 h 2182"/>
                <a:gd name="T52" fmla="*/ 2147483647 w 1349"/>
                <a:gd name="T53" fmla="*/ 2147483647 h 2182"/>
                <a:gd name="T54" fmla="*/ 2147483647 w 1349"/>
                <a:gd name="T55" fmla="*/ 2147483647 h 2182"/>
                <a:gd name="T56" fmla="*/ 2147483647 w 1349"/>
                <a:gd name="T57" fmla="*/ 2147483647 h 2182"/>
                <a:gd name="T58" fmla="*/ 2147483647 w 1349"/>
                <a:gd name="T59" fmla="*/ 2147483647 h 2182"/>
                <a:gd name="T60" fmla="*/ 2147483647 w 1349"/>
                <a:gd name="T61" fmla="*/ 2147483647 h 2182"/>
                <a:gd name="T62" fmla="*/ 2147483647 w 1349"/>
                <a:gd name="T63" fmla="*/ 2147483647 h 2182"/>
                <a:gd name="T64" fmla="*/ 2147483647 w 1349"/>
                <a:gd name="T65" fmla="*/ 2147483647 h 2182"/>
                <a:gd name="T66" fmla="*/ 2147483647 w 1349"/>
                <a:gd name="T67" fmla="*/ 2147483647 h 2182"/>
                <a:gd name="T68" fmla="*/ 2147483647 w 1349"/>
                <a:gd name="T69" fmla="*/ 2147483647 h 2182"/>
                <a:gd name="T70" fmla="*/ 2147483647 w 1349"/>
                <a:gd name="T71" fmla="*/ 2147483647 h 2182"/>
                <a:gd name="T72" fmla="*/ 2147483647 w 1349"/>
                <a:gd name="T73" fmla="*/ 2147483647 h 2182"/>
                <a:gd name="T74" fmla="*/ 0 w 1349"/>
                <a:gd name="T75" fmla="*/ 2147483647 h 2182"/>
                <a:gd name="T76" fmla="*/ 2147483647 w 1349"/>
                <a:gd name="T77" fmla="*/ 2147483647 h 2182"/>
                <a:gd name="T78" fmla="*/ 2147483647 w 1349"/>
                <a:gd name="T79" fmla="*/ 2147483647 h 2182"/>
                <a:gd name="T80" fmla="*/ 2147483647 w 1349"/>
                <a:gd name="T81" fmla="*/ 2147483647 h 2182"/>
                <a:gd name="T82" fmla="*/ 2147483647 w 1349"/>
                <a:gd name="T83" fmla="*/ 2147483647 h 2182"/>
                <a:gd name="T84" fmla="*/ 2147483647 w 1349"/>
                <a:gd name="T85" fmla="*/ 2147483647 h 2182"/>
                <a:gd name="T86" fmla="*/ 2147483647 w 1349"/>
                <a:gd name="T87" fmla="*/ 2147483647 h 2182"/>
                <a:gd name="T88" fmla="*/ 2147483647 w 1349"/>
                <a:gd name="T89" fmla="*/ 2147483647 h 2182"/>
                <a:gd name="T90" fmla="*/ 2147483647 w 1349"/>
                <a:gd name="T91" fmla="*/ 2147483647 h 2182"/>
                <a:gd name="T92" fmla="*/ 2147483647 w 1349"/>
                <a:gd name="T93" fmla="*/ 2147483647 h 2182"/>
                <a:gd name="T94" fmla="*/ 2147483647 w 1349"/>
                <a:gd name="T95" fmla="*/ 2147483647 h 2182"/>
                <a:gd name="T96" fmla="*/ 2147483647 w 1349"/>
                <a:gd name="T97" fmla="*/ 2147483647 h 2182"/>
                <a:gd name="T98" fmla="*/ 2147483647 w 1349"/>
                <a:gd name="T99" fmla="*/ 2147483647 h 2182"/>
                <a:gd name="T100" fmla="*/ 2147483647 w 1349"/>
                <a:gd name="T101" fmla="*/ 2147483647 h 2182"/>
                <a:gd name="T102" fmla="*/ 2147483647 w 1349"/>
                <a:gd name="T103" fmla="*/ 2147483647 h 2182"/>
                <a:gd name="T104" fmla="*/ 2147483647 w 1349"/>
                <a:gd name="T105" fmla="*/ 2147483647 h 2182"/>
                <a:gd name="T106" fmla="*/ 2147483647 w 1349"/>
                <a:gd name="T107" fmla="*/ 2147483647 h 2182"/>
                <a:gd name="T108" fmla="*/ 2147483647 w 1349"/>
                <a:gd name="T109" fmla="*/ 2147483647 h 2182"/>
                <a:gd name="T110" fmla="*/ 2147483647 w 1349"/>
                <a:gd name="T111" fmla="*/ 2147483647 h 2182"/>
                <a:gd name="T112" fmla="*/ 2147483647 w 1349"/>
                <a:gd name="T113" fmla="*/ 2147483647 h 2182"/>
                <a:gd name="T114" fmla="*/ 2147483647 w 1349"/>
                <a:gd name="T115" fmla="*/ 2147483647 h 2182"/>
                <a:gd name="T116" fmla="*/ 2147483647 w 1349"/>
                <a:gd name="T117" fmla="*/ 2147483647 h 2182"/>
                <a:gd name="T118" fmla="*/ 2147483647 w 1349"/>
                <a:gd name="T119" fmla="*/ 2147483647 h 218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49"/>
                <a:gd name="T181" fmla="*/ 0 h 2182"/>
                <a:gd name="T182" fmla="*/ 1349 w 1349"/>
                <a:gd name="T183" fmla="*/ 2182 h 2182"/>
                <a:gd name="connsiteX0" fmla="*/ 10000 w 10000"/>
                <a:gd name="connsiteY0" fmla="*/ 6141 h 10000"/>
                <a:gd name="connsiteX1" fmla="*/ 10000 w 10000"/>
                <a:gd name="connsiteY1" fmla="*/ 6141 h 10000"/>
                <a:gd name="connsiteX2" fmla="*/ 9911 w 10000"/>
                <a:gd name="connsiteY2" fmla="*/ 6127 h 10000"/>
                <a:gd name="connsiteX3" fmla="*/ 9815 w 10000"/>
                <a:gd name="connsiteY3" fmla="*/ 6109 h 10000"/>
                <a:gd name="connsiteX4" fmla="*/ 9726 w 10000"/>
                <a:gd name="connsiteY4" fmla="*/ 6091 h 10000"/>
                <a:gd name="connsiteX5" fmla="*/ 9637 w 10000"/>
                <a:gd name="connsiteY5" fmla="*/ 6068 h 10000"/>
                <a:gd name="connsiteX6" fmla="*/ 9548 w 10000"/>
                <a:gd name="connsiteY6" fmla="*/ 6049 h 10000"/>
                <a:gd name="connsiteX7" fmla="*/ 9466 w 10000"/>
                <a:gd name="connsiteY7" fmla="*/ 6027 h 10000"/>
                <a:gd name="connsiteX8" fmla="*/ 9377 w 10000"/>
                <a:gd name="connsiteY8" fmla="*/ 6004 h 10000"/>
                <a:gd name="connsiteX9" fmla="*/ 9288 w 10000"/>
                <a:gd name="connsiteY9" fmla="*/ 5981 h 10000"/>
                <a:gd name="connsiteX10" fmla="*/ 9118 w 10000"/>
                <a:gd name="connsiteY10" fmla="*/ 5930 h 10000"/>
                <a:gd name="connsiteX11" fmla="*/ 8955 w 10000"/>
                <a:gd name="connsiteY11" fmla="*/ 5875 h 10000"/>
                <a:gd name="connsiteX12" fmla="*/ 8792 w 10000"/>
                <a:gd name="connsiteY12" fmla="*/ 5816 h 10000"/>
                <a:gd name="connsiteX13" fmla="*/ 8636 w 10000"/>
                <a:gd name="connsiteY13" fmla="*/ 5752 h 10000"/>
                <a:gd name="connsiteX14" fmla="*/ 8480 w 10000"/>
                <a:gd name="connsiteY14" fmla="*/ 5687 h 10000"/>
                <a:gd name="connsiteX15" fmla="*/ 8340 w 10000"/>
                <a:gd name="connsiteY15" fmla="*/ 5619 h 10000"/>
                <a:gd name="connsiteX16" fmla="*/ 8199 w 10000"/>
                <a:gd name="connsiteY16" fmla="*/ 5545 h 10000"/>
                <a:gd name="connsiteX17" fmla="*/ 8058 w 10000"/>
                <a:gd name="connsiteY17" fmla="*/ 5467 h 10000"/>
                <a:gd name="connsiteX18" fmla="*/ 7924 w 10000"/>
                <a:gd name="connsiteY18" fmla="*/ 5385 h 10000"/>
                <a:gd name="connsiteX19" fmla="*/ 7798 w 10000"/>
                <a:gd name="connsiteY19" fmla="*/ 5302 h 10000"/>
                <a:gd name="connsiteX20" fmla="*/ 7672 w 10000"/>
                <a:gd name="connsiteY20" fmla="*/ 5215 h 10000"/>
                <a:gd name="connsiteX21" fmla="*/ 7554 w 10000"/>
                <a:gd name="connsiteY21" fmla="*/ 5128 h 10000"/>
                <a:gd name="connsiteX22" fmla="*/ 7450 w 10000"/>
                <a:gd name="connsiteY22" fmla="*/ 5032 h 10000"/>
                <a:gd name="connsiteX23" fmla="*/ 7346 w 10000"/>
                <a:gd name="connsiteY23" fmla="*/ 4936 h 10000"/>
                <a:gd name="connsiteX24" fmla="*/ 7250 w 10000"/>
                <a:gd name="connsiteY24" fmla="*/ 4840 h 10000"/>
                <a:gd name="connsiteX25" fmla="*/ 7161 w 10000"/>
                <a:gd name="connsiteY25" fmla="*/ 4739 h 10000"/>
                <a:gd name="connsiteX26" fmla="*/ 7072 w 10000"/>
                <a:gd name="connsiteY26" fmla="*/ 4638 h 10000"/>
                <a:gd name="connsiteX27" fmla="*/ 6990 w 10000"/>
                <a:gd name="connsiteY27" fmla="*/ 4528 h 10000"/>
                <a:gd name="connsiteX28" fmla="*/ 6953 w 10000"/>
                <a:gd name="connsiteY28" fmla="*/ 4478 h 10000"/>
                <a:gd name="connsiteX29" fmla="*/ 6916 w 10000"/>
                <a:gd name="connsiteY29" fmla="*/ 4423 h 10000"/>
                <a:gd name="connsiteX30" fmla="*/ 6887 w 10000"/>
                <a:gd name="connsiteY30" fmla="*/ 4368 h 10000"/>
                <a:gd name="connsiteX31" fmla="*/ 6850 w 10000"/>
                <a:gd name="connsiteY31" fmla="*/ 4313 h 10000"/>
                <a:gd name="connsiteX32" fmla="*/ 6820 w 10000"/>
                <a:gd name="connsiteY32" fmla="*/ 4258 h 10000"/>
                <a:gd name="connsiteX33" fmla="*/ 6790 w 10000"/>
                <a:gd name="connsiteY33" fmla="*/ 4203 h 10000"/>
                <a:gd name="connsiteX34" fmla="*/ 6768 w 10000"/>
                <a:gd name="connsiteY34" fmla="*/ 4143 h 10000"/>
                <a:gd name="connsiteX35" fmla="*/ 6738 w 10000"/>
                <a:gd name="connsiteY35" fmla="*/ 4088 h 10000"/>
                <a:gd name="connsiteX36" fmla="*/ 6723 w 10000"/>
                <a:gd name="connsiteY36" fmla="*/ 4028 h 10000"/>
                <a:gd name="connsiteX37" fmla="*/ 6694 w 10000"/>
                <a:gd name="connsiteY37" fmla="*/ 3973 h 10000"/>
                <a:gd name="connsiteX38" fmla="*/ 6679 w 10000"/>
                <a:gd name="connsiteY38" fmla="*/ 3914 h 10000"/>
                <a:gd name="connsiteX39" fmla="*/ 6664 w 10000"/>
                <a:gd name="connsiteY39" fmla="*/ 3854 h 10000"/>
                <a:gd name="connsiteX40" fmla="*/ 6649 w 10000"/>
                <a:gd name="connsiteY40" fmla="*/ 3795 h 10000"/>
                <a:gd name="connsiteX41" fmla="*/ 6635 w 10000"/>
                <a:gd name="connsiteY41" fmla="*/ 3740 h 10000"/>
                <a:gd name="connsiteX42" fmla="*/ 6620 w 10000"/>
                <a:gd name="connsiteY42" fmla="*/ 3680 h 10000"/>
                <a:gd name="connsiteX43" fmla="*/ 6612 w 10000"/>
                <a:gd name="connsiteY43" fmla="*/ 3621 h 10000"/>
                <a:gd name="connsiteX44" fmla="*/ 6605 w 10000"/>
                <a:gd name="connsiteY44" fmla="*/ 3561 h 10000"/>
                <a:gd name="connsiteX45" fmla="*/ 6597 w 10000"/>
                <a:gd name="connsiteY45" fmla="*/ 3497 h 10000"/>
                <a:gd name="connsiteX46" fmla="*/ 6597 w 10000"/>
                <a:gd name="connsiteY46" fmla="*/ 3437 h 10000"/>
                <a:gd name="connsiteX47" fmla="*/ 6590 w 10000"/>
                <a:gd name="connsiteY47" fmla="*/ 3373 h 10000"/>
                <a:gd name="connsiteX48" fmla="*/ 6597 w 10000"/>
                <a:gd name="connsiteY48" fmla="*/ 3313 h 10000"/>
                <a:gd name="connsiteX49" fmla="*/ 6605 w 10000"/>
                <a:gd name="connsiteY49" fmla="*/ 3245 h 10000"/>
                <a:gd name="connsiteX50" fmla="*/ 6605 w 10000"/>
                <a:gd name="connsiteY50" fmla="*/ 3181 h 10000"/>
                <a:gd name="connsiteX51" fmla="*/ 6612 w 10000"/>
                <a:gd name="connsiteY51" fmla="*/ 3116 h 10000"/>
                <a:gd name="connsiteX52" fmla="*/ 6620 w 10000"/>
                <a:gd name="connsiteY52" fmla="*/ 3052 h 10000"/>
                <a:gd name="connsiteX53" fmla="*/ 6635 w 10000"/>
                <a:gd name="connsiteY53" fmla="*/ 2993 h 10000"/>
                <a:gd name="connsiteX54" fmla="*/ 6649 w 10000"/>
                <a:gd name="connsiteY54" fmla="*/ 2929 h 10000"/>
                <a:gd name="connsiteX55" fmla="*/ 6664 w 10000"/>
                <a:gd name="connsiteY55" fmla="*/ 2869 h 10000"/>
                <a:gd name="connsiteX56" fmla="*/ 6686 w 10000"/>
                <a:gd name="connsiteY56" fmla="*/ 2805 h 10000"/>
                <a:gd name="connsiteX57" fmla="*/ 6709 w 10000"/>
                <a:gd name="connsiteY57" fmla="*/ 2745 h 10000"/>
                <a:gd name="connsiteX58" fmla="*/ 6731 w 10000"/>
                <a:gd name="connsiteY58" fmla="*/ 2686 h 10000"/>
                <a:gd name="connsiteX59" fmla="*/ 6753 w 10000"/>
                <a:gd name="connsiteY59" fmla="*/ 2621 h 10000"/>
                <a:gd name="connsiteX60" fmla="*/ 6783 w 10000"/>
                <a:gd name="connsiteY60" fmla="*/ 2566 h 10000"/>
                <a:gd name="connsiteX61" fmla="*/ 6812 w 10000"/>
                <a:gd name="connsiteY61" fmla="*/ 2507 h 10000"/>
                <a:gd name="connsiteX62" fmla="*/ 6842 w 10000"/>
                <a:gd name="connsiteY62" fmla="*/ 2447 h 10000"/>
                <a:gd name="connsiteX63" fmla="*/ 6879 w 10000"/>
                <a:gd name="connsiteY63" fmla="*/ 2388 h 10000"/>
                <a:gd name="connsiteX64" fmla="*/ 6909 w 10000"/>
                <a:gd name="connsiteY64" fmla="*/ 2333 h 10000"/>
                <a:gd name="connsiteX65" fmla="*/ 6946 w 10000"/>
                <a:gd name="connsiteY65" fmla="*/ 2273 h 10000"/>
                <a:gd name="connsiteX66" fmla="*/ 6990 w 10000"/>
                <a:gd name="connsiteY66" fmla="*/ 2218 h 10000"/>
                <a:gd name="connsiteX67" fmla="*/ 7027 w 10000"/>
                <a:gd name="connsiteY67" fmla="*/ 2163 h 10000"/>
                <a:gd name="connsiteX68" fmla="*/ 7072 w 10000"/>
                <a:gd name="connsiteY68" fmla="*/ 2108 h 10000"/>
                <a:gd name="connsiteX69" fmla="*/ 7109 w 10000"/>
                <a:gd name="connsiteY69" fmla="*/ 2053 h 10000"/>
                <a:gd name="connsiteX70" fmla="*/ 7161 w 10000"/>
                <a:gd name="connsiteY70" fmla="*/ 2003 h 10000"/>
                <a:gd name="connsiteX71" fmla="*/ 7213 w 10000"/>
                <a:gd name="connsiteY71" fmla="*/ 1948 h 10000"/>
                <a:gd name="connsiteX72" fmla="*/ 7257 w 10000"/>
                <a:gd name="connsiteY72" fmla="*/ 1893 h 10000"/>
                <a:gd name="connsiteX73" fmla="*/ 7309 w 10000"/>
                <a:gd name="connsiteY73" fmla="*/ 1842 h 10000"/>
                <a:gd name="connsiteX74" fmla="*/ 7361 w 10000"/>
                <a:gd name="connsiteY74" fmla="*/ 1792 h 10000"/>
                <a:gd name="connsiteX75" fmla="*/ 7413 w 10000"/>
                <a:gd name="connsiteY75" fmla="*/ 1742 h 10000"/>
                <a:gd name="connsiteX76" fmla="*/ 7472 w 10000"/>
                <a:gd name="connsiteY76" fmla="*/ 1691 h 10000"/>
                <a:gd name="connsiteX77" fmla="*/ 7524 w 10000"/>
                <a:gd name="connsiteY77" fmla="*/ 1645 h 10000"/>
                <a:gd name="connsiteX78" fmla="*/ 7583 w 10000"/>
                <a:gd name="connsiteY78" fmla="*/ 1599 h 10000"/>
                <a:gd name="connsiteX79" fmla="*/ 7643 w 10000"/>
                <a:gd name="connsiteY79" fmla="*/ 1549 h 10000"/>
                <a:gd name="connsiteX80" fmla="*/ 5456 w 10000"/>
                <a:gd name="connsiteY80" fmla="*/ 0 h 10000"/>
                <a:gd name="connsiteX81" fmla="*/ 1401 w 10000"/>
                <a:gd name="connsiteY81" fmla="*/ 0 h 10000"/>
                <a:gd name="connsiteX82" fmla="*/ 1305 w 10000"/>
                <a:gd name="connsiteY82" fmla="*/ 128 h 10000"/>
                <a:gd name="connsiteX83" fmla="*/ 1223 w 10000"/>
                <a:gd name="connsiteY83" fmla="*/ 220 h 10000"/>
                <a:gd name="connsiteX84" fmla="*/ 1149 w 10000"/>
                <a:gd name="connsiteY84" fmla="*/ 316 h 10000"/>
                <a:gd name="connsiteX85" fmla="*/ 1067 w 10000"/>
                <a:gd name="connsiteY85" fmla="*/ 412 h 10000"/>
                <a:gd name="connsiteX86" fmla="*/ 1001 w 10000"/>
                <a:gd name="connsiteY86" fmla="*/ 509 h 10000"/>
                <a:gd name="connsiteX87" fmla="*/ 927 w 10000"/>
                <a:gd name="connsiteY87" fmla="*/ 605 h 10000"/>
                <a:gd name="connsiteX88" fmla="*/ 860 w 10000"/>
                <a:gd name="connsiteY88" fmla="*/ 706 h 10000"/>
                <a:gd name="connsiteX89" fmla="*/ 793 w 10000"/>
                <a:gd name="connsiteY89" fmla="*/ 807 h 10000"/>
                <a:gd name="connsiteX90" fmla="*/ 734 w 10000"/>
                <a:gd name="connsiteY90" fmla="*/ 903 h 10000"/>
                <a:gd name="connsiteX91" fmla="*/ 675 w 10000"/>
                <a:gd name="connsiteY91" fmla="*/ 1004 h 10000"/>
                <a:gd name="connsiteX92" fmla="*/ 615 w 10000"/>
                <a:gd name="connsiteY92" fmla="*/ 1104 h 10000"/>
                <a:gd name="connsiteX93" fmla="*/ 556 w 10000"/>
                <a:gd name="connsiteY93" fmla="*/ 1210 h 10000"/>
                <a:gd name="connsiteX94" fmla="*/ 504 w 10000"/>
                <a:gd name="connsiteY94" fmla="*/ 1306 h 10000"/>
                <a:gd name="connsiteX95" fmla="*/ 452 w 10000"/>
                <a:gd name="connsiteY95" fmla="*/ 1412 h 10000"/>
                <a:gd name="connsiteX96" fmla="*/ 408 w 10000"/>
                <a:gd name="connsiteY96" fmla="*/ 1512 h 10000"/>
                <a:gd name="connsiteX97" fmla="*/ 363 w 10000"/>
                <a:gd name="connsiteY97" fmla="*/ 1618 h 10000"/>
                <a:gd name="connsiteX98" fmla="*/ 319 w 10000"/>
                <a:gd name="connsiteY98" fmla="*/ 1723 h 10000"/>
                <a:gd name="connsiteX99" fmla="*/ 282 w 10000"/>
                <a:gd name="connsiteY99" fmla="*/ 1829 h 10000"/>
                <a:gd name="connsiteX100" fmla="*/ 237 w 10000"/>
                <a:gd name="connsiteY100" fmla="*/ 1939 h 10000"/>
                <a:gd name="connsiteX101" fmla="*/ 208 w 10000"/>
                <a:gd name="connsiteY101" fmla="*/ 2044 h 10000"/>
                <a:gd name="connsiteX102" fmla="*/ 170 w 10000"/>
                <a:gd name="connsiteY102" fmla="*/ 2154 h 10000"/>
                <a:gd name="connsiteX103" fmla="*/ 148 w 10000"/>
                <a:gd name="connsiteY103" fmla="*/ 2264 h 10000"/>
                <a:gd name="connsiteX104" fmla="*/ 119 w 10000"/>
                <a:gd name="connsiteY104" fmla="*/ 2369 h 10000"/>
                <a:gd name="connsiteX105" fmla="*/ 96 w 10000"/>
                <a:gd name="connsiteY105" fmla="*/ 2479 h 10000"/>
                <a:gd name="connsiteX106" fmla="*/ 74 w 10000"/>
                <a:gd name="connsiteY106" fmla="*/ 2589 h 10000"/>
                <a:gd name="connsiteX107" fmla="*/ 52 w 10000"/>
                <a:gd name="connsiteY107" fmla="*/ 2704 h 10000"/>
                <a:gd name="connsiteX108" fmla="*/ 37 w 10000"/>
                <a:gd name="connsiteY108" fmla="*/ 2814 h 10000"/>
                <a:gd name="connsiteX109" fmla="*/ 22 w 10000"/>
                <a:gd name="connsiteY109" fmla="*/ 2924 h 10000"/>
                <a:gd name="connsiteX110" fmla="*/ 15 w 10000"/>
                <a:gd name="connsiteY110" fmla="*/ 3034 h 10000"/>
                <a:gd name="connsiteX111" fmla="*/ 7 w 10000"/>
                <a:gd name="connsiteY111" fmla="*/ 3148 h 10000"/>
                <a:gd name="connsiteX112" fmla="*/ 0 w 10000"/>
                <a:gd name="connsiteY112" fmla="*/ 3258 h 10000"/>
                <a:gd name="connsiteX113" fmla="*/ 0 w 10000"/>
                <a:gd name="connsiteY113" fmla="*/ 3373 h 10000"/>
                <a:gd name="connsiteX114" fmla="*/ 7 w 10000"/>
                <a:gd name="connsiteY114" fmla="*/ 3520 h 10000"/>
                <a:gd name="connsiteX115" fmla="*/ 7 w 10000"/>
                <a:gd name="connsiteY115" fmla="*/ 3666 h 10000"/>
                <a:gd name="connsiteX116" fmla="*/ 22 w 10000"/>
                <a:gd name="connsiteY116" fmla="*/ 3804 h 10000"/>
                <a:gd name="connsiteX117" fmla="*/ 37 w 10000"/>
                <a:gd name="connsiteY117" fmla="*/ 3946 h 10000"/>
                <a:gd name="connsiteX118" fmla="*/ 59 w 10000"/>
                <a:gd name="connsiteY118" fmla="*/ 4088 h 10000"/>
                <a:gd name="connsiteX119" fmla="*/ 89 w 10000"/>
                <a:gd name="connsiteY119" fmla="*/ 4230 h 10000"/>
                <a:gd name="connsiteX120" fmla="*/ 119 w 10000"/>
                <a:gd name="connsiteY120" fmla="*/ 4372 h 10000"/>
                <a:gd name="connsiteX121" fmla="*/ 148 w 10000"/>
                <a:gd name="connsiteY121" fmla="*/ 4514 h 10000"/>
                <a:gd name="connsiteX122" fmla="*/ 193 w 10000"/>
                <a:gd name="connsiteY122" fmla="*/ 4652 h 10000"/>
                <a:gd name="connsiteX123" fmla="*/ 237 w 10000"/>
                <a:gd name="connsiteY123" fmla="*/ 4789 h 10000"/>
                <a:gd name="connsiteX124" fmla="*/ 282 w 10000"/>
                <a:gd name="connsiteY124" fmla="*/ 4927 h 10000"/>
                <a:gd name="connsiteX125" fmla="*/ 334 w 10000"/>
                <a:gd name="connsiteY125" fmla="*/ 5064 h 10000"/>
                <a:gd name="connsiteX126" fmla="*/ 393 w 10000"/>
                <a:gd name="connsiteY126" fmla="*/ 5197 h 10000"/>
                <a:gd name="connsiteX127" fmla="*/ 452 w 10000"/>
                <a:gd name="connsiteY127" fmla="*/ 5330 h 10000"/>
                <a:gd name="connsiteX128" fmla="*/ 519 w 10000"/>
                <a:gd name="connsiteY128" fmla="*/ 5463 h 10000"/>
                <a:gd name="connsiteX129" fmla="*/ 586 w 10000"/>
                <a:gd name="connsiteY129" fmla="*/ 5596 h 10000"/>
                <a:gd name="connsiteX130" fmla="*/ 660 w 10000"/>
                <a:gd name="connsiteY130" fmla="*/ 5724 h 10000"/>
                <a:gd name="connsiteX131" fmla="*/ 741 w 10000"/>
                <a:gd name="connsiteY131" fmla="*/ 5852 h 10000"/>
                <a:gd name="connsiteX132" fmla="*/ 823 w 10000"/>
                <a:gd name="connsiteY132" fmla="*/ 5985 h 10000"/>
                <a:gd name="connsiteX133" fmla="*/ 904 w 10000"/>
                <a:gd name="connsiteY133" fmla="*/ 6109 h 10000"/>
                <a:gd name="connsiteX134" fmla="*/ 993 w 10000"/>
                <a:gd name="connsiteY134" fmla="*/ 6233 h 10000"/>
                <a:gd name="connsiteX135" fmla="*/ 1090 w 10000"/>
                <a:gd name="connsiteY135" fmla="*/ 6352 h 10000"/>
                <a:gd name="connsiteX136" fmla="*/ 1186 w 10000"/>
                <a:gd name="connsiteY136" fmla="*/ 6476 h 10000"/>
                <a:gd name="connsiteX137" fmla="*/ 1290 w 10000"/>
                <a:gd name="connsiteY137" fmla="*/ 6599 h 10000"/>
                <a:gd name="connsiteX138" fmla="*/ 1386 w 10000"/>
                <a:gd name="connsiteY138" fmla="*/ 6719 h 10000"/>
                <a:gd name="connsiteX139" fmla="*/ 1497 w 10000"/>
                <a:gd name="connsiteY139" fmla="*/ 6838 h 10000"/>
                <a:gd name="connsiteX140" fmla="*/ 1609 w 10000"/>
                <a:gd name="connsiteY140" fmla="*/ 6952 h 10000"/>
                <a:gd name="connsiteX141" fmla="*/ 1727 w 10000"/>
                <a:gd name="connsiteY141" fmla="*/ 7071 h 10000"/>
                <a:gd name="connsiteX142" fmla="*/ 1846 w 10000"/>
                <a:gd name="connsiteY142" fmla="*/ 7186 h 10000"/>
                <a:gd name="connsiteX143" fmla="*/ 1964 w 10000"/>
                <a:gd name="connsiteY143" fmla="*/ 7296 h 10000"/>
                <a:gd name="connsiteX144" fmla="*/ 2090 w 10000"/>
                <a:gd name="connsiteY144" fmla="*/ 7406 h 10000"/>
                <a:gd name="connsiteX145" fmla="*/ 2224 w 10000"/>
                <a:gd name="connsiteY145" fmla="*/ 7516 h 10000"/>
                <a:gd name="connsiteX146" fmla="*/ 2350 w 10000"/>
                <a:gd name="connsiteY146" fmla="*/ 7626 h 10000"/>
                <a:gd name="connsiteX147" fmla="*/ 2491 w 10000"/>
                <a:gd name="connsiteY147" fmla="*/ 7731 h 10000"/>
                <a:gd name="connsiteX148" fmla="*/ 2617 w 10000"/>
                <a:gd name="connsiteY148" fmla="*/ 7837 h 10000"/>
                <a:gd name="connsiteX149" fmla="*/ 2765 w 10000"/>
                <a:gd name="connsiteY149" fmla="*/ 7938 h 10000"/>
                <a:gd name="connsiteX150" fmla="*/ 2906 w 10000"/>
                <a:gd name="connsiteY150" fmla="*/ 8038 h 10000"/>
                <a:gd name="connsiteX151" fmla="*/ 3054 w 10000"/>
                <a:gd name="connsiteY151" fmla="*/ 8139 h 10000"/>
                <a:gd name="connsiteX152" fmla="*/ 3210 w 10000"/>
                <a:gd name="connsiteY152" fmla="*/ 8236 h 10000"/>
                <a:gd name="connsiteX153" fmla="*/ 3358 w 10000"/>
                <a:gd name="connsiteY153" fmla="*/ 8332 h 10000"/>
                <a:gd name="connsiteX154" fmla="*/ 3514 w 10000"/>
                <a:gd name="connsiteY154" fmla="*/ 8428 h 10000"/>
                <a:gd name="connsiteX155" fmla="*/ 3677 w 10000"/>
                <a:gd name="connsiteY155" fmla="*/ 8520 h 10000"/>
                <a:gd name="connsiteX156" fmla="*/ 3840 w 10000"/>
                <a:gd name="connsiteY156" fmla="*/ 8607 h 10000"/>
                <a:gd name="connsiteX157" fmla="*/ 4010 w 10000"/>
                <a:gd name="connsiteY157" fmla="*/ 8698 h 10000"/>
                <a:gd name="connsiteX158" fmla="*/ 4181 w 10000"/>
                <a:gd name="connsiteY158" fmla="*/ 8776 h 10000"/>
                <a:gd name="connsiteX159" fmla="*/ 4351 w 10000"/>
                <a:gd name="connsiteY159" fmla="*/ 8863 h 10000"/>
                <a:gd name="connsiteX160" fmla="*/ 4522 w 10000"/>
                <a:gd name="connsiteY160" fmla="*/ 8941 h 10000"/>
                <a:gd name="connsiteX161" fmla="*/ 4700 w 10000"/>
                <a:gd name="connsiteY161" fmla="*/ 9024 h 10000"/>
                <a:gd name="connsiteX162" fmla="*/ 4878 w 10000"/>
                <a:gd name="connsiteY162" fmla="*/ 9102 h 10000"/>
                <a:gd name="connsiteX163" fmla="*/ 5063 w 10000"/>
                <a:gd name="connsiteY163" fmla="*/ 9175 h 10000"/>
                <a:gd name="connsiteX164" fmla="*/ 5248 w 10000"/>
                <a:gd name="connsiteY164" fmla="*/ 9253 h 10000"/>
                <a:gd name="connsiteX165" fmla="*/ 5426 w 10000"/>
                <a:gd name="connsiteY165" fmla="*/ 9322 h 10000"/>
                <a:gd name="connsiteX166" fmla="*/ 5619 w 10000"/>
                <a:gd name="connsiteY166" fmla="*/ 9390 h 10000"/>
                <a:gd name="connsiteX167" fmla="*/ 5812 w 10000"/>
                <a:gd name="connsiteY167" fmla="*/ 9459 h 10000"/>
                <a:gd name="connsiteX168" fmla="*/ 6004 w 10000"/>
                <a:gd name="connsiteY168" fmla="*/ 9523 h 10000"/>
                <a:gd name="connsiteX169" fmla="*/ 6205 w 10000"/>
                <a:gd name="connsiteY169" fmla="*/ 9588 h 10000"/>
                <a:gd name="connsiteX170" fmla="*/ 6397 w 10000"/>
                <a:gd name="connsiteY170" fmla="*/ 9647 h 10000"/>
                <a:gd name="connsiteX171" fmla="*/ 6605 w 10000"/>
                <a:gd name="connsiteY171" fmla="*/ 9702 h 10000"/>
                <a:gd name="connsiteX172" fmla="*/ 6805 w 10000"/>
                <a:gd name="connsiteY172" fmla="*/ 9757 h 10000"/>
                <a:gd name="connsiteX173" fmla="*/ 7005 w 10000"/>
                <a:gd name="connsiteY173" fmla="*/ 9812 h 10000"/>
                <a:gd name="connsiteX174" fmla="*/ 7213 w 10000"/>
                <a:gd name="connsiteY174" fmla="*/ 9863 h 10000"/>
                <a:gd name="connsiteX175" fmla="*/ 7420 w 10000"/>
                <a:gd name="connsiteY175" fmla="*/ 9908 h 10000"/>
                <a:gd name="connsiteX176" fmla="*/ 7628 w 10000"/>
                <a:gd name="connsiteY176" fmla="*/ 9954 h 10000"/>
                <a:gd name="connsiteX177" fmla="*/ 7835 w 10000"/>
                <a:gd name="connsiteY177" fmla="*/ 10000 h 10000"/>
                <a:gd name="connsiteX178" fmla="*/ 7539 w 10000"/>
                <a:gd name="connsiteY178" fmla="*/ 7754 h 10000"/>
                <a:gd name="connsiteX179" fmla="*/ 10000 w 10000"/>
                <a:gd name="connsiteY179" fmla="*/ 6141 h 10000"/>
                <a:gd name="connsiteX0" fmla="*/ 10000 w 10000"/>
                <a:gd name="connsiteY0" fmla="*/ 6141 h 10000"/>
                <a:gd name="connsiteX1" fmla="*/ 10000 w 10000"/>
                <a:gd name="connsiteY1" fmla="*/ 6141 h 10000"/>
                <a:gd name="connsiteX2" fmla="*/ 9911 w 10000"/>
                <a:gd name="connsiteY2" fmla="*/ 6127 h 10000"/>
                <a:gd name="connsiteX3" fmla="*/ 9815 w 10000"/>
                <a:gd name="connsiteY3" fmla="*/ 6109 h 10000"/>
                <a:gd name="connsiteX4" fmla="*/ 9726 w 10000"/>
                <a:gd name="connsiteY4" fmla="*/ 6091 h 10000"/>
                <a:gd name="connsiteX5" fmla="*/ 9637 w 10000"/>
                <a:gd name="connsiteY5" fmla="*/ 6068 h 10000"/>
                <a:gd name="connsiteX6" fmla="*/ 9548 w 10000"/>
                <a:gd name="connsiteY6" fmla="*/ 6049 h 10000"/>
                <a:gd name="connsiteX7" fmla="*/ 9466 w 10000"/>
                <a:gd name="connsiteY7" fmla="*/ 6027 h 10000"/>
                <a:gd name="connsiteX8" fmla="*/ 9377 w 10000"/>
                <a:gd name="connsiteY8" fmla="*/ 6004 h 10000"/>
                <a:gd name="connsiteX9" fmla="*/ 9288 w 10000"/>
                <a:gd name="connsiteY9" fmla="*/ 5981 h 10000"/>
                <a:gd name="connsiteX10" fmla="*/ 9118 w 10000"/>
                <a:gd name="connsiteY10" fmla="*/ 5930 h 10000"/>
                <a:gd name="connsiteX11" fmla="*/ 8955 w 10000"/>
                <a:gd name="connsiteY11" fmla="*/ 5875 h 10000"/>
                <a:gd name="connsiteX12" fmla="*/ 8792 w 10000"/>
                <a:gd name="connsiteY12" fmla="*/ 5816 h 10000"/>
                <a:gd name="connsiteX13" fmla="*/ 8636 w 10000"/>
                <a:gd name="connsiteY13" fmla="*/ 5752 h 10000"/>
                <a:gd name="connsiteX14" fmla="*/ 8480 w 10000"/>
                <a:gd name="connsiteY14" fmla="*/ 5687 h 10000"/>
                <a:gd name="connsiteX15" fmla="*/ 8340 w 10000"/>
                <a:gd name="connsiteY15" fmla="*/ 5619 h 10000"/>
                <a:gd name="connsiteX16" fmla="*/ 8199 w 10000"/>
                <a:gd name="connsiteY16" fmla="*/ 5545 h 10000"/>
                <a:gd name="connsiteX17" fmla="*/ 8058 w 10000"/>
                <a:gd name="connsiteY17" fmla="*/ 5467 h 10000"/>
                <a:gd name="connsiteX18" fmla="*/ 7924 w 10000"/>
                <a:gd name="connsiteY18" fmla="*/ 5385 h 10000"/>
                <a:gd name="connsiteX19" fmla="*/ 7798 w 10000"/>
                <a:gd name="connsiteY19" fmla="*/ 5302 h 10000"/>
                <a:gd name="connsiteX20" fmla="*/ 7672 w 10000"/>
                <a:gd name="connsiteY20" fmla="*/ 5215 h 10000"/>
                <a:gd name="connsiteX21" fmla="*/ 7554 w 10000"/>
                <a:gd name="connsiteY21" fmla="*/ 5128 h 10000"/>
                <a:gd name="connsiteX22" fmla="*/ 7450 w 10000"/>
                <a:gd name="connsiteY22" fmla="*/ 5032 h 10000"/>
                <a:gd name="connsiteX23" fmla="*/ 7346 w 10000"/>
                <a:gd name="connsiteY23" fmla="*/ 4936 h 10000"/>
                <a:gd name="connsiteX24" fmla="*/ 7250 w 10000"/>
                <a:gd name="connsiteY24" fmla="*/ 4840 h 10000"/>
                <a:gd name="connsiteX25" fmla="*/ 7161 w 10000"/>
                <a:gd name="connsiteY25" fmla="*/ 4739 h 10000"/>
                <a:gd name="connsiteX26" fmla="*/ 7072 w 10000"/>
                <a:gd name="connsiteY26" fmla="*/ 4638 h 10000"/>
                <a:gd name="connsiteX27" fmla="*/ 6990 w 10000"/>
                <a:gd name="connsiteY27" fmla="*/ 4528 h 10000"/>
                <a:gd name="connsiteX28" fmla="*/ 6953 w 10000"/>
                <a:gd name="connsiteY28" fmla="*/ 4478 h 10000"/>
                <a:gd name="connsiteX29" fmla="*/ 6916 w 10000"/>
                <a:gd name="connsiteY29" fmla="*/ 4423 h 10000"/>
                <a:gd name="connsiteX30" fmla="*/ 6887 w 10000"/>
                <a:gd name="connsiteY30" fmla="*/ 4368 h 10000"/>
                <a:gd name="connsiteX31" fmla="*/ 6850 w 10000"/>
                <a:gd name="connsiteY31" fmla="*/ 4313 h 10000"/>
                <a:gd name="connsiteX32" fmla="*/ 6820 w 10000"/>
                <a:gd name="connsiteY32" fmla="*/ 4258 h 10000"/>
                <a:gd name="connsiteX33" fmla="*/ 6790 w 10000"/>
                <a:gd name="connsiteY33" fmla="*/ 4203 h 10000"/>
                <a:gd name="connsiteX34" fmla="*/ 6768 w 10000"/>
                <a:gd name="connsiteY34" fmla="*/ 4143 h 10000"/>
                <a:gd name="connsiteX35" fmla="*/ 6738 w 10000"/>
                <a:gd name="connsiteY35" fmla="*/ 4088 h 10000"/>
                <a:gd name="connsiteX36" fmla="*/ 6723 w 10000"/>
                <a:gd name="connsiteY36" fmla="*/ 4028 h 10000"/>
                <a:gd name="connsiteX37" fmla="*/ 6694 w 10000"/>
                <a:gd name="connsiteY37" fmla="*/ 3973 h 10000"/>
                <a:gd name="connsiteX38" fmla="*/ 6679 w 10000"/>
                <a:gd name="connsiteY38" fmla="*/ 3914 h 10000"/>
                <a:gd name="connsiteX39" fmla="*/ 6664 w 10000"/>
                <a:gd name="connsiteY39" fmla="*/ 3854 h 10000"/>
                <a:gd name="connsiteX40" fmla="*/ 6649 w 10000"/>
                <a:gd name="connsiteY40" fmla="*/ 3795 h 10000"/>
                <a:gd name="connsiteX41" fmla="*/ 6635 w 10000"/>
                <a:gd name="connsiteY41" fmla="*/ 3740 h 10000"/>
                <a:gd name="connsiteX42" fmla="*/ 6620 w 10000"/>
                <a:gd name="connsiteY42" fmla="*/ 3680 h 10000"/>
                <a:gd name="connsiteX43" fmla="*/ 6612 w 10000"/>
                <a:gd name="connsiteY43" fmla="*/ 3621 h 10000"/>
                <a:gd name="connsiteX44" fmla="*/ 6605 w 10000"/>
                <a:gd name="connsiteY44" fmla="*/ 3561 h 10000"/>
                <a:gd name="connsiteX45" fmla="*/ 6597 w 10000"/>
                <a:gd name="connsiteY45" fmla="*/ 3497 h 10000"/>
                <a:gd name="connsiteX46" fmla="*/ 6597 w 10000"/>
                <a:gd name="connsiteY46" fmla="*/ 3437 h 10000"/>
                <a:gd name="connsiteX47" fmla="*/ 6590 w 10000"/>
                <a:gd name="connsiteY47" fmla="*/ 3373 h 10000"/>
                <a:gd name="connsiteX48" fmla="*/ 6597 w 10000"/>
                <a:gd name="connsiteY48" fmla="*/ 3313 h 10000"/>
                <a:gd name="connsiteX49" fmla="*/ 6605 w 10000"/>
                <a:gd name="connsiteY49" fmla="*/ 3245 h 10000"/>
                <a:gd name="connsiteX50" fmla="*/ 6605 w 10000"/>
                <a:gd name="connsiteY50" fmla="*/ 3181 h 10000"/>
                <a:gd name="connsiteX51" fmla="*/ 6612 w 10000"/>
                <a:gd name="connsiteY51" fmla="*/ 3116 h 10000"/>
                <a:gd name="connsiteX52" fmla="*/ 6620 w 10000"/>
                <a:gd name="connsiteY52" fmla="*/ 3052 h 10000"/>
                <a:gd name="connsiteX53" fmla="*/ 6635 w 10000"/>
                <a:gd name="connsiteY53" fmla="*/ 2993 h 10000"/>
                <a:gd name="connsiteX54" fmla="*/ 6649 w 10000"/>
                <a:gd name="connsiteY54" fmla="*/ 2929 h 10000"/>
                <a:gd name="connsiteX55" fmla="*/ 6664 w 10000"/>
                <a:gd name="connsiteY55" fmla="*/ 2869 h 10000"/>
                <a:gd name="connsiteX56" fmla="*/ 6686 w 10000"/>
                <a:gd name="connsiteY56" fmla="*/ 2805 h 10000"/>
                <a:gd name="connsiteX57" fmla="*/ 6709 w 10000"/>
                <a:gd name="connsiteY57" fmla="*/ 2745 h 10000"/>
                <a:gd name="connsiteX58" fmla="*/ 6731 w 10000"/>
                <a:gd name="connsiteY58" fmla="*/ 2686 h 10000"/>
                <a:gd name="connsiteX59" fmla="*/ 6753 w 10000"/>
                <a:gd name="connsiteY59" fmla="*/ 2621 h 10000"/>
                <a:gd name="connsiteX60" fmla="*/ 6783 w 10000"/>
                <a:gd name="connsiteY60" fmla="*/ 2566 h 10000"/>
                <a:gd name="connsiteX61" fmla="*/ 6812 w 10000"/>
                <a:gd name="connsiteY61" fmla="*/ 2507 h 10000"/>
                <a:gd name="connsiteX62" fmla="*/ 6842 w 10000"/>
                <a:gd name="connsiteY62" fmla="*/ 2447 h 10000"/>
                <a:gd name="connsiteX63" fmla="*/ 6879 w 10000"/>
                <a:gd name="connsiteY63" fmla="*/ 2388 h 10000"/>
                <a:gd name="connsiteX64" fmla="*/ 6909 w 10000"/>
                <a:gd name="connsiteY64" fmla="*/ 2333 h 10000"/>
                <a:gd name="connsiteX65" fmla="*/ 6946 w 10000"/>
                <a:gd name="connsiteY65" fmla="*/ 2273 h 10000"/>
                <a:gd name="connsiteX66" fmla="*/ 6990 w 10000"/>
                <a:gd name="connsiteY66" fmla="*/ 2218 h 10000"/>
                <a:gd name="connsiteX67" fmla="*/ 7027 w 10000"/>
                <a:gd name="connsiteY67" fmla="*/ 2163 h 10000"/>
                <a:gd name="connsiteX68" fmla="*/ 7072 w 10000"/>
                <a:gd name="connsiteY68" fmla="*/ 2108 h 10000"/>
                <a:gd name="connsiteX69" fmla="*/ 7109 w 10000"/>
                <a:gd name="connsiteY69" fmla="*/ 2053 h 10000"/>
                <a:gd name="connsiteX70" fmla="*/ 7161 w 10000"/>
                <a:gd name="connsiteY70" fmla="*/ 2003 h 10000"/>
                <a:gd name="connsiteX71" fmla="*/ 7213 w 10000"/>
                <a:gd name="connsiteY71" fmla="*/ 1948 h 10000"/>
                <a:gd name="connsiteX72" fmla="*/ 7257 w 10000"/>
                <a:gd name="connsiteY72" fmla="*/ 1893 h 10000"/>
                <a:gd name="connsiteX73" fmla="*/ 7309 w 10000"/>
                <a:gd name="connsiteY73" fmla="*/ 1842 h 10000"/>
                <a:gd name="connsiteX74" fmla="*/ 7361 w 10000"/>
                <a:gd name="connsiteY74" fmla="*/ 1792 h 10000"/>
                <a:gd name="connsiteX75" fmla="*/ 7413 w 10000"/>
                <a:gd name="connsiteY75" fmla="*/ 1742 h 10000"/>
                <a:gd name="connsiteX76" fmla="*/ 7472 w 10000"/>
                <a:gd name="connsiteY76" fmla="*/ 1691 h 10000"/>
                <a:gd name="connsiteX77" fmla="*/ 7524 w 10000"/>
                <a:gd name="connsiteY77" fmla="*/ 1645 h 10000"/>
                <a:gd name="connsiteX78" fmla="*/ 7583 w 10000"/>
                <a:gd name="connsiteY78" fmla="*/ 1599 h 10000"/>
                <a:gd name="connsiteX79" fmla="*/ 7643 w 10000"/>
                <a:gd name="connsiteY79" fmla="*/ 1549 h 10000"/>
                <a:gd name="connsiteX80" fmla="*/ 5434 w 10000"/>
                <a:gd name="connsiteY80" fmla="*/ 0 h 10000"/>
                <a:gd name="connsiteX81" fmla="*/ 1401 w 10000"/>
                <a:gd name="connsiteY81" fmla="*/ 0 h 10000"/>
                <a:gd name="connsiteX82" fmla="*/ 1305 w 10000"/>
                <a:gd name="connsiteY82" fmla="*/ 128 h 10000"/>
                <a:gd name="connsiteX83" fmla="*/ 1223 w 10000"/>
                <a:gd name="connsiteY83" fmla="*/ 220 h 10000"/>
                <a:gd name="connsiteX84" fmla="*/ 1149 w 10000"/>
                <a:gd name="connsiteY84" fmla="*/ 316 h 10000"/>
                <a:gd name="connsiteX85" fmla="*/ 1067 w 10000"/>
                <a:gd name="connsiteY85" fmla="*/ 412 h 10000"/>
                <a:gd name="connsiteX86" fmla="*/ 1001 w 10000"/>
                <a:gd name="connsiteY86" fmla="*/ 509 h 10000"/>
                <a:gd name="connsiteX87" fmla="*/ 927 w 10000"/>
                <a:gd name="connsiteY87" fmla="*/ 605 h 10000"/>
                <a:gd name="connsiteX88" fmla="*/ 860 w 10000"/>
                <a:gd name="connsiteY88" fmla="*/ 706 h 10000"/>
                <a:gd name="connsiteX89" fmla="*/ 793 w 10000"/>
                <a:gd name="connsiteY89" fmla="*/ 807 h 10000"/>
                <a:gd name="connsiteX90" fmla="*/ 734 w 10000"/>
                <a:gd name="connsiteY90" fmla="*/ 903 h 10000"/>
                <a:gd name="connsiteX91" fmla="*/ 675 w 10000"/>
                <a:gd name="connsiteY91" fmla="*/ 1004 h 10000"/>
                <a:gd name="connsiteX92" fmla="*/ 615 w 10000"/>
                <a:gd name="connsiteY92" fmla="*/ 1104 h 10000"/>
                <a:gd name="connsiteX93" fmla="*/ 556 w 10000"/>
                <a:gd name="connsiteY93" fmla="*/ 1210 h 10000"/>
                <a:gd name="connsiteX94" fmla="*/ 504 w 10000"/>
                <a:gd name="connsiteY94" fmla="*/ 1306 h 10000"/>
                <a:gd name="connsiteX95" fmla="*/ 452 w 10000"/>
                <a:gd name="connsiteY95" fmla="*/ 1412 h 10000"/>
                <a:gd name="connsiteX96" fmla="*/ 408 w 10000"/>
                <a:gd name="connsiteY96" fmla="*/ 1512 h 10000"/>
                <a:gd name="connsiteX97" fmla="*/ 363 w 10000"/>
                <a:gd name="connsiteY97" fmla="*/ 1618 h 10000"/>
                <a:gd name="connsiteX98" fmla="*/ 319 w 10000"/>
                <a:gd name="connsiteY98" fmla="*/ 1723 h 10000"/>
                <a:gd name="connsiteX99" fmla="*/ 282 w 10000"/>
                <a:gd name="connsiteY99" fmla="*/ 1829 h 10000"/>
                <a:gd name="connsiteX100" fmla="*/ 237 w 10000"/>
                <a:gd name="connsiteY100" fmla="*/ 1939 h 10000"/>
                <a:gd name="connsiteX101" fmla="*/ 208 w 10000"/>
                <a:gd name="connsiteY101" fmla="*/ 2044 h 10000"/>
                <a:gd name="connsiteX102" fmla="*/ 170 w 10000"/>
                <a:gd name="connsiteY102" fmla="*/ 2154 h 10000"/>
                <a:gd name="connsiteX103" fmla="*/ 148 w 10000"/>
                <a:gd name="connsiteY103" fmla="*/ 2264 h 10000"/>
                <a:gd name="connsiteX104" fmla="*/ 119 w 10000"/>
                <a:gd name="connsiteY104" fmla="*/ 2369 h 10000"/>
                <a:gd name="connsiteX105" fmla="*/ 96 w 10000"/>
                <a:gd name="connsiteY105" fmla="*/ 2479 h 10000"/>
                <a:gd name="connsiteX106" fmla="*/ 74 w 10000"/>
                <a:gd name="connsiteY106" fmla="*/ 2589 h 10000"/>
                <a:gd name="connsiteX107" fmla="*/ 52 w 10000"/>
                <a:gd name="connsiteY107" fmla="*/ 2704 h 10000"/>
                <a:gd name="connsiteX108" fmla="*/ 37 w 10000"/>
                <a:gd name="connsiteY108" fmla="*/ 2814 h 10000"/>
                <a:gd name="connsiteX109" fmla="*/ 22 w 10000"/>
                <a:gd name="connsiteY109" fmla="*/ 2924 h 10000"/>
                <a:gd name="connsiteX110" fmla="*/ 15 w 10000"/>
                <a:gd name="connsiteY110" fmla="*/ 3034 h 10000"/>
                <a:gd name="connsiteX111" fmla="*/ 7 w 10000"/>
                <a:gd name="connsiteY111" fmla="*/ 3148 h 10000"/>
                <a:gd name="connsiteX112" fmla="*/ 0 w 10000"/>
                <a:gd name="connsiteY112" fmla="*/ 3258 h 10000"/>
                <a:gd name="connsiteX113" fmla="*/ 0 w 10000"/>
                <a:gd name="connsiteY113" fmla="*/ 3373 h 10000"/>
                <a:gd name="connsiteX114" fmla="*/ 7 w 10000"/>
                <a:gd name="connsiteY114" fmla="*/ 3520 h 10000"/>
                <a:gd name="connsiteX115" fmla="*/ 7 w 10000"/>
                <a:gd name="connsiteY115" fmla="*/ 3666 h 10000"/>
                <a:gd name="connsiteX116" fmla="*/ 22 w 10000"/>
                <a:gd name="connsiteY116" fmla="*/ 3804 h 10000"/>
                <a:gd name="connsiteX117" fmla="*/ 37 w 10000"/>
                <a:gd name="connsiteY117" fmla="*/ 3946 h 10000"/>
                <a:gd name="connsiteX118" fmla="*/ 59 w 10000"/>
                <a:gd name="connsiteY118" fmla="*/ 4088 h 10000"/>
                <a:gd name="connsiteX119" fmla="*/ 89 w 10000"/>
                <a:gd name="connsiteY119" fmla="*/ 4230 h 10000"/>
                <a:gd name="connsiteX120" fmla="*/ 119 w 10000"/>
                <a:gd name="connsiteY120" fmla="*/ 4372 h 10000"/>
                <a:gd name="connsiteX121" fmla="*/ 148 w 10000"/>
                <a:gd name="connsiteY121" fmla="*/ 4514 h 10000"/>
                <a:gd name="connsiteX122" fmla="*/ 193 w 10000"/>
                <a:gd name="connsiteY122" fmla="*/ 4652 h 10000"/>
                <a:gd name="connsiteX123" fmla="*/ 237 w 10000"/>
                <a:gd name="connsiteY123" fmla="*/ 4789 h 10000"/>
                <a:gd name="connsiteX124" fmla="*/ 282 w 10000"/>
                <a:gd name="connsiteY124" fmla="*/ 4927 h 10000"/>
                <a:gd name="connsiteX125" fmla="*/ 334 w 10000"/>
                <a:gd name="connsiteY125" fmla="*/ 5064 h 10000"/>
                <a:gd name="connsiteX126" fmla="*/ 393 w 10000"/>
                <a:gd name="connsiteY126" fmla="*/ 5197 h 10000"/>
                <a:gd name="connsiteX127" fmla="*/ 452 w 10000"/>
                <a:gd name="connsiteY127" fmla="*/ 5330 h 10000"/>
                <a:gd name="connsiteX128" fmla="*/ 519 w 10000"/>
                <a:gd name="connsiteY128" fmla="*/ 5463 h 10000"/>
                <a:gd name="connsiteX129" fmla="*/ 586 w 10000"/>
                <a:gd name="connsiteY129" fmla="*/ 5596 h 10000"/>
                <a:gd name="connsiteX130" fmla="*/ 660 w 10000"/>
                <a:gd name="connsiteY130" fmla="*/ 5724 h 10000"/>
                <a:gd name="connsiteX131" fmla="*/ 741 w 10000"/>
                <a:gd name="connsiteY131" fmla="*/ 5852 h 10000"/>
                <a:gd name="connsiteX132" fmla="*/ 823 w 10000"/>
                <a:gd name="connsiteY132" fmla="*/ 5985 h 10000"/>
                <a:gd name="connsiteX133" fmla="*/ 904 w 10000"/>
                <a:gd name="connsiteY133" fmla="*/ 6109 h 10000"/>
                <a:gd name="connsiteX134" fmla="*/ 993 w 10000"/>
                <a:gd name="connsiteY134" fmla="*/ 6233 h 10000"/>
                <a:gd name="connsiteX135" fmla="*/ 1090 w 10000"/>
                <a:gd name="connsiteY135" fmla="*/ 6352 h 10000"/>
                <a:gd name="connsiteX136" fmla="*/ 1186 w 10000"/>
                <a:gd name="connsiteY136" fmla="*/ 6476 h 10000"/>
                <a:gd name="connsiteX137" fmla="*/ 1290 w 10000"/>
                <a:gd name="connsiteY137" fmla="*/ 6599 h 10000"/>
                <a:gd name="connsiteX138" fmla="*/ 1386 w 10000"/>
                <a:gd name="connsiteY138" fmla="*/ 6719 h 10000"/>
                <a:gd name="connsiteX139" fmla="*/ 1497 w 10000"/>
                <a:gd name="connsiteY139" fmla="*/ 6838 h 10000"/>
                <a:gd name="connsiteX140" fmla="*/ 1609 w 10000"/>
                <a:gd name="connsiteY140" fmla="*/ 6952 h 10000"/>
                <a:gd name="connsiteX141" fmla="*/ 1727 w 10000"/>
                <a:gd name="connsiteY141" fmla="*/ 7071 h 10000"/>
                <a:gd name="connsiteX142" fmla="*/ 1846 w 10000"/>
                <a:gd name="connsiteY142" fmla="*/ 7186 h 10000"/>
                <a:gd name="connsiteX143" fmla="*/ 1964 w 10000"/>
                <a:gd name="connsiteY143" fmla="*/ 7296 h 10000"/>
                <a:gd name="connsiteX144" fmla="*/ 2090 w 10000"/>
                <a:gd name="connsiteY144" fmla="*/ 7406 h 10000"/>
                <a:gd name="connsiteX145" fmla="*/ 2224 w 10000"/>
                <a:gd name="connsiteY145" fmla="*/ 7516 h 10000"/>
                <a:gd name="connsiteX146" fmla="*/ 2350 w 10000"/>
                <a:gd name="connsiteY146" fmla="*/ 7626 h 10000"/>
                <a:gd name="connsiteX147" fmla="*/ 2491 w 10000"/>
                <a:gd name="connsiteY147" fmla="*/ 7731 h 10000"/>
                <a:gd name="connsiteX148" fmla="*/ 2617 w 10000"/>
                <a:gd name="connsiteY148" fmla="*/ 7837 h 10000"/>
                <a:gd name="connsiteX149" fmla="*/ 2765 w 10000"/>
                <a:gd name="connsiteY149" fmla="*/ 7938 h 10000"/>
                <a:gd name="connsiteX150" fmla="*/ 2906 w 10000"/>
                <a:gd name="connsiteY150" fmla="*/ 8038 h 10000"/>
                <a:gd name="connsiteX151" fmla="*/ 3054 w 10000"/>
                <a:gd name="connsiteY151" fmla="*/ 8139 h 10000"/>
                <a:gd name="connsiteX152" fmla="*/ 3210 w 10000"/>
                <a:gd name="connsiteY152" fmla="*/ 8236 h 10000"/>
                <a:gd name="connsiteX153" fmla="*/ 3358 w 10000"/>
                <a:gd name="connsiteY153" fmla="*/ 8332 h 10000"/>
                <a:gd name="connsiteX154" fmla="*/ 3514 w 10000"/>
                <a:gd name="connsiteY154" fmla="*/ 8428 h 10000"/>
                <a:gd name="connsiteX155" fmla="*/ 3677 w 10000"/>
                <a:gd name="connsiteY155" fmla="*/ 8520 h 10000"/>
                <a:gd name="connsiteX156" fmla="*/ 3840 w 10000"/>
                <a:gd name="connsiteY156" fmla="*/ 8607 h 10000"/>
                <a:gd name="connsiteX157" fmla="*/ 4010 w 10000"/>
                <a:gd name="connsiteY157" fmla="*/ 8698 h 10000"/>
                <a:gd name="connsiteX158" fmla="*/ 4181 w 10000"/>
                <a:gd name="connsiteY158" fmla="*/ 8776 h 10000"/>
                <a:gd name="connsiteX159" fmla="*/ 4351 w 10000"/>
                <a:gd name="connsiteY159" fmla="*/ 8863 h 10000"/>
                <a:gd name="connsiteX160" fmla="*/ 4522 w 10000"/>
                <a:gd name="connsiteY160" fmla="*/ 8941 h 10000"/>
                <a:gd name="connsiteX161" fmla="*/ 4700 w 10000"/>
                <a:gd name="connsiteY161" fmla="*/ 9024 h 10000"/>
                <a:gd name="connsiteX162" fmla="*/ 4878 w 10000"/>
                <a:gd name="connsiteY162" fmla="*/ 9102 h 10000"/>
                <a:gd name="connsiteX163" fmla="*/ 5063 w 10000"/>
                <a:gd name="connsiteY163" fmla="*/ 9175 h 10000"/>
                <a:gd name="connsiteX164" fmla="*/ 5248 w 10000"/>
                <a:gd name="connsiteY164" fmla="*/ 9253 h 10000"/>
                <a:gd name="connsiteX165" fmla="*/ 5426 w 10000"/>
                <a:gd name="connsiteY165" fmla="*/ 9322 h 10000"/>
                <a:gd name="connsiteX166" fmla="*/ 5619 w 10000"/>
                <a:gd name="connsiteY166" fmla="*/ 9390 h 10000"/>
                <a:gd name="connsiteX167" fmla="*/ 5812 w 10000"/>
                <a:gd name="connsiteY167" fmla="*/ 9459 h 10000"/>
                <a:gd name="connsiteX168" fmla="*/ 6004 w 10000"/>
                <a:gd name="connsiteY168" fmla="*/ 9523 h 10000"/>
                <a:gd name="connsiteX169" fmla="*/ 6205 w 10000"/>
                <a:gd name="connsiteY169" fmla="*/ 9588 h 10000"/>
                <a:gd name="connsiteX170" fmla="*/ 6397 w 10000"/>
                <a:gd name="connsiteY170" fmla="*/ 9647 h 10000"/>
                <a:gd name="connsiteX171" fmla="*/ 6605 w 10000"/>
                <a:gd name="connsiteY171" fmla="*/ 9702 h 10000"/>
                <a:gd name="connsiteX172" fmla="*/ 6805 w 10000"/>
                <a:gd name="connsiteY172" fmla="*/ 9757 h 10000"/>
                <a:gd name="connsiteX173" fmla="*/ 7005 w 10000"/>
                <a:gd name="connsiteY173" fmla="*/ 9812 h 10000"/>
                <a:gd name="connsiteX174" fmla="*/ 7213 w 10000"/>
                <a:gd name="connsiteY174" fmla="*/ 9863 h 10000"/>
                <a:gd name="connsiteX175" fmla="*/ 7420 w 10000"/>
                <a:gd name="connsiteY175" fmla="*/ 9908 h 10000"/>
                <a:gd name="connsiteX176" fmla="*/ 7628 w 10000"/>
                <a:gd name="connsiteY176" fmla="*/ 9954 h 10000"/>
                <a:gd name="connsiteX177" fmla="*/ 7835 w 10000"/>
                <a:gd name="connsiteY177" fmla="*/ 10000 h 10000"/>
                <a:gd name="connsiteX178" fmla="*/ 7539 w 10000"/>
                <a:gd name="connsiteY178" fmla="*/ 7754 h 10000"/>
                <a:gd name="connsiteX179" fmla="*/ 10000 w 10000"/>
                <a:gd name="connsiteY179" fmla="*/ 6141 h 10000"/>
                <a:gd name="connsiteX0" fmla="*/ 10000 w 10000"/>
                <a:gd name="connsiteY0" fmla="*/ 6162 h 10021"/>
                <a:gd name="connsiteX1" fmla="*/ 10000 w 10000"/>
                <a:gd name="connsiteY1" fmla="*/ 6162 h 10021"/>
                <a:gd name="connsiteX2" fmla="*/ 9911 w 10000"/>
                <a:gd name="connsiteY2" fmla="*/ 6148 h 10021"/>
                <a:gd name="connsiteX3" fmla="*/ 9815 w 10000"/>
                <a:gd name="connsiteY3" fmla="*/ 6130 h 10021"/>
                <a:gd name="connsiteX4" fmla="*/ 9726 w 10000"/>
                <a:gd name="connsiteY4" fmla="*/ 6112 h 10021"/>
                <a:gd name="connsiteX5" fmla="*/ 9637 w 10000"/>
                <a:gd name="connsiteY5" fmla="*/ 6089 h 10021"/>
                <a:gd name="connsiteX6" fmla="*/ 9548 w 10000"/>
                <a:gd name="connsiteY6" fmla="*/ 6070 h 10021"/>
                <a:gd name="connsiteX7" fmla="*/ 9466 w 10000"/>
                <a:gd name="connsiteY7" fmla="*/ 6048 h 10021"/>
                <a:gd name="connsiteX8" fmla="*/ 9377 w 10000"/>
                <a:gd name="connsiteY8" fmla="*/ 6025 h 10021"/>
                <a:gd name="connsiteX9" fmla="*/ 9288 w 10000"/>
                <a:gd name="connsiteY9" fmla="*/ 6002 h 10021"/>
                <a:gd name="connsiteX10" fmla="*/ 9118 w 10000"/>
                <a:gd name="connsiteY10" fmla="*/ 5951 h 10021"/>
                <a:gd name="connsiteX11" fmla="*/ 8955 w 10000"/>
                <a:gd name="connsiteY11" fmla="*/ 5896 h 10021"/>
                <a:gd name="connsiteX12" fmla="*/ 8792 w 10000"/>
                <a:gd name="connsiteY12" fmla="*/ 5837 h 10021"/>
                <a:gd name="connsiteX13" fmla="*/ 8636 w 10000"/>
                <a:gd name="connsiteY13" fmla="*/ 5773 h 10021"/>
                <a:gd name="connsiteX14" fmla="*/ 8480 w 10000"/>
                <a:gd name="connsiteY14" fmla="*/ 5708 h 10021"/>
                <a:gd name="connsiteX15" fmla="*/ 8340 w 10000"/>
                <a:gd name="connsiteY15" fmla="*/ 5640 h 10021"/>
                <a:gd name="connsiteX16" fmla="*/ 8199 w 10000"/>
                <a:gd name="connsiteY16" fmla="*/ 5566 h 10021"/>
                <a:gd name="connsiteX17" fmla="*/ 8058 w 10000"/>
                <a:gd name="connsiteY17" fmla="*/ 5488 h 10021"/>
                <a:gd name="connsiteX18" fmla="*/ 7924 w 10000"/>
                <a:gd name="connsiteY18" fmla="*/ 5406 h 10021"/>
                <a:gd name="connsiteX19" fmla="*/ 7798 w 10000"/>
                <a:gd name="connsiteY19" fmla="*/ 5323 h 10021"/>
                <a:gd name="connsiteX20" fmla="*/ 7672 w 10000"/>
                <a:gd name="connsiteY20" fmla="*/ 5236 h 10021"/>
                <a:gd name="connsiteX21" fmla="*/ 7554 w 10000"/>
                <a:gd name="connsiteY21" fmla="*/ 5149 h 10021"/>
                <a:gd name="connsiteX22" fmla="*/ 7450 w 10000"/>
                <a:gd name="connsiteY22" fmla="*/ 5053 h 10021"/>
                <a:gd name="connsiteX23" fmla="*/ 7346 w 10000"/>
                <a:gd name="connsiteY23" fmla="*/ 4957 h 10021"/>
                <a:gd name="connsiteX24" fmla="*/ 7250 w 10000"/>
                <a:gd name="connsiteY24" fmla="*/ 4861 h 10021"/>
                <a:gd name="connsiteX25" fmla="*/ 7161 w 10000"/>
                <a:gd name="connsiteY25" fmla="*/ 4760 h 10021"/>
                <a:gd name="connsiteX26" fmla="*/ 7072 w 10000"/>
                <a:gd name="connsiteY26" fmla="*/ 4659 h 10021"/>
                <a:gd name="connsiteX27" fmla="*/ 6990 w 10000"/>
                <a:gd name="connsiteY27" fmla="*/ 4549 h 10021"/>
                <a:gd name="connsiteX28" fmla="*/ 6953 w 10000"/>
                <a:gd name="connsiteY28" fmla="*/ 4499 h 10021"/>
                <a:gd name="connsiteX29" fmla="*/ 6916 w 10000"/>
                <a:gd name="connsiteY29" fmla="*/ 4444 h 10021"/>
                <a:gd name="connsiteX30" fmla="*/ 6887 w 10000"/>
                <a:gd name="connsiteY30" fmla="*/ 4389 h 10021"/>
                <a:gd name="connsiteX31" fmla="*/ 6850 w 10000"/>
                <a:gd name="connsiteY31" fmla="*/ 4334 h 10021"/>
                <a:gd name="connsiteX32" fmla="*/ 6820 w 10000"/>
                <a:gd name="connsiteY32" fmla="*/ 4279 h 10021"/>
                <a:gd name="connsiteX33" fmla="*/ 6790 w 10000"/>
                <a:gd name="connsiteY33" fmla="*/ 4224 h 10021"/>
                <a:gd name="connsiteX34" fmla="*/ 6768 w 10000"/>
                <a:gd name="connsiteY34" fmla="*/ 4164 h 10021"/>
                <a:gd name="connsiteX35" fmla="*/ 6738 w 10000"/>
                <a:gd name="connsiteY35" fmla="*/ 4109 h 10021"/>
                <a:gd name="connsiteX36" fmla="*/ 6723 w 10000"/>
                <a:gd name="connsiteY36" fmla="*/ 4049 h 10021"/>
                <a:gd name="connsiteX37" fmla="*/ 6694 w 10000"/>
                <a:gd name="connsiteY37" fmla="*/ 3994 h 10021"/>
                <a:gd name="connsiteX38" fmla="*/ 6679 w 10000"/>
                <a:gd name="connsiteY38" fmla="*/ 3935 h 10021"/>
                <a:gd name="connsiteX39" fmla="*/ 6664 w 10000"/>
                <a:gd name="connsiteY39" fmla="*/ 3875 h 10021"/>
                <a:gd name="connsiteX40" fmla="*/ 6649 w 10000"/>
                <a:gd name="connsiteY40" fmla="*/ 3816 h 10021"/>
                <a:gd name="connsiteX41" fmla="*/ 6635 w 10000"/>
                <a:gd name="connsiteY41" fmla="*/ 3761 h 10021"/>
                <a:gd name="connsiteX42" fmla="*/ 6620 w 10000"/>
                <a:gd name="connsiteY42" fmla="*/ 3701 h 10021"/>
                <a:gd name="connsiteX43" fmla="*/ 6612 w 10000"/>
                <a:gd name="connsiteY43" fmla="*/ 3642 h 10021"/>
                <a:gd name="connsiteX44" fmla="*/ 6605 w 10000"/>
                <a:gd name="connsiteY44" fmla="*/ 3582 h 10021"/>
                <a:gd name="connsiteX45" fmla="*/ 6597 w 10000"/>
                <a:gd name="connsiteY45" fmla="*/ 3518 h 10021"/>
                <a:gd name="connsiteX46" fmla="*/ 6597 w 10000"/>
                <a:gd name="connsiteY46" fmla="*/ 3458 h 10021"/>
                <a:gd name="connsiteX47" fmla="*/ 6590 w 10000"/>
                <a:gd name="connsiteY47" fmla="*/ 3394 h 10021"/>
                <a:gd name="connsiteX48" fmla="*/ 6597 w 10000"/>
                <a:gd name="connsiteY48" fmla="*/ 3334 h 10021"/>
                <a:gd name="connsiteX49" fmla="*/ 6605 w 10000"/>
                <a:gd name="connsiteY49" fmla="*/ 3266 h 10021"/>
                <a:gd name="connsiteX50" fmla="*/ 6605 w 10000"/>
                <a:gd name="connsiteY50" fmla="*/ 3202 h 10021"/>
                <a:gd name="connsiteX51" fmla="*/ 6612 w 10000"/>
                <a:gd name="connsiteY51" fmla="*/ 3137 h 10021"/>
                <a:gd name="connsiteX52" fmla="*/ 6620 w 10000"/>
                <a:gd name="connsiteY52" fmla="*/ 3073 h 10021"/>
                <a:gd name="connsiteX53" fmla="*/ 6635 w 10000"/>
                <a:gd name="connsiteY53" fmla="*/ 3014 h 10021"/>
                <a:gd name="connsiteX54" fmla="*/ 6649 w 10000"/>
                <a:gd name="connsiteY54" fmla="*/ 2950 h 10021"/>
                <a:gd name="connsiteX55" fmla="*/ 6664 w 10000"/>
                <a:gd name="connsiteY55" fmla="*/ 2890 h 10021"/>
                <a:gd name="connsiteX56" fmla="*/ 6686 w 10000"/>
                <a:gd name="connsiteY56" fmla="*/ 2826 h 10021"/>
                <a:gd name="connsiteX57" fmla="*/ 6709 w 10000"/>
                <a:gd name="connsiteY57" fmla="*/ 2766 h 10021"/>
                <a:gd name="connsiteX58" fmla="*/ 6731 w 10000"/>
                <a:gd name="connsiteY58" fmla="*/ 2707 h 10021"/>
                <a:gd name="connsiteX59" fmla="*/ 6753 w 10000"/>
                <a:gd name="connsiteY59" fmla="*/ 2642 h 10021"/>
                <a:gd name="connsiteX60" fmla="*/ 6783 w 10000"/>
                <a:gd name="connsiteY60" fmla="*/ 2587 h 10021"/>
                <a:gd name="connsiteX61" fmla="*/ 6812 w 10000"/>
                <a:gd name="connsiteY61" fmla="*/ 2528 h 10021"/>
                <a:gd name="connsiteX62" fmla="*/ 6842 w 10000"/>
                <a:gd name="connsiteY62" fmla="*/ 2468 h 10021"/>
                <a:gd name="connsiteX63" fmla="*/ 6879 w 10000"/>
                <a:gd name="connsiteY63" fmla="*/ 2409 h 10021"/>
                <a:gd name="connsiteX64" fmla="*/ 6909 w 10000"/>
                <a:gd name="connsiteY64" fmla="*/ 2354 h 10021"/>
                <a:gd name="connsiteX65" fmla="*/ 6946 w 10000"/>
                <a:gd name="connsiteY65" fmla="*/ 2294 h 10021"/>
                <a:gd name="connsiteX66" fmla="*/ 6990 w 10000"/>
                <a:gd name="connsiteY66" fmla="*/ 2239 h 10021"/>
                <a:gd name="connsiteX67" fmla="*/ 7027 w 10000"/>
                <a:gd name="connsiteY67" fmla="*/ 2184 h 10021"/>
                <a:gd name="connsiteX68" fmla="*/ 7072 w 10000"/>
                <a:gd name="connsiteY68" fmla="*/ 2129 h 10021"/>
                <a:gd name="connsiteX69" fmla="*/ 7109 w 10000"/>
                <a:gd name="connsiteY69" fmla="*/ 2074 h 10021"/>
                <a:gd name="connsiteX70" fmla="*/ 7161 w 10000"/>
                <a:gd name="connsiteY70" fmla="*/ 2024 h 10021"/>
                <a:gd name="connsiteX71" fmla="*/ 7213 w 10000"/>
                <a:gd name="connsiteY71" fmla="*/ 1969 h 10021"/>
                <a:gd name="connsiteX72" fmla="*/ 7257 w 10000"/>
                <a:gd name="connsiteY72" fmla="*/ 1914 h 10021"/>
                <a:gd name="connsiteX73" fmla="*/ 7309 w 10000"/>
                <a:gd name="connsiteY73" fmla="*/ 1863 h 10021"/>
                <a:gd name="connsiteX74" fmla="*/ 7361 w 10000"/>
                <a:gd name="connsiteY74" fmla="*/ 1813 h 10021"/>
                <a:gd name="connsiteX75" fmla="*/ 7413 w 10000"/>
                <a:gd name="connsiteY75" fmla="*/ 1763 h 10021"/>
                <a:gd name="connsiteX76" fmla="*/ 7472 w 10000"/>
                <a:gd name="connsiteY76" fmla="*/ 1712 h 10021"/>
                <a:gd name="connsiteX77" fmla="*/ 7524 w 10000"/>
                <a:gd name="connsiteY77" fmla="*/ 1666 h 10021"/>
                <a:gd name="connsiteX78" fmla="*/ 7583 w 10000"/>
                <a:gd name="connsiteY78" fmla="*/ 1620 h 10021"/>
                <a:gd name="connsiteX79" fmla="*/ 7643 w 10000"/>
                <a:gd name="connsiteY79" fmla="*/ 1570 h 10021"/>
                <a:gd name="connsiteX80" fmla="*/ 5434 w 10000"/>
                <a:gd name="connsiteY80" fmla="*/ 21 h 10021"/>
                <a:gd name="connsiteX81" fmla="*/ 1401 w 10000"/>
                <a:gd name="connsiteY81" fmla="*/ 0 h 10021"/>
                <a:gd name="connsiteX82" fmla="*/ 1305 w 10000"/>
                <a:gd name="connsiteY82" fmla="*/ 149 h 10021"/>
                <a:gd name="connsiteX83" fmla="*/ 1223 w 10000"/>
                <a:gd name="connsiteY83" fmla="*/ 241 h 10021"/>
                <a:gd name="connsiteX84" fmla="*/ 1149 w 10000"/>
                <a:gd name="connsiteY84" fmla="*/ 337 h 10021"/>
                <a:gd name="connsiteX85" fmla="*/ 1067 w 10000"/>
                <a:gd name="connsiteY85" fmla="*/ 433 h 10021"/>
                <a:gd name="connsiteX86" fmla="*/ 1001 w 10000"/>
                <a:gd name="connsiteY86" fmla="*/ 530 h 10021"/>
                <a:gd name="connsiteX87" fmla="*/ 927 w 10000"/>
                <a:gd name="connsiteY87" fmla="*/ 626 h 10021"/>
                <a:gd name="connsiteX88" fmla="*/ 860 w 10000"/>
                <a:gd name="connsiteY88" fmla="*/ 727 h 10021"/>
                <a:gd name="connsiteX89" fmla="*/ 793 w 10000"/>
                <a:gd name="connsiteY89" fmla="*/ 828 h 10021"/>
                <a:gd name="connsiteX90" fmla="*/ 734 w 10000"/>
                <a:gd name="connsiteY90" fmla="*/ 924 h 10021"/>
                <a:gd name="connsiteX91" fmla="*/ 675 w 10000"/>
                <a:gd name="connsiteY91" fmla="*/ 1025 h 10021"/>
                <a:gd name="connsiteX92" fmla="*/ 615 w 10000"/>
                <a:gd name="connsiteY92" fmla="*/ 1125 h 10021"/>
                <a:gd name="connsiteX93" fmla="*/ 556 w 10000"/>
                <a:gd name="connsiteY93" fmla="*/ 1231 h 10021"/>
                <a:gd name="connsiteX94" fmla="*/ 504 w 10000"/>
                <a:gd name="connsiteY94" fmla="*/ 1327 h 10021"/>
                <a:gd name="connsiteX95" fmla="*/ 452 w 10000"/>
                <a:gd name="connsiteY95" fmla="*/ 1433 h 10021"/>
                <a:gd name="connsiteX96" fmla="*/ 408 w 10000"/>
                <a:gd name="connsiteY96" fmla="*/ 1533 h 10021"/>
                <a:gd name="connsiteX97" fmla="*/ 363 w 10000"/>
                <a:gd name="connsiteY97" fmla="*/ 1639 h 10021"/>
                <a:gd name="connsiteX98" fmla="*/ 319 w 10000"/>
                <a:gd name="connsiteY98" fmla="*/ 1744 h 10021"/>
                <a:gd name="connsiteX99" fmla="*/ 282 w 10000"/>
                <a:gd name="connsiteY99" fmla="*/ 1850 h 10021"/>
                <a:gd name="connsiteX100" fmla="*/ 237 w 10000"/>
                <a:gd name="connsiteY100" fmla="*/ 1960 h 10021"/>
                <a:gd name="connsiteX101" fmla="*/ 208 w 10000"/>
                <a:gd name="connsiteY101" fmla="*/ 2065 h 10021"/>
                <a:gd name="connsiteX102" fmla="*/ 170 w 10000"/>
                <a:gd name="connsiteY102" fmla="*/ 2175 h 10021"/>
                <a:gd name="connsiteX103" fmla="*/ 148 w 10000"/>
                <a:gd name="connsiteY103" fmla="*/ 2285 h 10021"/>
                <a:gd name="connsiteX104" fmla="*/ 119 w 10000"/>
                <a:gd name="connsiteY104" fmla="*/ 2390 h 10021"/>
                <a:gd name="connsiteX105" fmla="*/ 96 w 10000"/>
                <a:gd name="connsiteY105" fmla="*/ 2500 h 10021"/>
                <a:gd name="connsiteX106" fmla="*/ 74 w 10000"/>
                <a:gd name="connsiteY106" fmla="*/ 2610 h 10021"/>
                <a:gd name="connsiteX107" fmla="*/ 52 w 10000"/>
                <a:gd name="connsiteY107" fmla="*/ 2725 h 10021"/>
                <a:gd name="connsiteX108" fmla="*/ 37 w 10000"/>
                <a:gd name="connsiteY108" fmla="*/ 2835 h 10021"/>
                <a:gd name="connsiteX109" fmla="*/ 22 w 10000"/>
                <a:gd name="connsiteY109" fmla="*/ 2945 h 10021"/>
                <a:gd name="connsiteX110" fmla="*/ 15 w 10000"/>
                <a:gd name="connsiteY110" fmla="*/ 3055 h 10021"/>
                <a:gd name="connsiteX111" fmla="*/ 7 w 10000"/>
                <a:gd name="connsiteY111" fmla="*/ 3169 h 10021"/>
                <a:gd name="connsiteX112" fmla="*/ 0 w 10000"/>
                <a:gd name="connsiteY112" fmla="*/ 3279 h 10021"/>
                <a:gd name="connsiteX113" fmla="*/ 0 w 10000"/>
                <a:gd name="connsiteY113" fmla="*/ 3394 h 10021"/>
                <a:gd name="connsiteX114" fmla="*/ 7 w 10000"/>
                <a:gd name="connsiteY114" fmla="*/ 3541 h 10021"/>
                <a:gd name="connsiteX115" fmla="*/ 7 w 10000"/>
                <a:gd name="connsiteY115" fmla="*/ 3687 h 10021"/>
                <a:gd name="connsiteX116" fmla="*/ 22 w 10000"/>
                <a:gd name="connsiteY116" fmla="*/ 3825 h 10021"/>
                <a:gd name="connsiteX117" fmla="*/ 37 w 10000"/>
                <a:gd name="connsiteY117" fmla="*/ 3967 h 10021"/>
                <a:gd name="connsiteX118" fmla="*/ 59 w 10000"/>
                <a:gd name="connsiteY118" fmla="*/ 4109 h 10021"/>
                <a:gd name="connsiteX119" fmla="*/ 89 w 10000"/>
                <a:gd name="connsiteY119" fmla="*/ 4251 h 10021"/>
                <a:gd name="connsiteX120" fmla="*/ 119 w 10000"/>
                <a:gd name="connsiteY120" fmla="*/ 4393 h 10021"/>
                <a:gd name="connsiteX121" fmla="*/ 148 w 10000"/>
                <a:gd name="connsiteY121" fmla="*/ 4535 h 10021"/>
                <a:gd name="connsiteX122" fmla="*/ 193 w 10000"/>
                <a:gd name="connsiteY122" fmla="*/ 4673 h 10021"/>
                <a:gd name="connsiteX123" fmla="*/ 237 w 10000"/>
                <a:gd name="connsiteY123" fmla="*/ 4810 h 10021"/>
                <a:gd name="connsiteX124" fmla="*/ 282 w 10000"/>
                <a:gd name="connsiteY124" fmla="*/ 4948 h 10021"/>
                <a:gd name="connsiteX125" fmla="*/ 334 w 10000"/>
                <a:gd name="connsiteY125" fmla="*/ 5085 h 10021"/>
                <a:gd name="connsiteX126" fmla="*/ 393 w 10000"/>
                <a:gd name="connsiteY126" fmla="*/ 5218 h 10021"/>
                <a:gd name="connsiteX127" fmla="*/ 452 w 10000"/>
                <a:gd name="connsiteY127" fmla="*/ 5351 h 10021"/>
                <a:gd name="connsiteX128" fmla="*/ 519 w 10000"/>
                <a:gd name="connsiteY128" fmla="*/ 5484 h 10021"/>
                <a:gd name="connsiteX129" fmla="*/ 586 w 10000"/>
                <a:gd name="connsiteY129" fmla="*/ 5617 h 10021"/>
                <a:gd name="connsiteX130" fmla="*/ 660 w 10000"/>
                <a:gd name="connsiteY130" fmla="*/ 5745 h 10021"/>
                <a:gd name="connsiteX131" fmla="*/ 741 w 10000"/>
                <a:gd name="connsiteY131" fmla="*/ 5873 h 10021"/>
                <a:gd name="connsiteX132" fmla="*/ 823 w 10000"/>
                <a:gd name="connsiteY132" fmla="*/ 6006 h 10021"/>
                <a:gd name="connsiteX133" fmla="*/ 904 w 10000"/>
                <a:gd name="connsiteY133" fmla="*/ 6130 h 10021"/>
                <a:gd name="connsiteX134" fmla="*/ 993 w 10000"/>
                <a:gd name="connsiteY134" fmla="*/ 6254 h 10021"/>
                <a:gd name="connsiteX135" fmla="*/ 1090 w 10000"/>
                <a:gd name="connsiteY135" fmla="*/ 6373 h 10021"/>
                <a:gd name="connsiteX136" fmla="*/ 1186 w 10000"/>
                <a:gd name="connsiteY136" fmla="*/ 6497 h 10021"/>
                <a:gd name="connsiteX137" fmla="*/ 1290 w 10000"/>
                <a:gd name="connsiteY137" fmla="*/ 6620 h 10021"/>
                <a:gd name="connsiteX138" fmla="*/ 1386 w 10000"/>
                <a:gd name="connsiteY138" fmla="*/ 6740 h 10021"/>
                <a:gd name="connsiteX139" fmla="*/ 1497 w 10000"/>
                <a:gd name="connsiteY139" fmla="*/ 6859 h 10021"/>
                <a:gd name="connsiteX140" fmla="*/ 1609 w 10000"/>
                <a:gd name="connsiteY140" fmla="*/ 6973 h 10021"/>
                <a:gd name="connsiteX141" fmla="*/ 1727 w 10000"/>
                <a:gd name="connsiteY141" fmla="*/ 7092 h 10021"/>
                <a:gd name="connsiteX142" fmla="*/ 1846 w 10000"/>
                <a:gd name="connsiteY142" fmla="*/ 7207 h 10021"/>
                <a:gd name="connsiteX143" fmla="*/ 1964 w 10000"/>
                <a:gd name="connsiteY143" fmla="*/ 7317 h 10021"/>
                <a:gd name="connsiteX144" fmla="*/ 2090 w 10000"/>
                <a:gd name="connsiteY144" fmla="*/ 7427 h 10021"/>
                <a:gd name="connsiteX145" fmla="*/ 2224 w 10000"/>
                <a:gd name="connsiteY145" fmla="*/ 7537 h 10021"/>
                <a:gd name="connsiteX146" fmla="*/ 2350 w 10000"/>
                <a:gd name="connsiteY146" fmla="*/ 7647 h 10021"/>
                <a:gd name="connsiteX147" fmla="*/ 2491 w 10000"/>
                <a:gd name="connsiteY147" fmla="*/ 7752 h 10021"/>
                <a:gd name="connsiteX148" fmla="*/ 2617 w 10000"/>
                <a:gd name="connsiteY148" fmla="*/ 7858 h 10021"/>
                <a:gd name="connsiteX149" fmla="*/ 2765 w 10000"/>
                <a:gd name="connsiteY149" fmla="*/ 7959 h 10021"/>
                <a:gd name="connsiteX150" fmla="*/ 2906 w 10000"/>
                <a:gd name="connsiteY150" fmla="*/ 8059 h 10021"/>
                <a:gd name="connsiteX151" fmla="*/ 3054 w 10000"/>
                <a:gd name="connsiteY151" fmla="*/ 8160 h 10021"/>
                <a:gd name="connsiteX152" fmla="*/ 3210 w 10000"/>
                <a:gd name="connsiteY152" fmla="*/ 8257 h 10021"/>
                <a:gd name="connsiteX153" fmla="*/ 3358 w 10000"/>
                <a:gd name="connsiteY153" fmla="*/ 8353 h 10021"/>
                <a:gd name="connsiteX154" fmla="*/ 3514 w 10000"/>
                <a:gd name="connsiteY154" fmla="*/ 8449 h 10021"/>
                <a:gd name="connsiteX155" fmla="*/ 3677 w 10000"/>
                <a:gd name="connsiteY155" fmla="*/ 8541 h 10021"/>
                <a:gd name="connsiteX156" fmla="*/ 3840 w 10000"/>
                <a:gd name="connsiteY156" fmla="*/ 8628 h 10021"/>
                <a:gd name="connsiteX157" fmla="*/ 4010 w 10000"/>
                <a:gd name="connsiteY157" fmla="*/ 8719 h 10021"/>
                <a:gd name="connsiteX158" fmla="*/ 4181 w 10000"/>
                <a:gd name="connsiteY158" fmla="*/ 8797 h 10021"/>
                <a:gd name="connsiteX159" fmla="*/ 4351 w 10000"/>
                <a:gd name="connsiteY159" fmla="*/ 8884 h 10021"/>
                <a:gd name="connsiteX160" fmla="*/ 4522 w 10000"/>
                <a:gd name="connsiteY160" fmla="*/ 8962 h 10021"/>
                <a:gd name="connsiteX161" fmla="*/ 4700 w 10000"/>
                <a:gd name="connsiteY161" fmla="*/ 9045 h 10021"/>
                <a:gd name="connsiteX162" fmla="*/ 4878 w 10000"/>
                <a:gd name="connsiteY162" fmla="*/ 9123 h 10021"/>
                <a:gd name="connsiteX163" fmla="*/ 5063 w 10000"/>
                <a:gd name="connsiteY163" fmla="*/ 9196 h 10021"/>
                <a:gd name="connsiteX164" fmla="*/ 5248 w 10000"/>
                <a:gd name="connsiteY164" fmla="*/ 9274 h 10021"/>
                <a:gd name="connsiteX165" fmla="*/ 5426 w 10000"/>
                <a:gd name="connsiteY165" fmla="*/ 9343 h 10021"/>
                <a:gd name="connsiteX166" fmla="*/ 5619 w 10000"/>
                <a:gd name="connsiteY166" fmla="*/ 9411 h 10021"/>
                <a:gd name="connsiteX167" fmla="*/ 5812 w 10000"/>
                <a:gd name="connsiteY167" fmla="*/ 9480 h 10021"/>
                <a:gd name="connsiteX168" fmla="*/ 6004 w 10000"/>
                <a:gd name="connsiteY168" fmla="*/ 9544 h 10021"/>
                <a:gd name="connsiteX169" fmla="*/ 6205 w 10000"/>
                <a:gd name="connsiteY169" fmla="*/ 9609 h 10021"/>
                <a:gd name="connsiteX170" fmla="*/ 6397 w 10000"/>
                <a:gd name="connsiteY170" fmla="*/ 9668 h 10021"/>
                <a:gd name="connsiteX171" fmla="*/ 6605 w 10000"/>
                <a:gd name="connsiteY171" fmla="*/ 9723 h 10021"/>
                <a:gd name="connsiteX172" fmla="*/ 6805 w 10000"/>
                <a:gd name="connsiteY172" fmla="*/ 9778 h 10021"/>
                <a:gd name="connsiteX173" fmla="*/ 7005 w 10000"/>
                <a:gd name="connsiteY173" fmla="*/ 9833 h 10021"/>
                <a:gd name="connsiteX174" fmla="*/ 7213 w 10000"/>
                <a:gd name="connsiteY174" fmla="*/ 9884 h 10021"/>
                <a:gd name="connsiteX175" fmla="*/ 7420 w 10000"/>
                <a:gd name="connsiteY175" fmla="*/ 9929 h 10021"/>
                <a:gd name="connsiteX176" fmla="*/ 7628 w 10000"/>
                <a:gd name="connsiteY176" fmla="*/ 9975 h 10021"/>
                <a:gd name="connsiteX177" fmla="*/ 7835 w 10000"/>
                <a:gd name="connsiteY177" fmla="*/ 10021 h 10021"/>
                <a:gd name="connsiteX178" fmla="*/ 7539 w 10000"/>
                <a:gd name="connsiteY178" fmla="*/ 7775 h 10021"/>
                <a:gd name="connsiteX179" fmla="*/ 10000 w 10000"/>
                <a:gd name="connsiteY179" fmla="*/ 6162 h 10021"/>
                <a:gd name="connsiteX0" fmla="*/ 10000 w 10000"/>
                <a:gd name="connsiteY0" fmla="*/ 6162 h 10021"/>
                <a:gd name="connsiteX1" fmla="*/ 10000 w 10000"/>
                <a:gd name="connsiteY1" fmla="*/ 6162 h 10021"/>
                <a:gd name="connsiteX2" fmla="*/ 9911 w 10000"/>
                <a:gd name="connsiteY2" fmla="*/ 6148 h 10021"/>
                <a:gd name="connsiteX3" fmla="*/ 9815 w 10000"/>
                <a:gd name="connsiteY3" fmla="*/ 6130 h 10021"/>
                <a:gd name="connsiteX4" fmla="*/ 9726 w 10000"/>
                <a:gd name="connsiteY4" fmla="*/ 6112 h 10021"/>
                <a:gd name="connsiteX5" fmla="*/ 9637 w 10000"/>
                <a:gd name="connsiteY5" fmla="*/ 6089 h 10021"/>
                <a:gd name="connsiteX6" fmla="*/ 9548 w 10000"/>
                <a:gd name="connsiteY6" fmla="*/ 6070 h 10021"/>
                <a:gd name="connsiteX7" fmla="*/ 9466 w 10000"/>
                <a:gd name="connsiteY7" fmla="*/ 6048 h 10021"/>
                <a:gd name="connsiteX8" fmla="*/ 9377 w 10000"/>
                <a:gd name="connsiteY8" fmla="*/ 6025 h 10021"/>
                <a:gd name="connsiteX9" fmla="*/ 9288 w 10000"/>
                <a:gd name="connsiteY9" fmla="*/ 6002 h 10021"/>
                <a:gd name="connsiteX10" fmla="*/ 9118 w 10000"/>
                <a:gd name="connsiteY10" fmla="*/ 5951 h 10021"/>
                <a:gd name="connsiteX11" fmla="*/ 8955 w 10000"/>
                <a:gd name="connsiteY11" fmla="*/ 5896 h 10021"/>
                <a:gd name="connsiteX12" fmla="*/ 8792 w 10000"/>
                <a:gd name="connsiteY12" fmla="*/ 5837 h 10021"/>
                <a:gd name="connsiteX13" fmla="*/ 8636 w 10000"/>
                <a:gd name="connsiteY13" fmla="*/ 5773 h 10021"/>
                <a:gd name="connsiteX14" fmla="*/ 8480 w 10000"/>
                <a:gd name="connsiteY14" fmla="*/ 5708 h 10021"/>
                <a:gd name="connsiteX15" fmla="*/ 8340 w 10000"/>
                <a:gd name="connsiteY15" fmla="*/ 5640 h 10021"/>
                <a:gd name="connsiteX16" fmla="*/ 8199 w 10000"/>
                <a:gd name="connsiteY16" fmla="*/ 5566 h 10021"/>
                <a:gd name="connsiteX17" fmla="*/ 8058 w 10000"/>
                <a:gd name="connsiteY17" fmla="*/ 5488 h 10021"/>
                <a:gd name="connsiteX18" fmla="*/ 7924 w 10000"/>
                <a:gd name="connsiteY18" fmla="*/ 5406 h 10021"/>
                <a:gd name="connsiteX19" fmla="*/ 7798 w 10000"/>
                <a:gd name="connsiteY19" fmla="*/ 5323 h 10021"/>
                <a:gd name="connsiteX20" fmla="*/ 7672 w 10000"/>
                <a:gd name="connsiteY20" fmla="*/ 5236 h 10021"/>
                <a:gd name="connsiteX21" fmla="*/ 7554 w 10000"/>
                <a:gd name="connsiteY21" fmla="*/ 5149 h 10021"/>
                <a:gd name="connsiteX22" fmla="*/ 7450 w 10000"/>
                <a:gd name="connsiteY22" fmla="*/ 5053 h 10021"/>
                <a:gd name="connsiteX23" fmla="*/ 7346 w 10000"/>
                <a:gd name="connsiteY23" fmla="*/ 4957 h 10021"/>
                <a:gd name="connsiteX24" fmla="*/ 7250 w 10000"/>
                <a:gd name="connsiteY24" fmla="*/ 4861 h 10021"/>
                <a:gd name="connsiteX25" fmla="*/ 7161 w 10000"/>
                <a:gd name="connsiteY25" fmla="*/ 4760 h 10021"/>
                <a:gd name="connsiteX26" fmla="*/ 7072 w 10000"/>
                <a:gd name="connsiteY26" fmla="*/ 4659 h 10021"/>
                <a:gd name="connsiteX27" fmla="*/ 6990 w 10000"/>
                <a:gd name="connsiteY27" fmla="*/ 4549 h 10021"/>
                <a:gd name="connsiteX28" fmla="*/ 6953 w 10000"/>
                <a:gd name="connsiteY28" fmla="*/ 4499 h 10021"/>
                <a:gd name="connsiteX29" fmla="*/ 6916 w 10000"/>
                <a:gd name="connsiteY29" fmla="*/ 4444 h 10021"/>
                <a:gd name="connsiteX30" fmla="*/ 6887 w 10000"/>
                <a:gd name="connsiteY30" fmla="*/ 4389 h 10021"/>
                <a:gd name="connsiteX31" fmla="*/ 6850 w 10000"/>
                <a:gd name="connsiteY31" fmla="*/ 4334 h 10021"/>
                <a:gd name="connsiteX32" fmla="*/ 6820 w 10000"/>
                <a:gd name="connsiteY32" fmla="*/ 4279 h 10021"/>
                <a:gd name="connsiteX33" fmla="*/ 6790 w 10000"/>
                <a:gd name="connsiteY33" fmla="*/ 4224 h 10021"/>
                <a:gd name="connsiteX34" fmla="*/ 6768 w 10000"/>
                <a:gd name="connsiteY34" fmla="*/ 4164 h 10021"/>
                <a:gd name="connsiteX35" fmla="*/ 6738 w 10000"/>
                <a:gd name="connsiteY35" fmla="*/ 4109 h 10021"/>
                <a:gd name="connsiteX36" fmla="*/ 6723 w 10000"/>
                <a:gd name="connsiteY36" fmla="*/ 4049 h 10021"/>
                <a:gd name="connsiteX37" fmla="*/ 6694 w 10000"/>
                <a:gd name="connsiteY37" fmla="*/ 3994 h 10021"/>
                <a:gd name="connsiteX38" fmla="*/ 6679 w 10000"/>
                <a:gd name="connsiteY38" fmla="*/ 3935 h 10021"/>
                <a:gd name="connsiteX39" fmla="*/ 6664 w 10000"/>
                <a:gd name="connsiteY39" fmla="*/ 3875 h 10021"/>
                <a:gd name="connsiteX40" fmla="*/ 6649 w 10000"/>
                <a:gd name="connsiteY40" fmla="*/ 3816 h 10021"/>
                <a:gd name="connsiteX41" fmla="*/ 6635 w 10000"/>
                <a:gd name="connsiteY41" fmla="*/ 3761 h 10021"/>
                <a:gd name="connsiteX42" fmla="*/ 6620 w 10000"/>
                <a:gd name="connsiteY42" fmla="*/ 3701 h 10021"/>
                <a:gd name="connsiteX43" fmla="*/ 6612 w 10000"/>
                <a:gd name="connsiteY43" fmla="*/ 3642 h 10021"/>
                <a:gd name="connsiteX44" fmla="*/ 6605 w 10000"/>
                <a:gd name="connsiteY44" fmla="*/ 3582 h 10021"/>
                <a:gd name="connsiteX45" fmla="*/ 6597 w 10000"/>
                <a:gd name="connsiteY45" fmla="*/ 3518 h 10021"/>
                <a:gd name="connsiteX46" fmla="*/ 6597 w 10000"/>
                <a:gd name="connsiteY46" fmla="*/ 3458 h 10021"/>
                <a:gd name="connsiteX47" fmla="*/ 6590 w 10000"/>
                <a:gd name="connsiteY47" fmla="*/ 3394 h 10021"/>
                <a:gd name="connsiteX48" fmla="*/ 6597 w 10000"/>
                <a:gd name="connsiteY48" fmla="*/ 3334 h 10021"/>
                <a:gd name="connsiteX49" fmla="*/ 6605 w 10000"/>
                <a:gd name="connsiteY49" fmla="*/ 3266 h 10021"/>
                <a:gd name="connsiteX50" fmla="*/ 6605 w 10000"/>
                <a:gd name="connsiteY50" fmla="*/ 3202 h 10021"/>
                <a:gd name="connsiteX51" fmla="*/ 6612 w 10000"/>
                <a:gd name="connsiteY51" fmla="*/ 3137 h 10021"/>
                <a:gd name="connsiteX52" fmla="*/ 6620 w 10000"/>
                <a:gd name="connsiteY52" fmla="*/ 3073 h 10021"/>
                <a:gd name="connsiteX53" fmla="*/ 6635 w 10000"/>
                <a:gd name="connsiteY53" fmla="*/ 3014 h 10021"/>
                <a:gd name="connsiteX54" fmla="*/ 6649 w 10000"/>
                <a:gd name="connsiteY54" fmla="*/ 2950 h 10021"/>
                <a:gd name="connsiteX55" fmla="*/ 6664 w 10000"/>
                <a:gd name="connsiteY55" fmla="*/ 2890 h 10021"/>
                <a:gd name="connsiteX56" fmla="*/ 6686 w 10000"/>
                <a:gd name="connsiteY56" fmla="*/ 2826 h 10021"/>
                <a:gd name="connsiteX57" fmla="*/ 6709 w 10000"/>
                <a:gd name="connsiteY57" fmla="*/ 2766 h 10021"/>
                <a:gd name="connsiteX58" fmla="*/ 6731 w 10000"/>
                <a:gd name="connsiteY58" fmla="*/ 2707 h 10021"/>
                <a:gd name="connsiteX59" fmla="*/ 6753 w 10000"/>
                <a:gd name="connsiteY59" fmla="*/ 2642 h 10021"/>
                <a:gd name="connsiteX60" fmla="*/ 6783 w 10000"/>
                <a:gd name="connsiteY60" fmla="*/ 2587 h 10021"/>
                <a:gd name="connsiteX61" fmla="*/ 6812 w 10000"/>
                <a:gd name="connsiteY61" fmla="*/ 2528 h 10021"/>
                <a:gd name="connsiteX62" fmla="*/ 6842 w 10000"/>
                <a:gd name="connsiteY62" fmla="*/ 2468 h 10021"/>
                <a:gd name="connsiteX63" fmla="*/ 6879 w 10000"/>
                <a:gd name="connsiteY63" fmla="*/ 2409 h 10021"/>
                <a:gd name="connsiteX64" fmla="*/ 6909 w 10000"/>
                <a:gd name="connsiteY64" fmla="*/ 2354 h 10021"/>
                <a:gd name="connsiteX65" fmla="*/ 6946 w 10000"/>
                <a:gd name="connsiteY65" fmla="*/ 2294 h 10021"/>
                <a:gd name="connsiteX66" fmla="*/ 6990 w 10000"/>
                <a:gd name="connsiteY66" fmla="*/ 2239 h 10021"/>
                <a:gd name="connsiteX67" fmla="*/ 7027 w 10000"/>
                <a:gd name="connsiteY67" fmla="*/ 2184 h 10021"/>
                <a:gd name="connsiteX68" fmla="*/ 7072 w 10000"/>
                <a:gd name="connsiteY68" fmla="*/ 2129 h 10021"/>
                <a:gd name="connsiteX69" fmla="*/ 7109 w 10000"/>
                <a:gd name="connsiteY69" fmla="*/ 2074 h 10021"/>
                <a:gd name="connsiteX70" fmla="*/ 7161 w 10000"/>
                <a:gd name="connsiteY70" fmla="*/ 2024 h 10021"/>
                <a:gd name="connsiteX71" fmla="*/ 7213 w 10000"/>
                <a:gd name="connsiteY71" fmla="*/ 1969 h 10021"/>
                <a:gd name="connsiteX72" fmla="*/ 7257 w 10000"/>
                <a:gd name="connsiteY72" fmla="*/ 1914 h 10021"/>
                <a:gd name="connsiteX73" fmla="*/ 7309 w 10000"/>
                <a:gd name="connsiteY73" fmla="*/ 1863 h 10021"/>
                <a:gd name="connsiteX74" fmla="*/ 7361 w 10000"/>
                <a:gd name="connsiteY74" fmla="*/ 1813 h 10021"/>
                <a:gd name="connsiteX75" fmla="*/ 7413 w 10000"/>
                <a:gd name="connsiteY75" fmla="*/ 1763 h 10021"/>
                <a:gd name="connsiteX76" fmla="*/ 7472 w 10000"/>
                <a:gd name="connsiteY76" fmla="*/ 1712 h 10021"/>
                <a:gd name="connsiteX77" fmla="*/ 7524 w 10000"/>
                <a:gd name="connsiteY77" fmla="*/ 1666 h 10021"/>
                <a:gd name="connsiteX78" fmla="*/ 7583 w 10000"/>
                <a:gd name="connsiteY78" fmla="*/ 1620 h 10021"/>
                <a:gd name="connsiteX79" fmla="*/ 7643 w 10000"/>
                <a:gd name="connsiteY79" fmla="*/ 1570 h 10021"/>
                <a:gd name="connsiteX80" fmla="*/ 5423 w 10000"/>
                <a:gd name="connsiteY80" fmla="*/ 28 h 10021"/>
                <a:gd name="connsiteX81" fmla="*/ 1401 w 10000"/>
                <a:gd name="connsiteY81" fmla="*/ 0 h 10021"/>
                <a:gd name="connsiteX82" fmla="*/ 1305 w 10000"/>
                <a:gd name="connsiteY82" fmla="*/ 149 h 10021"/>
                <a:gd name="connsiteX83" fmla="*/ 1223 w 10000"/>
                <a:gd name="connsiteY83" fmla="*/ 241 h 10021"/>
                <a:gd name="connsiteX84" fmla="*/ 1149 w 10000"/>
                <a:gd name="connsiteY84" fmla="*/ 337 h 10021"/>
                <a:gd name="connsiteX85" fmla="*/ 1067 w 10000"/>
                <a:gd name="connsiteY85" fmla="*/ 433 h 10021"/>
                <a:gd name="connsiteX86" fmla="*/ 1001 w 10000"/>
                <a:gd name="connsiteY86" fmla="*/ 530 h 10021"/>
                <a:gd name="connsiteX87" fmla="*/ 927 w 10000"/>
                <a:gd name="connsiteY87" fmla="*/ 626 h 10021"/>
                <a:gd name="connsiteX88" fmla="*/ 860 w 10000"/>
                <a:gd name="connsiteY88" fmla="*/ 727 h 10021"/>
                <a:gd name="connsiteX89" fmla="*/ 793 w 10000"/>
                <a:gd name="connsiteY89" fmla="*/ 828 h 10021"/>
                <a:gd name="connsiteX90" fmla="*/ 734 w 10000"/>
                <a:gd name="connsiteY90" fmla="*/ 924 h 10021"/>
                <a:gd name="connsiteX91" fmla="*/ 675 w 10000"/>
                <a:gd name="connsiteY91" fmla="*/ 1025 h 10021"/>
                <a:gd name="connsiteX92" fmla="*/ 615 w 10000"/>
                <a:gd name="connsiteY92" fmla="*/ 1125 h 10021"/>
                <a:gd name="connsiteX93" fmla="*/ 556 w 10000"/>
                <a:gd name="connsiteY93" fmla="*/ 1231 h 10021"/>
                <a:gd name="connsiteX94" fmla="*/ 504 w 10000"/>
                <a:gd name="connsiteY94" fmla="*/ 1327 h 10021"/>
                <a:gd name="connsiteX95" fmla="*/ 452 w 10000"/>
                <a:gd name="connsiteY95" fmla="*/ 1433 h 10021"/>
                <a:gd name="connsiteX96" fmla="*/ 408 w 10000"/>
                <a:gd name="connsiteY96" fmla="*/ 1533 h 10021"/>
                <a:gd name="connsiteX97" fmla="*/ 363 w 10000"/>
                <a:gd name="connsiteY97" fmla="*/ 1639 h 10021"/>
                <a:gd name="connsiteX98" fmla="*/ 319 w 10000"/>
                <a:gd name="connsiteY98" fmla="*/ 1744 h 10021"/>
                <a:gd name="connsiteX99" fmla="*/ 282 w 10000"/>
                <a:gd name="connsiteY99" fmla="*/ 1850 h 10021"/>
                <a:gd name="connsiteX100" fmla="*/ 237 w 10000"/>
                <a:gd name="connsiteY100" fmla="*/ 1960 h 10021"/>
                <a:gd name="connsiteX101" fmla="*/ 208 w 10000"/>
                <a:gd name="connsiteY101" fmla="*/ 2065 h 10021"/>
                <a:gd name="connsiteX102" fmla="*/ 170 w 10000"/>
                <a:gd name="connsiteY102" fmla="*/ 2175 h 10021"/>
                <a:gd name="connsiteX103" fmla="*/ 148 w 10000"/>
                <a:gd name="connsiteY103" fmla="*/ 2285 h 10021"/>
                <a:gd name="connsiteX104" fmla="*/ 119 w 10000"/>
                <a:gd name="connsiteY104" fmla="*/ 2390 h 10021"/>
                <a:gd name="connsiteX105" fmla="*/ 96 w 10000"/>
                <a:gd name="connsiteY105" fmla="*/ 2500 h 10021"/>
                <a:gd name="connsiteX106" fmla="*/ 74 w 10000"/>
                <a:gd name="connsiteY106" fmla="*/ 2610 h 10021"/>
                <a:gd name="connsiteX107" fmla="*/ 52 w 10000"/>
                <a:gd name="connsiteY107" fmla="*/ 2725 h 10021"/>
                <a:gd name="connsiteX108" fmla="*/ 37 w 10000"/>
                <a:gd name="connsiteY108" fmla="*/ 2835 h 10021"/>
                <a:gd name="connsiteX109" fmla="*/ 22 w 10000"/>
                <a:gd name="connsiteY109" fmla="*/ 2945 h 10021"/>
                <a:gd name="connsiteX110" fmla="*/ 15 w 10000"/>
                <a:gd name="connsiteY110" fmla="*/ 3055 h 10021"/>
                <a:gd name="connsiteX111" fmla="*/ 7 w 10000"/>
                <a:gd name="connsiteY111" fmla="*/ 3169 h 10021"/>
                <a:gd name="connsiteX112" fmla="*/ 0 w 10000"/>
                <a:gd name="connsiteY112" fmla="*/ 3279 h 10021"/>
                <a:gd name="connsiteX113" fmla="*/ 0 w 10000"/>
                <a:gd name="connsiteY113" fmla="*/ 3394 h 10021"/>
                <a:gd name="connsiteX114" fmla="*/ 7 w 10000"/>
                <a:gd name="connsiteY114" fmla="*/ 3541 h 10021"/>
                <a:gd name="connsiteX115" fmla="*/ 7 w 10000"/>
                <a:gd name="connsiteY115" fmla="*/ 3687 h 10021"/>
                <a:gd name="connsiteX116" fmla="*/ 22 w 10000"/>
                <a:gd name="connsiteY116" fmla="*/ 3825 h 10021"/>
                <a:gd name="connsiteX117" fmla="*/ 37 w 10000"/>
                <a:gd name="connsiteY117" fmla="*/ 3967 h 10021"/>
                <a:gd name="connsiteX118" fmla="*/ 59 w 10000"/>
                <a:gd name="connsiteY118" fmla="*/ 4109 h 10021"/>
                <a:gd name="connsiteX119" fmla="*/ 89 w 10000"/>
                <a:gd name="connsiteY119" fmla="*/ 4251 h 10021"/>
                <a:gd name="connsiteX120" fmla="*/ 119 w 10000"/>
                <a:gd name="connsiteY120" fmla="*/ 4393 h 10021"/>
                <a:gd name="connsiteX121" fmla="*/ 148 w 10000"/>
                <a:gd name="connsiteY121" fmla="*/ 4535 h 10021"/>
                <a:gd name="connsiteX122" fmla="*/ 193 w 10000"/>
                <a:gd name="connsiteY122" fmla="*/ 4673 h 10021"/>
                <a:gd name="connsiteX123" fmla="*/ 237 w 10000"/>
                <a:gd name="connsiteY123" fmla="*/ 4810 h 10021"/>
                <a:gd name="connsiteX124" fmla="*/ 282 w 10000"/>
                <a:gd name="connsiteY124" fmla="*/ 4948 h 10021"/>
                <a:gd name="connsiteX125" fmla="*/ 334 w 10000"/>
                <a:gd name="connsiteY125" fmla="*/ 5085 h 10021"/>
                <a:gd name="connsiteX126" fmla="*/ 393 w 10000"/>
                <a:gd name="connsiteY126" fmla="*/ 5218 h 10021"/>
                <a:gd name="connsiteX127" fmla="*/ 452 w 10000"/>
                <a:gd name="connsiteY127" fmla="*/ 5351 h 10021"/>
                <a:gd name="connsiteX128" fmla="*/ 519 w 10000"/>
                <a:gd name="connsiteY128" fmla="*/ 5484 h 10021"/>
                <a:gd name="connsiteX129" fmla="*/ 586 w 10000"/>
                <a:gd name="connsiteY129" fmla="*/ 5617 h 10021"/>
                <a:gd name="connsiteX130" fmla="*/ 660 w 10000"/>
                <a:gd name="connsiteY130" fmla="*/ 5745 h 10021"/>
                <a:gd name="connsiteX131" fmla="*/ 741 w 10000"/>
                <a:gd name="connsiteY131" fmla="*/ 5873 h 10021"/>
                <a:gd name="connsiteX132" fmla="*/ 823 w 10000"/>
                <a:gd name="connsiteY132" fmla="*/ 6006 h 10021"/>
                <a:gd name="connsiteX133" fmla="*/ 904 w 10000"/>
                <a:gd name="connsiteY133" fmla="*/ 6130 h 10021"/>
                <a:gd name="connsiteX134" fmla="*/ 993 w 10000"/>
                <a:gd name="connsiteY134" fmla="*/ 6254 h 10021"/>
                <a:gd name="connsiteX135" fmla="*/ 1090 w 10000"/>
                <a:gd name="connsiteY135" fmla="*/ 6373 h 10021"/>
                <a:gd name="connsiteX136" fmla="*/ 1186 w 10000"/>
                <a:gd name="connsiteY136" fmla="*/ 6497 h 10021"/>
                <a:gd name="connsiteX137" fmla="*/ 1290 w 10000"/>
                <a:gd name="connsiteY137" fmla="*/ 6620 h 10021"/>
                <a:gd name="connsiteX138" fmla="*/ 1386 w 10000"/>
                <a:gd name="connsiteY138" fmla="*/ 6740 h 10021"/>
                <a:gd name="connsiteX139" fmla="*/ 1497 w 10000"/>
                <a:gd name="connsiteY139" fmla="*/ 6859 h 10021"/>
                <a:gd name="connsiteX140" fmla="*/ 1609 w 10000"/>
                <a:gd name="connsiteY140" fmla="*/ 6973 h 10021"/>
                <a:gd name="connsiteX141" fmla="*/ 1727 w 10000"/>
                <a:gd name="connsiteY141" fmla="*/ 7092 h 10021"/>
                <a:gd name="connsiteX142" fmla="*/ 1846 w 10000"/>
                <a:gd name="connsiteY142" fmla="*/ 7207 h 10021"/>
                <a:gd name="connsiteX143" fmla="*/ 1964 w 10000"/>
                <a:gd name="connsiteY143" fmla="*/ 7317 h 10021"/>
                <a:gd name="connsiteX144" fmla="*/ 2090 w 10000"/>
                <a:gd name="connsiteY144" fmla="*/ 7427 h 10021"/>
                <a:gd name="connsiteX145" fmla="*/ 2224 w 10000"/>
                <a:gd name="connsiteY145" fmla="*/ 7537 h 10021"/>
                <a:gd name="connsiteX146" fmla="*/ 2350 w 10000"/>
                <a:gd name="connsiteY146" fmla="*/ 7647 h 10021"/>
                <a:gd name="connsiteX147" fmla="*/ 2491 w 10000"/>
                <a:gd name="connsiteY147" fmla="*/ 7752 h 10021"/>
                <a:gd name="connsiteX148" fmla="*/ 2617 w 10000"/>
                <a:gd name="connsiteY148" fmla="*/ 7858 h 10021"/>
                <a:gd name="connsiteX149" fmla="*/ 2765 w 10000"/>
                <a:gd name="connsiteY149" fmla="*/ 7959 h 10021"/>
                <a:gd name="connsiteX150" fmla="*/ 2906 w 10000"/>
                <a:gd name="connsiteY150" fmla="*/ 8059 h 10021"/>
                <a:gd name="connsiteX151" fmla="*/ 3054 w 10000"/>
                <a:gd name="connsiteY151" fmla="*/ 8160 h 10021"/>
                <a:gd name="connsiteX152" fmla="*/ 3210 w 10000"/>
                <a:gd name="connsiteY152" fmla="*/ 8257 h 10021"/>
                <a:gd name="connsiteX153" fmla="*/ 3358 w 10000"/>
                <a:gd name="connsiteY153" fmla="*/ 8353 h 10021"/>
                <a:gd name="connsiteX154" fmla="*/ 3514 w 10000"/>
                <a:gd name="connsiteY154" fmla="*/ 8449 h 10021"/>
                <a:gd name="connsiteX155" fmla="*/ 3677 w 10000"/>
                <a:gd name="connsiteY155" fmla="*/ 8541 h 10021"/>
                <a:gd name="connsiteX156" fmla="*/ 3840 w 10000"/>
                <a:gd name="connsiteY156" fmla="*/ 8628 h 10021"/>
                <a:gd name="connsiteX157" fmla="*/ 4010 w 10000"/>
                <a:gd name="connsiteY157" fmla="*/ 8719 h 10021"/>
                <a:gd name="connsiteX158" fmla="*/ 4181 w 10000"/>
                <a:gd name="connsiteY158" fmla="*/ 8797 h 10021"/>
                <a:gd name="connsiteX159" fmla="*/ 4351 w 10000"/>
                <a:gd name="connsiteY159" fmla="*/ 8884 h 10021"/>
                <a:gd name="connsiteX160" fmla="*/ 4522 w 10000"/>
                <a:gd name="connsiteY160" fmla="*/ 8962 h 10021"/>
                <a:gd name="connsiteX161" fmla="*/ 4700 w 10000"/>
                <a:gd name="connsiteY161" fmla="*/ 9045 h 10021"/>
                <a:gd name="connsiteX162" fmla="*/ 4878 w 10000"/>
                <a:gd name="connsiteY162" fmla="*/ 9123 h 10021"/>
                <a:gd name="connsiteX163" fmla="*/ 5063 w 10000"/>
                <a:gd name="connsiteY163" fmla="*/ 9196 h 10021"/>
                <a:gd name="connsiteX164" fmla="*/ 5248 w 10000"/>
                <a:gd name="connsiteY164" fmla="*/ 9274 h 10021"/>
                <a:gd name="connsiteX165" fmla="*/ 5426 w 10000"/>
                <a:gd name="connsiteY165" fmla="*/ 9343 h 10021"/>
                <a:gd name="connsiteX166" fmla="*/ 5619 w 10000"/>
                <a:gd name="connsiteY166" fmla="*/ 9411 h 10021"/>
                <a:gd name="connsiteX167" fmla="*/ 5812 w 10000"/>
                <a:gd name="connsiteY167" fmla="*/ 9480 h 10021"/>
                <a:gd name="connsiteX168" fmla="*/ 6004 w 10000"/>
                <a:gd name="connsiteY168" fmla="*/ 9544 h 10021"/>
                <a:gd name="connsiteX169" fmla="*/ 6205 w 10000"/>
                <a:gd name="connsiteY169" fmla="*/ 9609 h 10021"/>
                <a:gd name="connsiteX170" fmla="*/ 6397 w 10000"/>
                <a:gd name="connsiteY170" fmla="*/ 9668 h 10021"/>
                <a:gd name="connsiteX171" fmla="*/ 6605 w 10000"/>
                <a:gd name="connsiteY171" fmla="*/ 9723 h 10021"/>
                <a:gd name="connsiteX172" fmla="*/ 6805 w 10000"/>
                <a:gd name="connsiteY172" fmla="*/ 9778 h 10021"/>
                <a:gd name="connsiteX173" fmla="*/ 7005 w 10000"/>
                <a:gd name="connsiteY173" fmla="*/ 9833 h 10021"/>
                <a:gd name="connsiteX174" fmla="*/ 7213 w 10000"/>
                <a:gd name="connsiteY174" fmla="*/ 9884 h 10021"/>
                <a:gd name="connsiteX175" fmla="*/ 7420 w 10000"/>
                <a:gd name="connsiteY175" fmla="*/ 9929 h 10021"/>
                <a:gd name="connsiteX176" fmla="*/ 7628 w 10000"/>
                <a:gd name="connsiteY176" fmla="*/ 9975 h 10021"/>
                <a:gd name="connsiteX177" fmla="*/ 7835 w 10000"/>
                <a:gd name="connsiteY177" fmla="*/ 10021 h 10021"/>
                <a:gd name="connsiteX178" fmla="*/ 7539 w 10000"/>
                <a:gd name="connsiteY178" fmla="*/ 7775 h 10021"/>
                <a:gd name="connsiteX179" fmla="*/ 10000 w 10000"/>
                <a:gd name="connsiteY179" fmla="*/ 6162 h 10021"/>
                <a:gd name="connsiteX0" fmla="*/ 10000 w 10000"/>
                <a:gd name="connsiteY0" fmla="*/ 6162 h 10021"/>
                <a:gd name="connsiteX1" fmla="*/ 10000 w 10000"/>
                <a:gd name="connsiteY1" fmla="*/ 6162 h 10021"/>
                <a:gd name="connsiteX2" fmla="*/ 9911 w 10000"/>
                <a:gd name="connsiteY2" fmla="*/ 6148 h 10021"/>
                <a:gd name="connsiteX3" fmla="*/ 9815 w 10000"/>
                <a:gd name="connsiteY3" fmla="*/ 6130 h 10021"/>
                <a:gd name="connsiteX4" fmla="*/ 9726 w 10000"/>
                <a:gd name="connsiteY4" fmla="*/ 6112 h 10021"/>
                <a:gd name="connsiteX5" fmla="*/ 9637 w 10000"/>
                <a:gd name="connsiteY5" fmla="*/ 6089 h 10021"/>
                <a:gd name="connsiteX6" fmla="*/ 9548 w 10000"/>
                <a:gd name="connsiteY6" fmla="*/ 6070 h 10021"/>
                <a:gd name="connsiteX7" fmla="*/ 9466 w 10000"/>
                <a:gd name="connsiteY7" fmla="*/ 6048 h 10021"/>
                <a:gd name="connsiteX8" fmla="*/ 9377 w 10000"/>
                <a:gd name="connsiteY8" fmla="*/ 6025 h 10021"/>
                <a:gd name="connsiteX9" fmla="*/ 9288 w 10000"/>
                <a:gd name="connsiteY9" fmla="*/ 6002 h 10021"/>
                <a:gd name="connsiteX10" fmla="*/ 9118 w 10000"/>
                <a:gd name="connsiteY10" fmla="*/ 5951 h 10021"/>
                <a:gd name="connsiteX11" fmla="*/ 8955 w 10000"/>
                <a:gd name="connsiteY11" fmla="*/ 5896 h 10021"/>
                <a:gd name="connsiteX12" fmla="*/ 8792 w 10000"/>
                <a:gd name="connsiteY12" fmla="*/ 5837 h 10021"/>
                <a:gd name="connsiteX13" fmla="*/ 8636 w 10000"/>
                <a:gd name="connsiteY13" fmla="*/ 5773 h 10021"/>
                <a:gd name="connsiteX14" fmla="*/ 8480 w 10000"/>
                <a:gd name="connsiteY14" fmla="*/ 5708 h 10021"/>
                <a:gd name="connsiteX15" fmla="*/ 8340 w 10000"/>
                <a:gd name="connsiteY15" fmla="*/ 5640 h 10021"/>
                <a:gd name="connsiteX16" fmla="*/ 8199 w 10000"/>
                <a:gd name="connsiteY16" fmla="*/ 5566 h 10021"/>
                <a:gd name="connsiteX17" fmla="*/ 8058 w 10000"/>
                <a:gd name="connsiteY17" fmla="*/ 5488 h 10021"/>
                <a:gd name="connsiteX18" fmla="*/ 7924 w 10000"/>
                <a:gd name="connsiteY18" fmla="*/ 5406 h 10021"/>
                <a:gd name="connsiteX19" fmla="*/ 7798 w 10000"/>
                <a:gd name="connsiteY19" fmla="*/ 5323 h 10021"/>
                <a:gd name="connsiteX20" fmla="*/ 7672 w 10000"/>
                <a:gd name="connsiteY20" fmla="*/ 5236 h 10021"/>
                <a:gd name="connsiteX21" fmla="*/ 7554 w 10000"/>
                <a:gd name="connsiteY21" fmla="*/ 5149 h 10021"/>
                <a:gd name="connsiteX22" fmla="*/ 7450 w 10000"/>
                <a:gd name="connsiteY22" fmla="*/ 5053 h 10021"/>
                <a:gd name="connsiteX23" fmla="*/ 7346 w 10000"/>
                <a:gd name="connsiteY23" fmla="*/ 4957 h 10021"/>
                <a:gd name="connsiteX24" fmla="*/ 7250 w 10000"/>
                <a:gd name="connsiteY24" fmla="*/ 4861 h 10021"/>
                <a:gd name="connsiteX25" fmla="*/ 7161 w 10000"/>
                <a:gd name="connsiteY25" fmla="*/ 4760 h 10021"/>
                <a:gd name="connsiteX26" fmla="*/ 7072 w 10000"/>
                <a:gd name="connsiteY26" fmla="*/ 4659 h 10021"/>
                <a:gd name="connsiteX27" fmla="*/ 6990 w 10000"/>
                <a:gd name="connsiteY27" fmla="*/ 4549 h 10021"/>
                <a:gd name="connsiteX28" fmla="*/ 6953 w 10000"/>
                <a:gd name="connsiteY28" fmla="*/ 4499 h 10021"/>
                <a:gd name="connsiteX29" fmla="*/ 6916 w 10000"/>
                <a:gd name="connsiteY29" fmla="*/ 4444 h 10021"/>
                <a:gd name="connsiteX30" fmla="*/ 6887 w 10000"/>
                <a:gd name="connsiteY30" fmla="*/ 4389 h 10021"/>
                <a:gd name="connsiteX31" fmla="*/ 6850 w 10000"/>
                <a:gd name="connsiteY31" fmla="*/ 4334 h 10021"/>
                <a:gd name="connsiteX32" fmla="*/ 6820 w 10000"/>
                <a:gd name="connsiteY32" fmla="*/ 4279 h 10021"/>
                <a:gd name="connsiteX33" fmla="*/ 6790 w 10000"/>
                <a:gd name="connsiteY33" fmla="*/ 4224 h 10021"/>
                <a:gd name="connsiteX34" fmla="*/ 6768 w 10000"/>
                <a:gd name="connsiteY34" fmla="*/ 4164 h 10021"/>
                <a:gd name="connsiteX35" fmla="*/ 6738 w 10000"/>
                <a:gd name="connsiteY35" fmla="*/ 4109 h 10021"/>
                <a:gd name="connsiteX36" fmla="*/ 6723 w 10000"/>
                <a:gd name="connsiteY36" fmla="*/ 4049 h 10021"/>
                <a:gd name="connsiteX37" fmla="*/ 6694 w 10000"/>
                <a:gd name="connsiteY37" fmla="*/ 3994 h 10021"/>
                <a:gd name="connsiteX38" fmla="*/ 6679 w 10000"/>
                <a:gd name="connsiteY38" fmla="*/ 3935 h 10021"/>
                <a:gd name="connsiteX39" fmla="*/ 6664 w 10000"/>
                <a:gd name="connsiteY39" fmla="*/ 3875 h 10021"/>
                <a:gd name="connsiteX40" fmla="*/ 6649 w 10000"/>
                <a:gd name="connsiteY40" fmla="*/ 3816 h 10021"/>
                <a:gd name="connsiteX41" fmla="*/ 6635 w 10000"/>
                <a:gd name="connsiteY41" fmla="*/ 3761 h 10021"/>
                <a:gd name="connsiteX42" fmla="*/ 6620 w 10000"/>
                <a:gd name="connsiteY42" fmla="*/ 3701 h 10021"/>
                <a:gd name="connsiteX43" fmla="*/ 6612 w 10000"/>
                <a:gd name="connsiteY43" fmla="*/ 3642 h 10021"/>
                <a:gd name="connsiteX44" fmla="*/ 6605 w 10000"/>
                <a:gd name="connsiteY44" fmla="*/ 3582 h 10021"/>
                <a:gd name="connsiteX45" fmla="*/ 6597 w 10000"/>
                <a:gd name="connsiteY45" fmla="*/ 3518 h 10021"/>
                <a:gd name="connsiteX46" fmla="*/ 6597 w 10000"/>
                <a:gd name="connsiteY46" fmla="*/ 3458 h 10021"/>
                <a:gd name="connsiteX47" fmla="*/ 6590 w 10000"/>
                <a:gd name="connsiteY47" fmla="*/ 3394 h 10021"/>
                <a:gd name="connsiteX48" fmla="*/ 6597 w 10000"/>
                <a:gd name="connsiteY48" fmla="*/ 3334 h 10021"/>
                <a:gd name="connsiteX49" fmla="*/ 6605 w 10000"/>
                <a:gd name="connsiteY49" fmla="*/ 3266 h 10021"/>
                <a:gd name="connsiteX50" fmla="*/ 6605 w 10000"/>
                <a:gd name="connsiteY50" fmla="*/ 3202 h 10021"/>
                <a:gd name="connsiteX51" fmla="*/ 6612 w 10000"/>
                <a:gd name="connsiteY51" fmla="*/ 3137 h 10021"/>
                <a:gd name="connsiteX52" fmla="*/ 6620 w 10000"/>
                <a:gd name="connsiteY52" fmla="*/ 3073 h 10021"/>
                <a:gd name="connsiteX53" fmla="*/ 6635 w 10000"/>
                <a:gd name="connsiteY53" fmla="*/ 3014 h 10021"/>
                <a:gd name="connsiteX54" fmla="*/ 6649 w 10000"/>
                <a:gd name="connsiteY54" fmla="*/ 2950 h 10021"/>
                <a:gd name="connsiteX55" fmla="*/ 6664 w 10000"/>
                <a:gd name="connsiteY55" fmla="*/ 2890 h 10021"/>
                <a:gd name="connsiteX56" fmla="*/ 6686 w 10000"/>
                <a:gd name="connsiteY56" fmla="*/ 2826 h 10021"/>
                <a:gd name="connsiteX57" fmla="*/ 6709 w 10000"/>
                <a:gd name="connsiteY57" fmla="*/ 2766 h 10021"/>
                <a:gd name="connsiteX58" fmla="*/ 6731 w 10000"/>
                <a:gd name="connsiteY58" fmla="*/ 2707 h 10021"/>
                <a:gd name="connsiteX59" fmla="*/ 6753 w 10000"/>
                <a:gd name="connsiteY59" fmla="*/ 2642 h 10021"/>
                <a:gd name="connsiteX60" fmla="*/ 6783 w 10000"/>
                <a:gd name="connsiteY60" fmla="*/ 2587 h 10021"/>
                <a:gd name="connsiteX61" fmla="*/ 6812 w 10000"/>
                <a:gd name="connsiteY61" fmla="*/ 2528 h 10021"/>
                <a:gd name="connsiteX62" fmla="*/ 6842 w 10000"/>
                <a:gd name="connsiteY62" fmla="*/ 2468 h 10021"/>
                <a:gd name="connsiteX63" fmla="*/ 6879 w 10000"/>
                <a:gd name="connsiteY63" fmla="*/ 2409 h 10021"/>
                <a:gd name="connsiteX64" fmla="*/ 6909 w 10000"/>
                <a:gd name="connsiteY64" fmla="*/ 2354 h 10021"/>
                <a:gd name="connsiteX65" fmla="*/ 6946 w 10000"/>
                <a:gd name="connsiteY65" fmla="*/ 2294 h 10021"/>
                <a:gd name="connsiteX66" fmla="*/ 6990 w 10000"/>
                <a:gd name="connsiteY66" fmla="*/ 2239 h 10021"/>
                <a:gd name="connsiteX67" fmla="*/ 7027 w 10000"/>
                <a:gd name="connsiteY67" fmla="*/ 2184 h 10021"/>
                <a:gd name="connsiteX68" fmla="*/ 7072 w 10000"/>
                <a:gd name="connsiteY68" fmla="*/ 2129 h 10021"/>
                <a:gd name="connsiteX69" fmla="*/ 7109 w 10000"/>
                <a:gd name="connsiteY69" fmla="*/ 2074 h 10021"/>
                <a:gd name="connsiteX70" fmla="*/ 7161 w 10000"/>
                <a:gd name="connsiteY70" fmla="*/ 2024 h 10021"/>
                <a:gd name="connsiteX71" fmla="*/ 7213 w 10000"/>
                <a:gd name="connsiteY71" fmla="*/ 1969 h 10021"/>
                <a:gd name="connsiteX72" fmla="*/ 7257 w 10000"/>
                <a:gd name="connsiteY72" fmla="*/ 1914 h 10021"/>
                <a:gd name="connsiteX73" fmla="*/ 7309 w 10000"/>
                <a:gd name="connsiteY73" fmla="*/ 1863 h 10021"/>
                <a:gd name="connsiteX74" fmla="*/ 7361 w 10000"/>
                <a:gd name="connsiteY74" fmla="*/ 1813 h 10021"/>
                <a:gd name="connsiteX75" fmla="*/ 7413 w 10000"/>
                <a:gd name="connsiteY75" fmla="*/ 1763 h 10021"/>
                <a:gd name="connsiteX76" fmla="*/ 7472 w 10000"/>
                <a:gd name="connsiteY76" fmla="*/ 1712 h 10021"/>
                <a:gd name="connsiteX77" fmla="*/ 7524 w 10000"/>
                <a:gd name="connsiteY77" fmla="*/ 1666 h 10021"/>
                <a:gd name="connsiteX78" fmla="*/ 7583 w 10000"/>
                <a:gd name="connsiteY78" fmla="*/ 1620 h 10021"/>
                <a:gd name="connsiteX79" fmla="*/ 7643 w 10000"/>
                <a:gd name="connsiteY79" fmla="*/ 1570 h 10021"/>
                <a:gd name="connsiteX80" fmla="*/ 5390 w 10000"/>
                <a:gd name="connsiteY80" fmla="*/ 14 h 10021"/>
                <a:gd name="connsiteX81" fmla="*/ 1401 w 10000"/>
                <a:gd name="connsiteY81" fmla="*/ 0 h 10021"/>
                <a:gd name="connsiteX82" fmla="*/ 1305 w 10000"/>
                <a:gd name="connsiteY82" fmla="*/ 149 h 10021"/>
                <a:gd name="connsiteX83" fmla="*/ 1223 w 10000"/>
                <a:gd name="connsiteY83" fmla="*/ 241 h 10021"/>
                <a:gd name="connsiteX84" fmla="*/ 1149 w 10000"/>
                <a:gd name="connsiteY84" fmla="*/ 337 h 10021"/>
                <a:gd name="connsiteX85" fmla="*/ 1067 w 10000"/>
                <a:gd name="connsiteY85" fmla="*/ 433 h 10021"/>
                <a:gd name="connsiteX86" fmla="*/ 1001 w 10000"/>
                <a:gd name="connsiteY86" fmla="*/ 530 h 10021"/>
                <a:gd name="connsiteX87" fmla="*/ 927 w 10000"/>
                <a:gd name="connsiteY87" fmla="*/ 626 h 10021"/>
                <a:gd name="connsiteX88" fmla="*/ 860 w 10000"/>
                <a:gd name="connsiteY88" fmla="*/ 727 h 10021"/>
                <a:gd name="connsiteX89" fmla="*/ 793 w 10000"/>
                <a:gd name="connsiteY89" fmla="*/ 828 h 10021"/>
                <a:gd name="connsiteX90" fmla="*/ 734 w 10000"/>
                <a:gd name="connsiteY90" fmla="*/ 924 h 10021"/>
                <a:gd name="connsiteX91" fmla="*/ 675 w 10000"/>
                <a:gd name="connsiteY91" fmla="*/ 1025 h 10021"/>
                <a:gd name="connsiteX92" fmla="*/ 615 w 10000"/>
                <a:gd name="connsiteY92" fmla="*/ 1125 h 10021"/>
                <a:gd name="connsiteX93" fmla="*/ 556 w 10000"/>
                <a:gd name="connsiteY93" fmla="*/ 1231 h 10021"/>
                <a:gd name="connsiteX94" fmla="*/ 504 w 10000"/>
                <a:gd name="connsiteY94" fmla="*/ 1327 h 10021"/>
                <a:gd name="connsiteX95" fmla="*/ 452 w 10000"/>
                <a:gd name="connsiteY95" fmla="*/ 1433 h 10021"/>
                <a:gd name="connsiteX96" fmla="*/ 408 w 10000"/>
                <a:gd name="connsiteY96" fmla="*/ 1533 h 10021"/>
                <a:gd name="connsiteX97" fmla="*/ 363 w 10000"/>
                <a:gd name="connsiteY97" fmla="*/ 1639 h 10021"/>
                <a:gd name="connsiteX98" fmla="*/ 319 w 10000"/>
                <a:gd name="connsiteY98" fmla="*/ 1744 h 10021"/>
                <a:gd name="connsiteX99" fmla="*/ 282 w 10000"/>
                <a:gd name="connsiteY99" fmla="*/ 1850 h 10021"/>
                <a:gd name="connsiteX100" fmla="*/ 237 w 10000"/>
                <a:gd name="connsiteY100" fmla="*/ 1960 h 10021"/>
                <a:gd name="connsiteX101" fmla="*/ 208 w 10000"/>
                <a:gd name="connsiteY101" fmla="*/ 2065 h 10021"/>
                <a:gd name="connsiteX102" fmla="*/ 170 w 10000"/>
                <a:gd name="connsiteY102" fmla="*/ 2175 h 10021"/>
                <a:gd name="connsiteX103" fmla="*/ 148 w 10000"/>
                <a:gd name="connsiteY103" fmla="*/ 2285 h 10021"/>
                <a:gd name="connsiteX104" fmla="*/ 119 w 10000"/>
                <a:gd name="connsiteY104" fmla="*/ 2390 h 10021"/>
                <a:gd name="connsiteX105" fmla="*/ 96 w 10000"/>
                <a:gd name="connsiteY105" fmla="*/ 2500 h 10021"/>
                <a:gd name="connsiteX106" fmla="*/ 74 w 10000"/>
                <a:gd name="connsiteY106" fmla="*/ 2610 h 10021"/>
                <a:gd name="connsiteX107" fmla="*/ 52 w 10000"/>
                <a:gd name="connsiteY107" fmla="*/ 2725 h 10021"/>
                <a:gd name="connsiteX108" fmla="*/ 37 w 10000"/>
                <a:gd name="connsiteY108" fmla="*/ 2835 h 10021"/>
                <a:gd name="connsiteX109" fmla="*/ 22 w 10000"/>
                <a:gd name="connsiteY109" fmla="*/ 2945 h 10021"/>
                <a:gd name="connsiteX110" fmla="*/ 15 w 10000"/>
                <a:gd name="connsiteY110" fmla="*/ 3055 h 10021"/>
                <a:gd name="connsiteX111" fmla="*/ 7 w 10000"/>
                <a:gd name="connsiteY111" fmla="*/ 3169 h 10021"/>
                <a:gd name="connsiteX112" fmla="*/ 0 w 10000"/>
                <a:gd name="connsiteY112" fmla="*/ 3279 h 10021"/>
                <a:gd name="connsiteX113" fmla="*/ 0 w 10000"/>
                <a:gd name="connsiteY113" fmla="*/ 3394 h 10021"/>
                <a:gd name="connsiteX114" fmla="*/ 7 w 10000"/>
                <a:gd name="connsiteY114" fmla="*/ 3541 h 10021"/>
                <a:gd name="connsiteX115" fmla="*/ 7 w 10000"/>
                <a:gd name="connsiteY115" fmla="*/ 3687 h 10021"/>
                <a:gd name="connsiteX116" fmla="*/ 22 w 10000"/>
                <a:gd name="connsiteY116" fmla="*/ 3825 h 10021"/>
                <a:gd name="connsiteX117" fmla="*/ 37 w 10000"/>
                <a:gd name="connsiteY117" fmla="*/ 3967 h 10021"/>
                <a:gd name="connsiteX118" fmla="*/ 59 w 10000"/>
                <a:gd name="connsiteY118" fmla="*/ 4109 h 10021"/>
                <a:gd name="connsiteX119" fmla="*/ 89 w 10000"/>
                <a:gd name="connsiteY119" fmla="*/ 4251 h 10021"/>
                <a:gd name="connsiteX120" fmla="*/ 119 w 10000"/>
                <a:gd name="connsiteY120" fmla="*/ 4393 h 10021"/>
                <a:gd name="connsiteX121" fmla="*/ 148 w 10000"/>
                <a:gd name="connsiteY121" fmla="*/ 4535 h 10021"/>
                <a:gd name="connsiteX122" fmla="*/ 193 w 10000"/>
                <a:gd name="connsiteY122" fmla="*/ 4673 h 10021"/>
                <a:gd name="connsiteX123" fmla="*/ 237 w 10000"/>
                <a:gd name="connsiteY123" fmla="*/ 4810 h 10021"/>
                <a:gd name="connsiteX124" fmla="*/ 282 w 10000"/>
                <a:gd name="connsiteY124" fmla="*/ 4948 h 10021"/>
                <a:gd name="connsiteX125" fmla="*/ 334 w 10000"/>
                <a:gd name="connsiteY125" fmla="*/ 5085 h 10021"/>
                <a:gd name="connsiteX126" fmla="*/ 393 w 10000"/>
                <a:gd name="connsiteY126" fmla="*/ 5218 h 10021"/>
                <a:gd name="connsiteX127" fmla="*/ 452 w 10000"/>
                <a:gd name="connsiteY127" fmla="*/ 5351 h 10021"/>
                <a:gd name="connsiteX128" fmla="*/ 519 w 10000"/>
                <a:gd name="connsiteY128" fmla="*/ 5484 h 10021"/>
                <a:gd name="connsiteX129" fmla="*/ 586 w 10000"/>
                <a:gd name="connsiteY129" fmla="*/ 5617 h 10021"/>
                <a:gd name="connsiteX130" fmla="*/ 660 w 10000"/>
                <a:gd name="connsiteY130" fmla="*/ 5745 h 10021"/>
                <a:gd name="connsiteX131" fmla="*/ 741 w 10000"/>
                <a:gd name="connsiteY131" fmla="*/ 5873 h 10021"/>
                <a:gd name="connsiteX132" fmla="*/ 823 w 10000"/>
                <a:gd name="connsiteY132" fmla="*/ 6006 h 10021"/>
                <a:gd name="connsiteX133" fmla="*/ 904 w 10000"/>
                <a:gd name="connsiteY133" fmla="*/ 6130 h 10021"/>
                <a:gd name="connsiteX134" fmla="*/ 993 w 10000"/>
                <a:gd name="connsiteY134" fmla="*/ 6254 h 10021"/>
                <a:gd name="connsiteX135" fmla="*/ 1090 w 10000"/>
                <a:gd name="connsiteY135" fmla="*/ 6373 h 10021"/>
                <a:gd name="connsiteX136" fmla="*/ 1186 w 10000"/>
                <a:gd name="connsiteY136" fmla="*/ 6497 h 10021"/>
                <a:gd name="connsiteX137" fmla="*/ 1290 w 10000"/>
                <a:gd name="connsiteY137" fmla="*/ 6620 h 10021"/>
                <a:gd name="connsiteX138" fmla="*/ 1386 w 10000"/>
                <a:gd name="connsiteY138" fmla="*/ 6740 h 10021"/>
                <a:gd name="connsiteX139" fmla="*/ 1497 w 10000"/>
                <a:gd name="connsiteY139" fmla="*/ 6859 h 10021"/>
                <a:gd name="connsiteX140" fmla="*/ 1609 w 10000"/>
                <a:gd name="connsiteY140" fmla="*/ 6973 h 10021"/>
                <a:gd name="connsiteX141" fmla="*/ 1727 w 10000"/>
                <a:gd name="connsiteY141" fmla="*/ 7092 h 10021"/>
                <a:gd name="connsiteX142" fmla="*/ 1846 w 10000"/>
                <a:gd name="connsiteY142" fmla="*/ 7207 h 10021"/>
                <a:gd name="connsiteX143" fmla="*/ 1964 w 10000"/>
                <a:gd name="connsiteY143" fmla="*/ 7317 h 10021"/>
                <a:gd name="connsiteX144" fmla="*/ 2090 w 10000"/>
                <a:gd name="connsiteY144" fmla="*/ 7427 h 10021"/>
                <a:gd name="connsiteX145" fmla="*/ 2224 w 10000"/>
                <a:gd name="connsiteY145" fmla="*/ 7537 h 10021"/>
                <a:gd name="connsiteX146" fmla="*/ 2350 w 10000"/>
                <a:gd name="connsiteY146" fmla="*/ 7647 h 10021"/>
                <a:gd name="connsiteX147" fmla="*/ 2491 w 10000"/>
                <a:gd name="connsiteY147" fmla="*/ 7752 h 10021"/>
                <a:gd name="connsiteX148" fmla="*/ 2617 w 10000"/>
                <a:gd name="connsiteY148" fmla="*/ 7858 h 10021"/>
                <a:gd name="connsiteX149" fmla="*/ 2765 w 10000"/>
                <a:gd name="connsiteY149" fmla="*/ 7959 h 10021"/>
                <a:gd name="connsiteX150" fmla="*/ 2906 w 10000"/>
                <a:gd name="connsiteY150" fmla="*/ 8059 h 10021"/>
                <a:gd name="connsiteX151" fmla="*/ 3054 w 10000"/>
                <a:gd name="connsiteY151" fmla="*/ 8160 h 10021"/>
                <a:gd name="connsiteX152" fmla="*/ 3210 w 10000"/>
                <a:gd name="connsiteY152" fmla="*/ 8257 h 10021"/>
                <a:gd name="connsiteX153" fmla="*/ 3358 w 10000"/>
                <a:gd name="connsiteY153" fmla="*/ 8353 h 10021"/>
                <a:gd name="connsiteX154" fmla="*/ 3514 w 10000"/>
                <a:gd name="connsiteY154" fmla="*/ 8449 h 10021"/>
                <a:gd name="connsiteX155" fmla="*/ 3677 w 10000"/>
                <a:gd name="connsiteY155" fmla="*/ 8541 h 10021"/>
                <a:gd name="connsiteX156" fmla="*/ 3840 w 10000"/>
                <a:gd name="connsiteY156" fmla="*/ 8628 h 10021"/>
                <a:gd name="connsiteX157" fmla="*/ 4010 w 10000"/>
                <a:gd name="connsiteY157" fmla="*/ 8719 h 10021"/>
                <a:gd name="connsiteX158" fmla="*/ 4181 w 10000"/>
                <a:gd name="connsiteY158" fmla="*/ 8797 h 10021"/>
                <a:gd name="connsiteX159" fmla="*/ 4351 w 10000"/>
                <a:gd name="connsiteY159" fmla="*/ 8884 h 10021"/>
                <a:gd name="connsiteX160" fmla="*/ 4522 w 10000"/>
                <a:gd name="connsiteY160" fmla="*/ 8962 h 10021"/>
                <a:gd name="connsiteX161" fmla="*/ 4700 w 10000"/>
                <a:gd name="connsiteY161" fmla="*/ 9045 h 10021"/>
                <a:gd name="connsiteX162" fmla="*/ 4878 w 10000"/>
                <a:gd name="connsiteY162" fmla="*/ 9123 h 10021"/>
                <a:gd name="connsiteX163" fmla="*/ 5063 w 10000"/>
                <a:gd name="connsiteY163" fmla="*/ 9196 h 10021"/>
                <a:gd name="connsiteX164" fmla="*/ 5248 w 10000"/>
                <a:gd name="connsiteY164" fmla="*/ 9274 h 10021"/>
                <a:gd name="connsiteX165" fmla="*/ 5426 w 10000"/>
                <a:gd name="connsiteY165" fmla="*/ 9343 h 10021"/>
                <a:gd name="connsiteX166" fmla="*/ 5619 w 10000"/>
                <a:gd name="connsiteY166" fmla="*/ 9411 h 10021"/>
                <a:gd name="connsiteX167" fmla="*/ 5812 w 10000"/>
                <a:gd name="connsiteY167" fmla="*/ 9480 h 10021"/>
                <a:gd name="connsiteX168" fmla="*/ 6004 w 10000"/>
                <a:gd name="connsiteY168" fmla="*/ 9544 h 10021"/>
                <a:gd name="connsiteX169" fmla="*/ 6205 w 10000"/>
                <a:gd name="connsiteY169" fmla="*/ 9609 h 10021"/>
                <a:gd name="connsiteX170" fmla="*/ 6397 w 10000"/>
                <a:gd name="connsiteY170" fmla="*/ 9668 h 10021"/>
                <a:gd name="connsiteX171" fmla="*/ 6605 w 10000"/>
                <a:gd name="connsiteY171" fmla="*/ 9723 h 10021"/>
                <a:gd name="connsiteX172" fmla="*/ 6805 w 10000"/>
                <a:gd name="connsiteY172" fmla="*/ 9778 h 10021"/>
                <a:gd name="connsiteX173" fmla="*/ 7005 w 10000"/>
                <a:gd name="connsiteY173" fmla="*/ 9833 h 10021"/>
                <a:gd name="connsiteX174" fmla="*/ 7213 w 10000"/>
                <a:gd name="connsiteY174" fmla="*/ 9884 h 10021"/>
                <a:gd name="connsiteX175" fmla="*/ 7420 w 10000"/>
                <a:gd name="connsiteY175" fmla="*/ 9929 h 10021"/>
                <a:gd name="connsiteX176" fmla="*/ 7628 w 10000"/>
                <a:gd name="connsiteY176" fmla="*/ 9975 h 10021"/>
                <a:gd name="connsiteX177" fmla="*/ 7835 w 10000"/>
                <a:gd name="connsiteY177" fmla="*/ 10021 h 10021"/>
                <a:gd name="connsiteX178" fmla="*/ 7539 w 10000"/>
                <a:gd name="connsiteY178" fmla="*/ 7775 h 10021"/>
                <a:gd name="connsiteX179" fmla="*/ 10000 w 10000"/>
                <a:gd name="connsiteY179" fmla="*/ 6162 h 10021"/>
                <a:gd name="connsiteX0" fmla="*/ 10000 w 10000"/>
                <a:gd name="connsiteY0" fmla="*/ 6148 h 10007"/>
                <a:gd name="connsiteX1" fmla="*/ 10000 w 10000"/>
                <a:gd name="connsiteY1" fmla="*/ 6148 h 10007"/>
                <a:gd name="connsiteX2" fmla="*/ 9911 w 10000"/>
                <a:gd name="connsiteY2" fmla="*/ 6134 h 10007"/>
                <a:gd name="connsiteX3" fmla="*/ 9815 w 10000"/>
                <a:gd name="connsiteY3" fmla="*/ 6116 h 10007"/>
                <a:gd name="connsiteX4" fmla="*/ 9726 w 10000"/>
                <a:gd name="connsiteY4" fmla="*/ 6098 h 10007"/>
                <a:gd name="connsiteX5" fmla="*/ 9637 w 10000"/>
                <a:gd name="connsiteY5" fmla="*/ 6075 h 10007"/>
                <a:gd name="connsiteX6" fmla="*/ 9548 w 10000"/>
                <a:gd name="connsiteY6" fmla="*/ 6056 h 10007"/>
                <a:gd name="connsiteX7" fmla="*/ 9466 w 10000"/>
                <a:gd name="connsiteY7" fmla="*/ 6034 h 10007"/>
                <a:gd name="connsiteX8" fmla="*/ 9377 w 10000"/>
                <a:gd name="connsiteY8" fmla="*/ 6011 h 10007"/>
                <a:gd name="connsiteX9" fmla="*/ 9288 w 10000"/>
                <a:gd name="connsiteY9" fmla="*/ 5988 h 10007"/>
                <a:gd name="connsiteX10" fmla="*/ 9118 w 10000"/>
                <a:gd name="connsiteY10" fmla="*/ 5937 h 10007"/>
                <a:gd name="connsiteX11" fmla="*/ 8955 w 10000"/>
                <a:gd name="connsiteY11" fmla="*/ 5882 h 10007"/>
                <a:gd name="connsiteX12" fmla="*/ 8792 w 10000"/>
                <a:gd name="connsiteY12" fmla="*/ 5823 h 10007"/>
                <a:gd name="connsiteX13" fmla="*/ 8636 w 10000"/>
                <a:gd name="connsiteY13" fmla="*/ 5759 h 10007"/>
                <a:gd name="connsiteX14" fmla="*/ 8480 w 10000"/>
                <a:gd name="connsiteY14" fmla="*/ 5694 h 10007"/>
                <a:gd name="connsiteX15" fmla="*/ 8340 w 10000"/>
                <a:gd name="connsiteY15" fmla="*/ 5626 h 10007"/>
                <a:gd name="connsiteX16" fmla="*/ 8199 w 10000"/>
                <a:gd name="connsiteY16" fmla="*/ 5552 h 10007"/>
                <a:gd name="connsiteX17" fmla="*/ 8058 w 10000"/>
                <a:gd name="connsiteY17" fmla="*/ 5474 h 10007"/>
                <a:gd name="connsiteX18" fmla="*/ 7924 w 10000"/>
                <a:gd name="connsiteY18" fmla="*/ 5392 h 10007"/>
                <a:gd name="connsiteX19" fmla="*/ 7798 w 10000"/>
                <a:gd name="connsiteY19" fmla="*/ 5309 h 10007"/>
                <a:gd name="connsiteX20" fmla="*/ 7672 w 10000"/>
                <a:gd name="connsiteY20" fmla="*/ 5222 h 10007"/>
                <a:gd name="connsiteX21" fmla="*/ 7554 w 10000"/>
                <a:gd name="connsiteY21" fmla="*/ 5135 h 10007"/>
                <a:gd name="connsiteX22" fmla="*/ 7450 w 10000"/>
                <a:gd name="connsiteY22" fmla="*/ 5039 h 10007"/>
                <a:gd name="connsiteX23" fmla="*/ 7346 w 10000"/>
                <a:gd name="connsiteY23" fmla="*/ 4943 h 10007"/>
                <a:gd name="connsiteX24" fmla="*/ 7250 w 10000"/>
                <a:gd name="connsiteY24" fmla="*/ 4847 h 10007"/>
                <a:gd name="connsiteX25" fmla="*/ 7161 w 10000"/>
                <a:gd name="connsiteY25" fmla="*/ 4746 h 10007"/>
                <a:gd name="connsiteX26" fmla="*/ 7072 w 10000"/>
                <a:gd name="connsiteY26" fmla="*/ 4645 h 10007"/>
                <a:gd name="connsiteX27" fmla="*/ 6990 w 10000"/>
                <a:gd name="connsiteY27" fmla="*/ 4535 h 10007"/>
                <a:gd name="connsiteX28" fmla="*/ 6953 w 10000"/>
                <a:gd name="connsiteY28" fmla="*/ 4485 h 10007"/>
                <a:gd name="connsiteX29" fmla="*/ 6916 w 10000"/>
                <a:gd name="connsiteY29" fmla="*/ 4430 h 10007"/>
                <a:gd name="connsiteX30" fmla="*/ 6887 w 10000"/>
                <a:gd name="connsiteY30" fmla="*/ 4375 h 10007"/>
                <a:gd name="connsiteX31" fmla="*/ 6850 w 10000"/>
                <a:gd name="connsiteY31" fmla="*/ 4320 h 10007"/>
                <a:gd name="connsiteX32" fmla="*/ 6820 w 10000"/>
                <a:gd name="connsiteY32" fmla="*/ 4265 h 10007"/>
                <a:gd name="connsiteX33" fmla="*/ 6790 w 10000"/>
                <a:gd name="connsiteY33" fmla="*/ 4210 h 10007"/>
                <a:gd name="connsiteX34" fmla="*/ 6768 w 10000"/>
                <a:gd name="connsiteY34" fmla="*/ 4150 h 10007"/>
                <a:gd name="connsiteX35" fmla="*/ 6738 w 10000"/>
                <a:gd name="connsiteY35" fmla="*/ 4095 h 10007"/>
                <a:gd name="connsiteX36" fmla="*/ 6723 w 10000"/>
                <a:gd name="connsiteY36" fmla="*/ 4035 h 10007"/>
                <a:gd name="connsiteX37" fmla="*/ 6694 w 10000"/>
                <a:gd name="connsiteY37" fmla="*/ 3980 h 10007"/>
                <a:gd name="connsiteX38" fmla="*/ 6679 w 10000"/>
                <a:gd name="connsiteY38" fmla="*/ 3921 h 10007"/>
                <a:gd name="connsiteX39" fmla="*/ 6664 w 10000"/>
                <a:gd name="connsiteY39" fmla="*/ 3861 h 10007"/>
                <a:gd name="connsiteX40" fmla="*/ 6649 w 10000"/>
                <a:gd name="connsiteY40" fmla="*/ 3802 h 10007"/>
                <a:gd name="connsiteX41" fmla="*/ 6635 w 10000"/>
                <a:gd name="connsiteY41" fmla="*/ 3747 h 10007"/>
                <a:gd name="connsiteX42" fmla="*/ 6620 w 10000"/>
                <a:gd name="connsiteY42" fmla="*/ 3687 h 10007"/>
                <a:gd name="connsiteX43" fmla="*/ 6612 w 10000"/>
                <a:gd name="connsiteY43" fmla="*/ 3628 h 10007"/>
                <a:gd name="connsiteX44" fmla="*/ 6605 w 10000"/>
                <a:gd name="connsiteY44" fmla="*/ 3568 h 10007"/>
                <a:gd name="connsiteX45" fmla="*/ 6597 w 10000"/>
                <a:gd name="connsiteY45" fmla="*/ 3504 h 10007"/>
                <a:gd name="connsiteX46" fmla="*/ 6597 w 10000"/>
                <a:gd name="connsiteY46" fmla="*/ 3444 h 10007"/>
                <a:gd name="connsiteX47" fmla="*/ 6590 w 10000"/>
                <a:gd name="connsiteY47" fmla="*/ 3380 h 10007"/>
                <a:gd name="connsiteX48" fmla="*/ 6597 w 10000"/>
                <a:gd name="connsiteY48" fmla="*/ 3320 h 10007"/>
                <a:gd name="connsiteX49" fmla="*/ 6605 w 10000"/>
                <a:gd name="connsiteY49" fmla="*/ 3252 h 10007"/>
                <a:gd name="connsiteX50" fmla="*/ 6605 w 10000"/>
                <a:gd name="connsiteY50" fmla="*/ 3188 h 10007"/>
                <a:gd name="connsiteX51" fmla="*/ 6612 w 10000"/>
                <a:gd name="connsiteY51" fmla="*/ 3123 h 10007"/>
                <a:gd name="connsiteX52" fmla="*/ 6620 w 10000"/>
                <a:gd name="connsiteY52" fmla="*/ 3059 h 10007"/>
                <a:gd name="connsiteX53" fmla="*/ 6635 w 10000"/>
                <a:gd name="connsiteY53" fmla="*/ 3000 h 10007"/>
                <a:gd name="connsiteX54" fmla="*/ 6649 w 10000"/>
                <a:gd name="connsiteY54" fmla="*/ 2936 h 10007"/>
                <a:gd name="connsiteX55" fmla="*/ 6664 w 10000"/>
                <a:gd name="connsiteY55" fmla="*/ 2876 h 10007"/>
                <a:gd name="connsiteX56" fmla="*/ 6686 w 10000"/>
                <a:gd name="connsiteY56" fmla="*/ 2812 h 10007"/>
                <a:gd name="connsiteX57" fmla="*/ 6709 w 10000"/>
                <a:gd name="connsiteY57" fmla="*/ 2752 h 10007"/>
                <a:gd name="connsiteX58" fmla="*/ 6731 w 10000"/>
                <a:gd name="connsiteY58" fmla="*/ 2693 h 10007"/>
                <a:gd name="connsiteX59" fmla="*/ 6753 w 10000"/>
                <a:gd name="connsiteY59" fmla="*/ 2628 h 10007"/>
                <a:gd name="connsiteX60" fmla="*/ 6783 w 10000"/>
                <a:gd name="connsiteY60" fmla="*/ 2573 h 10007"/>
                <a:gd name="connsiteX61" fmla="*/ 6812 w 10000"/>
                <a:gd name="connsiteY61" fmla="*/ 2514 h 10007"/>
                <a:gd name="connsiteX62" fmla="*/ 6842 w 10000"/>
                <a:gd name="connsiteY62" fmla="*/ 2454 h 10007"/>
                <a:gd name="connsiteX63" fmla="*/ 6879 w 10000"/>
                <a:gd name="connsiteY63" fmla="*/ 2395 h 10007"/>
                <a:gd name="connsiteX64" fmla="*/ 6909 w 10000"/>
                <a:gd name="connsiteY64" fmla="*/ 2340 h 10007"/>
                <a:gd name="connsiteX65" fmla="*/ 6946 w 10000"/>
                <a:gd name="connsiteY65" fmla="*/ 2280 h 10007"/>
                <a:gd name="connsiteX66" fmla="*/ 6990 w 10000"/>
                <a:gd name="connsiteY66" fmla="*/ 2225 h 10007"/>
                <a:gd name="connsiteX67" fmla="*/ 7027 w 10000"/>
                <a:gd name="connsiteY67" fmla="*/ 2170 h 10007"/>
                <a:gd name="connsiteX68" fmla="*/ 7072 w 10000"/>
                <a:gd name="connsiteY68" fmla="*/ 2115 h 10007"/>
                <a:gd name="connsiteX69" fmla="*/ 7109 w 10000"/>
                <a:gd name="connsiteY69" fmla="*/ 2060 h 10007"/>
                <a:gd name="connsiteX70" fmla="*/ 7161 w 10000"/>
                <a:gd name="connsiteY70" fmla="*/ 2010 h 10007"/>
                <a:gd name="connsiteX71" fmla="*/ 7213 w 10000"/>
                <a:gd name="connsiteY71" fmla="*/ 1955 h 10007"/>
                <a:gd name="connsiteX72" fmla="*/ 7257 w 10000"/>
                <a:gd name="connsiteY72" fmla="*/ 1900 h 10007"/>
                <a:gd name="connsiteX73" fmla="*/ 7309 w 10000"/>
                <a:gd name="connsiteY73" fmla="*/ 1849 h 10007"/>
                <a:gd name="connsiteX74" fmla="*/ 7361 w 10000"/>
                <a:gd name="connsiteY74" fmla="*/ 1799 h 10007"/>
                <a:gd name="connsiteX75" fmla="*/ 7413 w 10000"/>
                <a:gd name="connsiteY75" fmla="*/ 1749 h 10007"/>
                <a:gd name="connsiteX76" fmla="*/ 7472 w 10000"/>
                <a:gd name="connsiteY76" fmla="*/ 1698 h 10007"/>
                <a:gd name="connsiteX77" fmla="*/ 7524 w 10000"/>
                <a:gd name="connsiteY77" fmla="*/ 1652 h 10007"/>
                <a:gd name="connsiteX78" fmla="*/ 7583 w 10000"/>
                <a:gd name="connsiteY78" fmla="*/ 1606 h 10007"/>
                <a:gd name="connsiteX79" fmla="*/ 7643 w 10000"/>
                <a:gd name="connsiteY79" fmla="*/ 1556 h 10007"/>
                <a:gd name="connsiteX80" fmla="*/ 5390 w 10000"/>
                <a:gd name="connsiteY80" fmla="*/ 0 h 10007"/>
                <a:gd name="connsiteX81" fmla="*/ 1401 w 10000"/>
                <a:gd name="connsiteY81" fmla="*/ 0 h 10007"/>
                <a:gd name="connsiteX82" fmla="*/ 1305 w 10000"/>
                <a:gd name="connsiteY82" fmla="*/ 135 h 10007"/>
                <a:gd name="connsiteX83" fmla="*/ 1223 w 10000"/>
                <a:gd name="connsiteY83" fmla="*/ 227 h 10007"/>
                <a:gd name="connsiteX84" fmla="*/ 1149 w 10000"/>
                <a:gd name="connsiteY84" fmla="*/ 323 h 10007"/>
                <a:gd name="connsiteX85" fmla="*/ 1067 w 10000"/>
                <a:gd name="connsiteY85" fmla="*/ 419 h 10007"/>
                <a:gd name="connsiteX86" fmla="*/ 1001 w 10000"/>
                <a:gd name="connsiteY86" fmla="*/ 516 h 10007"/>
                <a:gd name="connsiteX87" fmla="*/ 927 w 10000"/>
                <a:gd name="connsiteY87" fmla="*/ 612 h 10007"/>
                <a:gd name="connsiteX88" fmla="*/ 860 w 10000"/>
                <a:gd name="connsiteY88" fmla="*/ 713 h 10007"/>
                <a:gd name="connsiteX89" fmla="*/ 793 w 10000"/>
                <a:gd name="connsiteY89" fmla="*/ 814 h 10007"/>
                <a:gd name="connsiteX90" fmla="*/ 734 w 10000"/>
                <a:gd name="connsiteY90" fmla="*/ 910 h 10007"/>
                <a:gd name="connsiteX91" fmla="*/ 675 w 10000"/>
                <a:gd name="connsiteY91" fmla="*/ 1011 h 10007"/>
                <a:gd name="connsiteX92" fmla="*/ 615 w 10000"/>
                <a:gd name="connsiteY92" fmla="*/ 1111 h 10007"/>
                <a:gd name="connsiteX93" fmla="*/ 556 w 10000"/>
                <a:gd name="connsiteY93" fmla="*/ 1217 h 10007"/>
                <a:gd name="connsiteX94" fmla="*/ 504 w 10000"/>
                <a:gd name="connsiteY94" fmla="*/ 1313 h 10007"/>
                <a:gd name="connsiteX95" fmla="*/ 452 w 10000"/>
                <a:gd name="connsiteY95" fmla="*/ 1419 h 10007"/>
                <a:gd name="connsiteX96" fmla="*/ 408 w 10000"/>
                <a:gd name="connsiteY96" fmla="*/ 1519 h 10007"/>
                <a:gd name="connsiteX97" fmla="*/ 363 w 10000"/>
                <a:gd name="connsiteY97" fmla="*/ 1625 h 10007"/>
                <a:gd name="connsiteX98" fmla="*/ 319 w 10000"/>
                <a:gd name="connsiteY98" fmla="*/ 1730 h 10007"/>
                <a:gd name="connsiteX99" fmla="*/ 282 w 10000"/>
                <a:gd name="connsiteY99" fmla="*/ 1836 h 10007"/>
                <a:gd name="connsiteX100" fmla="*/ 237 w 10000"/>
                <a:gd name="connsiteY100" fmla="*/ 1946 h 10007"/>
                <a:gd name="connsiteX101" fmla="*/ 208 w 10000"/>
                <a:gd name="connsiteY101" fmla="*/ 2051 h 10007"/>
                <a:gd name="connsiteX102" fmla="*/ 170 w 10000"/>
                <a:gd name="connsiteY102" fmla="*/ 2161 h 10007"/>
                <a:gd name="connsiteX103" fmla="*/ 148 w 10000"/>
                <a:gd name="connsiteY103" fmla="*/ 2271 h 10007"/>
                <a:gd name="connsiteX104" fmla="*/ 119 w 10000"/>
                <a:gd name="connsiteY104" fmla="*/ 2376 h 10007"/>
                <a:gd name="connsiteX105" fmla="*/ 96 w 10000"/>
                <a:gd name="connsiteY105" fmla="*/ 2486 h 10007"/>
                <a:gd name="connsiteX106" fmla="*/ 74 w 10000"/>
                <a:gd name="connsiteY106" fmla="*/ 2596 h 10007"/>
                <a:gd name="connsiteX107" fmla="*/ 52 w 10000"/>
                <a:gd name="connsiteY107" fmla="*/ 2711 h 10007"/>
                <a:gd name="connsiteX108" fmla="*/ 37 w 10000"/>
                <a:gd name="connsiteY108" fmla="*/ 2821 h 10007"/>
                <a:gd name="connsiteX109" fmla="*/ 22 w 10000"/>
                <a:gd name="connsiteY109" fmla="*/ 2931 h 10007"/>
                <a:gd name="connsiteX110" fmla="*/ 15 w 10000"/>
                <a:gd name="connsiteY110" fmla="*/ 3041 h 10007"/>
                <a:gd name="connsiteX111" fmla="*/ 7 w 10000"/>
                <a:gd name="connsiteY111" fmla="*/ 3155 h 10007"/>
                <a:gd name="connsiteX112" fmla="*/ 0 w 10000"/>
                <a:gd name="connsiteY112" fmla="*/ 3265 h 10007"/>
                <a:gd name="connsiteX113" fmla="*/ 0 w 10000"/>
                <a:gd name="connsiteY113" fmla="*/ 3380 h 10007"/>
                <a:gd name="connsiteX114" fmla="*/ 7 w 10000"/>
                <a:gd name="connsiteY114" fmla="*/ 3527 h 10007"/>
                <a:gd name="connsiteX115" fmla="*/ 7 w 10000"/>
                <a:gd name="connsiteY115" fmla="*/ 3673 h 10007"/>
                <a:gd name="connsiteX116" fmla="*/ 22 w 10000"/>
                <a:gd name="connsiteY116" fmla="*/ 3811 h 10007"/>
                <a:gd name="connsiteX117" fmla="*/ 37 w 10000"/>
                <a:gd name="connsiteY117" fmla="*/ 3953 h 10007"/>
                <a:gd name="connsiteX118" fmla="*/ 59 w 10000"/>
                <a:gd name="connsiteY118" fmla="*/ 4095 h 10007"/>
                <a:gd name="connsiteX119" fmla="*/ 89 w 10000"/>
                <a:gd name="connsiteY119" fmla="*/ 4237 h 10007"/>
                <a:gd name="connsiteX120" fmla="*/ 119 w 10000"/>
                <a:gd name="connsiteY120" fmla="*/ 4379 h 10007"/>
                <a:gd name="connsiteX121" fmla="*/ 148 w 10000"/>
                <a:gd name="connsiteY121" fmla="*/ 4521 h 10007"/>
                <a:gd name="connsiteX122" fmla="*/ 193 w 10000"/>
                <a:gd name="connsiteY122" fmla="*/ 4659 h 10007"/>
                <a:gd name="connsiteX123" fmla="*/ 237 w 10000"/>
                <a:gd name="connsiteY123" fmla="*/ 4796 h 10007"/>
                <a:gd name="connsiteX124" fmla="*/ 282 w 10000"/>
                <a:gd name="connsiteY124" fmla="*/ 4934 h 10007"/>
                <a:gd name="connsiteX125" fmla="*/ 334 w 10000"/>
                <a:gd name="connsiteY125" fmla="*/ 5071 h 10007"/>
                <a:gd name="connsiteX126" fmla="*/ 393 w 10000"/>
                <a:gd name="connsiteY126" fmla="*/ 5204 h 10007"/>
                <a:gd name="connsiteX127" fmla="*/ 452 w 10000"/>
                <a:gd name="connsiteY127" fmla="*/ 5337 h 10007"/>
                <a:gd name="connsiteX128" fmla="*/ 519 w 10000"/>
                <a:gd name="connsiteY128" fmla="*/ 5470 h 10007"/>
                <a:gd name="connsiteX129" fmla="*/ 586 w 10000"/>
                <a:gd name="connsiteY129" fmla="*/ 5603 h 10007"/>
                <a:gd name="connsiteX130" fmla="*/ 660 w 10000"/>
                <a:gd name="connsiteY130" fmla="*/ 5731 h 10007"/>
                <a:gd name="connsiteX131" fmla="*/ 741 w 10000"/>
                <a:gd name="connsiteY131" fmla="*/ 5859 h 10007"/>
                <a:gd name="connsiteX132" fmla="*/ 823 w 10000"/>
                <a:gd name="connsiteY132" fmla="*/ 5992 h 10007"/>
                <a:gd name="connsiteX133" fmla="*/ 904 w 10000"/>
                <a:gd name="connsiteY133" fmla="*/ 6116 h 10007"/>
                <a:gd name="connsiteX134" fmla="*/ 993 w 10000"/>
                <a:gd name="connsiteY134" fmla="*/ 6240 h 10007"/>
                <a:gd name="connsiteX135" fmla="*/ 1090 w 10000"/>
                <a:gd name="connsiteY135" fmla="*/ 6359 h 10007"/>
                <a:gd name="connsiteX136" fmla="*/ 1186 w 10000"/>
                <a:gd name="connsiteY136" fmla="*/ 6483 h 10007"/>
                <a:gd name="connsiteX137" fmla="*/ 1290 w 10000"/>
                <a:gd name="connsiteY137" fmla="*/ 6606 h 10007"/>
                <a:gd name="connsiteX138" fmla="*/ 1386 w 10000"/>
                <a:gd name="connsiteY138" fmla="*/ 6726 h 10007"/>
                <a:gd name="connsiteX139" fmla="*/ 1497 w 10000"/>
                <a:gd name="connsiteY139" fmla="*/ 6845 h 10007"/>
                <a:gd name="connsiteX140" fmla="*/ 1609 w 10000"/>
                <a:gd name="connsiteY140" fmla="*/ 6959 h 10007"/>
                <a:gd name="connsiteX141" fmla="*/ 1727 w 10000"/>
                <a:gd name="connsiteY141" fmla="*/ 7078 h 10007"/>
                <a:gd name="connsiteX142" fmla="*/ 1846 w 10000"/>
                <a:gd name="connsiteY142" fmla="*/ 7193 h 10007"/>
                <a:gd name="connsiteX143" fmla="*/ 1964 w 10000"/>
                <a:gd name="connsiteY143" fmla="*/ 7303 h 10007"/>
                <a:gd name="connsiteX144" fmla="*/ 2090 w 10000"/>
                <a:gd name="connsiteY144" fmla="*/ 7413 h 10007"/>
                <a:gd name="connsiteX145" fmla="*/ 2224 w 10000"/>
                <a:gd name="connsiteY145" fmla="*/ 7523 h 10007"/>
                <a:gd name="connsiteX146" fmla="*/ 2350 w 10000"/>
                <a:gd name="connsiteY146" fmla="*/ 7633 h 10007"/>
                <a:gd name="connsiteX147" fmla="*/ 2491 w 10000"/>
                <a:gd name="connsiteY147" fmla="*/ 7738 h 10007"/>
                <a:gd name="connsiteX148" fmla="*/ 2617 w 10000"/>
                <a:gd name="connsiteY148" fmla="*/ 7844 h 10007"/>
                <a:gd name="connsiteX149" fmla="*/ 2765 w 10000"/>
                <a:gd name="connsiteY149" fmla="*/ 7945 h 10007"/>
                <a:gd name="connsiteX150" fmla="*/ 2906 w 10000"/>
                <a:gd name="connsiteY150" fmla="*/ 8045 h 10007"/>
                <a:gd name="connsiteX151" fmla="*/ 3054 w 10000"/>
                <a:gd name="connsiteY151" fmla="*/ 8146 h 10007"/>
                <a:gd name="connsiteX152" fmla="*/ 3210 w 10000"/>
                <a:gd name="connsiteY152" fmla="*/ 8243 h 10007"/>
                <a:gd name="connsiteX153" fmla="*/ 3358 w 10000"/>
                <a:gd name="connsiteY153" fmla="*/ 8339 h 10007"/>
                <a:gd name="connsiteX154" fmla="*/ 3514 w 10000"/>
                <a:gd name="connsiteY154" fmla="*/ 8435 h 10007"/>
                <a:gd name="connsiteX155" fmla="*/ 3677 w 10000"/>
                <a:gd name="connsiteY155" fmla="*/ 8527 h 10007"/>
                <a:gd name="connsiteX156" fmla="*/ 3840 w 10000"/>
                <a:gd name="connsiteY156" fmla="*/ 8614 h 10007"/>
                <a:gd name="connsiteX157" fmla="*/ 4010 w 10000"/>
                <a:gd name="connsiteY157" fmla="*/ 8705 h 10007"/>
                <a:gd name="connsiteX158" fmla="*/ 4181 w 10000"/>
                <a:gd name="connsiteY158" fmla="*/ 8783 h 10007"/>
                <a:gd name="connsiteX159" fmla="*/ 4351 w 10000"/>
                <a:gd name="connsiteY159" fmla="*/ 8870 h 10007"/>
                <a:gd name="connsiteX160" fmla="*/ 4522 w 10000"/>
                <a:gd name="connsiteY160" fmla="*/ 8948 h 10007"/>
                <a:gd name="connsiteX161" fmla="*/ 4700 w 10000"/>
                <a:gd name="connsiteY161" fmla="*/ 9031 h 10007"/>
                <a:gd name="connsiteX162" fmla="*/ 4878 w 10000"/>
                <a:gd name="connsiteY162" fmla="*/ 9109 h 10007"/>
                <a:gd name="connsiteX163" fmla="*/ 5063 w 10000"/>
                <a:gd name="connsiteY163" fmla="*/ 9182 h 10007"/>
                <a:gd name="connsiteX164" fmla="*/ 5248 w 10000"/>
                <a:gd name="connsiteY164" fmla="*/ 9260 h 10007"/>
                <a:gd name="connsiteX165" fmla="*/ 5426 w 10000"/>
                <a:gd name="connsiteY165" fmla="*/ 9329 h 10007"/>
                <a:gd name="connsiteX166" fmla="*/ 5619 w 10000"/>
                <a:gd name="connsiteY166" fmla="*/ 9397 h 10007"/>
                <a:gd name="connsiteX167" fmla="*/ 5812 w 10000"/>
                <a:gd name="connsiteY167" fmla="*/ 9466 h 10007"/>
                <a:gd name="connsiteX168" fmla="*/ 6004 w 10000"/>
                <a:gd name="connsiteY168" fmla="*/ 9530 h 10007"/>
                <a:gd name="connsiteX169" fmla="*/ 6205 w 10000"/>
                <a:gd name="connsiteY169" fmla="*/ 9595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61 h 10007"/>
                <a:gd name="connsiteX179" fmla="*/ 10000 w 10000"/>
                <a:gd name="connsiteY179" fmla="*/ 6148 h 10007"/>
                <a:gd name="connsiteX0" fmla="*/ 10000 w 10000"/>
                <a:gd name="connsiteY0" fmla="*/ 6148 h 10007"/>
                <a:gd name="connsiteX1" fmla="*/ 10000 w 10000"/>
                <a:gd name="connsiteY1" fmla="*/ 6148 h 10007"/>
                <a:gd name="connsiteX2" fmla="*/ 9911 w 10000"/>
                <a:gd name="connsiteY2" fmla="*/ 6134 h 10007"/>
                <a:gd name="connsiteX3" fmla="*/ 9815 w 10000"/>
                <a:gd name="connsiteY3" fmla="*/ 6116 h 10007"/>
                <a:gd name="connsiteX4" fmla="*/ 9726 w 10000"/>
                <a:gd name="connsiteY4" fmla="*/ 6098 h 10007"/>
                <a:gd name="connsiteX5" fmla="*/ 9637 w 10000"/>
                <a:gd name="connsiteY5" fmla="*/ 6075 h 10007"/>
                <a:gd name="connsiteX6" fmla="*/ 9548 w 10000"/>
                <a:gd name="connsiteY6" fmla="*/ 6056 h 10007"/>
                <a:gd name="connsiteX7" fmla="*/ 9466 w 10000"/>
                <a:gd name="connsiteY7" fmla="*/ 6034 h 10007"/>
                <a:gd name="connsiteX8" fmla="*/ 9377 w 10000"/>
                <a:gd name="connsiteY8" fmla="*/ 6011 h 10007"/>
                <a:gd name="connsiteX9" fmla="*/ 9288 w 10000"/>
                <a:gd name="connsiteY9" fmla="*/ 5988 h 10007"/>
                <a:gd name="connsiteX10" fmla="*/ 9118 w 10000"/>
                <a:gd name="connsiteY10" fmla="*/ 5937 h 10007"/>
                <a:gd name="connsiteX11" fmla="*/ 8955 w 10000"/>
                <a:gd name="connsiteY11" fmla="*/ 5882 h 10007"/>
                <a:gd name="connsiteX12" fmla="*/ 8792 w 10000"/>
                <a:gd name="connsiteY12" fmla="*/ 5823 h 10007"/>
                <a:gd name="connsiteX13" fmla="*/ 8636 w 10000"/>
                <a:gd name="connsiteY13" fmla="*/ 5759 h 10007"/>
                <a:gd name="connsiteX14" fmla="*/ 8480 w 10000"/>
                <a:gd name="connsiteY14" fmla="*/ 5694 h 10007"/>
                <a:gd name="connsiteX15" fmla="*/ 8340 w 10000"/>
                <a:gd name="connsiteY15" fmla="*/ 5626 h 10007"/>
                <a:gd name="connsiteX16" fmla="*/ 8199 w 10000"/>
                <a:gd name="connsiteY16" fmla="*/ 5552 h 10007"/>
                <a:gd name="connsiteX17" fmla="*/ 8058 w 10000"/>
                <a:gd name="connsiteY17" fmla="*/ 5474 h 10007"/>
                <a:gd name="connsiteX18" fmla="*/ 7924 w 10000"/>
                <a:gd name="connsiteY18" fmla="*/ 5392 h 10007"/>
                <a:gd name="connsiteX19" fmla="*/ 7798 w 10000"/>
                <a:gd name="connsiteY19" fmla="*/ 5309 h 10007"/>
                <a:gd name="connsiteX20" fmla="*/ 7672 w 10000"/>
                <a:gd name="connsiteY20" fmla="*/ 5222 h 10007"/>
                <a:gd name="connsiteX21" fmla="*/ 7554 w 10000"/>
                <a:gd name="connsiteY21" fmla="*/ 5135 h 10007"/>
                <a:gd name="connsiteX22" fmla="*/ 7450 w 10000"/>
                <a:gd name="connsiteY22" fmla="*/ 5039 h 10007"/>
                <a:gd name="connsiteX23" fmla="*/ 7346 w 10000"/>
                <a:gd name="connsiteY23" fmla="*/ 4943 h 10007"/>
                <a:gd name="connsiteX24" fmla="*/ 7250 w 10000"/>
                <a:gd name="connsiteY24" fmla="*/ 4847 h 10007"/>
                <a:gd name="connsiteX25" fmla="*/ 7161 w 10000"/>
                <a:gd name="connsiteY25" fmla="*/ 4746 h 10007"/>
                <a:gd name="connsiteX26" fmla="*/ 7072 w 10000"/>
                <a:gd name="connsiteY26" fmla="*/ 4645 h 10007"/>
                <a:gd name="connsiteX27" fmla="*/ 6990 w 10000"/>
                <a:gd name="connsiteY27" fmla="*/ 4535 h 10007"/>
                <a:gd name="connsiteX28" fmla="*/ 6953 w 10000"/>
                <a:gd name="connsiteY28" fmla="*/ 4485 h 10007"/>
                <a:gd name="connsiteX29" fmla="*/ 6916 w 10000"/>
                <a:gd name="connsiteY29" fmla="*/ 4430 h 10007"/>
                <a:gd name="connsiteX30" fmla="*/ 6887 w 10000"/>
                <a:gd name="connsiteY30" fmla="*/ 4375 h 10007"/>
                <a:gd name="connsiteX31" fmla="*/ 6850 w 10000"/>
                <a:gd name="connsiteY31" fmla="*/ 4320 h 10007"/>
                <a:gd name="connsiteX32" fmla="*/ 6820 w 10000"/>
                <a:gd name="connsiteY32" fmla="*/ 4265 h 10007"/>
                <a:gd name="connsiteX33" fmla="*/ 6790 w 10000"/>
                <a:gd name="connsiteY33" fmla="*/ 4210 h 10007"/>
                <a:gd name="connsiteX34" fmla="*/ 6768 w 10000"/>
                <a:gd name="connsiteY34" fmla="*/ 4150 h 10007"/>
                <a:gd name="connsiteX35" fmla="*/ 6738 w 10000"/>
                <a:gd name="connsiteY35" fmla="*/ 4095 h 10007"/>
                <a:gd name="connsiteX36" fmla="*/ 6723 w 10000"/>
                <a:gd name="connsiteY36" fmla="*/ 4035 h 10007"/>
                <a:gd name="connsiteX37" fmla="*/ 6694 w 10000"/>
                <a:gd name="connsiteY37" fmla="*/ 3980 h 10007"/>
                <a:gd name="connsiteX38" fmla="*/ 6679 w 10000"/>
                <a:gd name="connsiteY38" fmla="*/ 3921 h 10007"/>
                <a:gd name="connsiteX39" fmla="*/ 6664 w 10000"/>
                <a:gd name="connsiteY39" fmla="*/ 3861 h 10007"/>
                <a:gd name="connsiteX40" fmla="*/ 6649 w 10000"/>
                <a:gd name="connsiteY40" fmla="*/ 3802 h 10007"/>
                <a:gd name="connsiteX41" fmla="*/ 6635 w 10000"/>
                <a:gd name="connsiteY41" fmla="*/ 3747 h 10007"/>
                <a:gd name="connsiteX42" fmla="*/ 6620 w 10000"/>
                <a:gd name="connsiteY42" fmla="*/ 3687 h 10007"/>
                <a:gd name="connsiteX43" fmla="*/ 6612 w 10000"/>
                <a:gd name="connsiteY43" fmla="*/ 3628 h 10007"/>
                <a:gd name="connsiteX44" fmla="*/ 6605 w 10000"/>
                <a:gd name="connsiteY44" fmla="*/ 3568 h 10007"/>
                <a:gd name="connsiteX45" fmla="*/ 6597 w 10000"/>
                <a:gd name="connsiteY45" fmla="*/ 3504 h 10007"/>
                <a:gd name="connsiteX46" fmla="*/ 6597 w 10000"/>
                <a:gd name="connsiteY46" fmla="*/ 3444 h 10007"/>
                <a:gd name="connsiteX47" fmla="*/ 6590 w 10000"/>
                <a:gd name="connsiteY47" fmla="*/ 3380 h 10007"/>
                <a:gd name="connsiteX48" fmla="*/ 6597 w 10000"/>
                <a:gd name="connsiteY48" fmla="*/ 3320 h 10007"/>
                <a:gd name="connsiteX49" fmla="*/ 6605 w 10000"/>
                <a:gd name="connsiteY49" fmla="*/ 3252 h 10007"/>
                <a:gd name="connsiteX50" fmla="*/ 6605 w 10000"/>
                <a:gd name="connsiteY50" fmla="*/ 3188 h 10007"/>
                <a:gd name="connsiteX51" fmla="*/ 6612 w 10000"/>
                <a:gd name="connsiteY51" fmla="*/ 3123 h 10007"/>
                <a:gd name="connsiteX52" fmla="*/ 6620 w 10000"/>
                <a:gd name="connsiteY52" fmla="*/ 3059 h 10007"/>
                <a:gd name="connsiteX53" fmla="*/ 6635 w 10000"/>
                <a:gd name="connsiteY53" fmla="*/ 3000 h 10007"/>
                <a:gd name="connsiteX54" fmla="*/ 6649 w 10000"/>
                <a:gd name="connsiteY54" fmla="*/ 2936 h 10007"/>
                <a:gd name="connsiteX55" fmla="*/ 6664 w 10000"/>
                <a:gd name="connsiteY55" fmla="*/ 2876 h 10007"/>
                <a:gd name="connsiteX56" fmla="*/ 6686 w 10000"/>
                <a:gd name="connsiteY56" fmla="*/ 2812 h 10007"/>
                <a:gd name="connsiteX57" fmla="*/ 6709 w 10000"/>
                <a:gd name="connsiteY57" fmla="*/ 2752 h 10007"/>
                <a:gd name="connsiteX58" fmla="*/ 6731 w 10000"/>
                <a:gd name="connsiteY58" fmla="*/ 2693 h 10007"/>
                <a:gd name="connsiteX59" fmla="*/ 6753 w 10000"/>
                <a:gd name="connsiteY59" fmla="*/ 2628 h 10007"/>
                <a:gd name="connsiteX60" fmla="*/ 6783 w 10000"/>
                <a:gd name="connsiteY60" fmla="*/ 2573 h 10007"/>
                <a:gd name="connsiteX61" fmla="*/ 6812 w 10000"/>
                <a:gd name="connsiteY61" fmla="*/ 2514 h 10007"/>
                <a:gd name="connsiteX62" fmla="*/ 6842 w 10000"/>
                <a:gd name="connsiteY62" fmla="*/ 2454 h 10007"/>
                <a:gd name="connsiteX63" fmla="*/ 6879 w 10000"/>
                <a:gd name="connsiteY63" fmla="*/ 2395 h 10007"/>
                <a:gd name="connsiteX64" fmla="*/ 6909 w 10000"/>
                <a:gd name="connsiteY64" fmla="*/ 2340 h 10007"/>
                <a:gd name="connsiteX65" fmla="*/ 6946 w 10000"/>
                <a:gd name="connsiteY65" fmla="*/ 2280 h 10007"/>
                <a:gd name="connsiteX66" fmla="*/ 6990 w 10000"/>
                <a:gd name="connsiteY66" fmla="*/ 2225 h 10007"/>
                <a:gd name="connsiteX67" fmla="*/ 7027 w 10000"/>
                <a:gd name="connsiteY67" fmla="*/ 2170 h 10007"/>
                <a:gd name="connsiteX68" fmla="*/ 7072 w 10000"/>
                <a:gd name="connsiteY68" fmla="*/ 2115 h 10007"/>
                <a:gd name="connsiteX69" fmla="*/ 7109 w 10000"/>
                <a:gd name="connsiteY69" fmla="*/ 2060 h 10007"/>
                <a:gd name="connsiteX70" fmla="*/ 7161 w 10000"/>
                <a:gd name="connsiteY70" fmla="*/ 2010 h 10007"/>
                <a:gd name="connsiteX71" fmla="*/ 7213 w 10000"/>
                <a:gd name="connsiteY71" fmla="*/ 1955 h 10007"/>
                <a:gd name="connsiteX72" fmla="*/ 7257 w 10000"/>
                <a:gd name="connsiteY72" fmla="*/ 1900 h 10007"/>
                <a:gd name="connsiteX73" fmla="*/ 7309 w 10000"/>
                <a:gd name="connsiteY73" fmla="*/ 1849 h 10007"/>
                <a:gd name="connsiteX74" fmla="*/ 7361 w 10000"/>
                <a:gd name="connsiteY74" fmla="*/ 1799 h 10007"/>
                <a:gd name="connsiteX75" fmla="*/ 7413 w 10000"/>
                <a:gd name="connsiteY75" fmla="*/ 1749 h 10007"/>
                <a:gd name="connsiteX76" fmla="*/ 7472 w 10000"/>
                <a:gd name="connsiteY76" fmla="*/ 1698 h 10007"/>
                <a:gd name="connsiteX77" fmla="*/ 7524 w 10000"/>
                <a:gd name="connsiteY77" fmla="*/ 1652 h 10007"/>
                <a:gd name="connsiteX78" fmla="*/ 7583 w 10000"/>
                <a:gd name="connsiteY78" fmla="*/ 1606 h 10007"/>
                <a:gd name="connsiteX79" fmla="*/ 7643 w 10000"/>
                <a:gd name="connsiteY79" fmla="*/ 1556 h 10007"/>
                <a:gd name="connsiteX80" fmla="*/ 5390 w 10000"/>
                <a:gd name="connsiteY80" fmla="*/ 0 h 10007"/>
                <a:gd name="connsiteX81" fmla="*/ 1401 w 10000"/>
                <a:gd name="connsiteY81" fmla="*/ 21 h 10007"/>
                <a:gd name="connsiteX82" fmla="*/ 1305 w 10000"/>
                <a:gd name="connsiteY82" fmla="*/ 135 h 10007"/>
                <a:gd name="connsiteX83" fmla="*/ 1223 w 10000"/>
                <a:gd name="connsiteY83" fmla="*/ 227 h 10007"/>
                <a:gd name="connsiteX84" fmla="*/ 1149 w 10000"/>
                <a:gd name="connsiteY84" fmla="*/ 323 h 10007"/>
                <a:gd name="connsiteX85" fmla="*/ 1067 w 10000"/>
                <a:gd name="connsiteY85" fmla="*/ 419 h 10007"/>
                <a:gd name="connsiteX86" fmla="*/ 1001 w 10000"/>
                <a:gd name="connsiteY86" fmla="*/ 516 h 10007"/>
                <a:gd name="connsiteX87" fmla="*/ 927 w 10000"/>
                <a:gd name="connsiteY87" fmla="*/ 612 h 10007"/>
                <a:gd name="connsiteX88" fmla="*/ 860 w 10000"/>
                <a:gd name="connsiteY88" fmla="*/ 713 h 10007"/>
                <a:gd name="connsiteX89" fmla="*/ 793 w 10000"/>
                <a:gd name="connsiteY89" fmla="*/ 814 h 10007"/>
                <a:gd name="connsiteX90" fmla="*/ 734 w 10000"/>
                <a:gd name="connsiteY90" fmla="*/ 910 h 10007"/>
                <a:gd name="connsiteX91" fmla="*/ 675 w 10000"/>
                <a:gd name="connsiteY91" fmla="*/ 1011 h 10007"/>
                <a:gd name="connsiteX92" fmla="*/ 615 w 10000"/>
                <a:gd name="connsiteY92" fmla="*/ 1111 h 10007"/>
                <a:gd name="connsiteX93" fmla="*/ 556 w 10000"/>
                <a:gd name="connsiteY93" fmla="*/ 1217 h 10007"/>
                <a:gd name="connsiteX94" fmla="*/ 504 w 10000"/>
                <a:gd name="connsiteY94" fmla="*/ 1313 h 10007"/>
                <a:gd name="connsiteX95" fmla="*/ 452 w 10000"/>
                <a:gd name="connsiteY95" fmla="*/ 1419 h 10007"/>
                <a:gd name="connsiteX96" fmla="*/ 408 w 10000"/>
                <a:gd name="connsiteY96" fmla="*/ 1519 h 10007"/>
                <a:gd name="connsiteX97" fmla="*/ 363 w 10000"/>
                <a:gd name="connsiteY97" fmla="*/ 1625 h 10007"/>
                <a:gd name="connsiteX98" fmla="*/ 319 w 10000"/>
                <a:gd name="connsiteY98" fmla="*/ 1730 h 10007"/>
                <a:gd name="connsiteX99" fmla="*/ 282 w 10000"/>
                <a:gd name="connsiteY99" fmla="*/ 1836 h 10007"/>
                <a:gd name="connsiteX100" fmla="*/ 237 w 10000"/>
                <a:gd name="connsiteY100" fmla="*/ 1946 h 10007"/>
                <a:gd name="connsiteX101" fmla="*/ 208 w 10000"/>
                <a:gd name="connsiteY101" fmla="*/ 2051 h 10007"/>
                <a:gd name="connsiteX102" fmla="*/ 170 w 10000"/>
                <a:gd name="connsiteY102" fmla="*/ 2161 h 10007"/>
                <a:gd name="connsiteX103" fmla="*/ 148 w 10000"/>
                <a:gd name="connsiteY103" fmla="*/ 2271 h 10007"/>
                <a:gd name="connsiteX104" fmla="*/ 119 w 10000"/>
                <a:gd name="connsiteY104" fmla="*/ 2376 h 10007"/>
                <a:gd name="connsiteX105" fmla="*/ 96 w 10000"/>
                <a:gd name="connsiteY105" fmla="*/ 2486 h 10007"/>
                <a:gd name="connsiteX106" fmla="*/ 74 w 10000"/>
                <a:gd name="connsiteY106" fmla="*/ 2596 h 10007"/>
                <a:gd name="connsiteX107" fmla="*/ 52 w 10000"/>
                <a:gd name="connsiteY107" fmla="*/ 2711 h 10007"/>
                <a:gd name="connsiteX108" fmla="*/ 37 w 10000"/>
                <a:gd name="connsiteY108" fmla="*/ 2821 h 10007"/>
                <a:gd name="connsiteX109" fmla="*/ 22 w 10000"/>
                <a:gd name="connsiteY109" fmla="*/ 2931 h 10007"/>
                <a:gd name="connsiteX110" fmla="*/ 15 w 10000"/>
                <a:gd name="connsiteY110" fmla="*/ 3041 h 10007"/>
                <a:gd name="connsiteX111" fmla="*/ 7 w 10000"/>
                <a:gd name="connsiteY111" fmla="*/ 3155 h 10007"/>
                <a:gd name="connsiteX112" fmla="*/ 0 w 10000"/>
                <a:gd name="connsiteY112" fmla="*/ 3265 h 10007"/>
                <a:gd name="connsiteX113" fmla="*/ 0 w 10000"/>
                <a:gd name="connsiteY113" fmla="*/ 3380 h 10007"/>
                <a:gd name="connsiteX114" fmla="*/ 7 w 10000"/>
                <a:gd name="connsiteY114" fmla="*/ 3527 h 10007"/>
                <a:gd name="connsiteX115" fmla="*/ 7 w 10000"/>
                <a:gd name="connsiteY115" fmla="*/ 3673 h 10007"/>
                <a:gd name="connsiteX116" fmla="*/ 22 w 10000"/>
                <a:gd name="connsiteY116" fmla="*/ 3811 h 10007"/>
                <a:gd name="connsiteX117" fmla="*/ 37 w 10000"/>
                <a:gd name="connsiteY117" fmla="*/ 3953 h 10007"/>
                <a:gd name="connsiteX118" fmla="*/ 59 w 10000"/>
                <a:gd name="connsiteY118" fmla="*/ 4095 h 10007"/>
                <a:gd name="connsiteX119" fmla="*/ 89 w 10000"/>
                <a:gd name="connsiteY119" fmla="*/ 4237 h 10007"/>
                <a:gd name="connsiteX120" fmla="*/ 119 w 10000"/>
                <a:gd name="connsiteY120" fmla="*/ 4379 h 10007"/>
                <a:gd name="connsiteX121" fmla="*/ 148 w 10000"/>
                <a:gd name="connsiteY121" fmla="*/ 4521 h 10007"/>
                <a:gd name="connsiteX122" fmla="*/ 193 w 10000"/>
                <a:gd name="connsiteY122" fmla="*/ 4659 h 10007"/>
                <a:gd name="connsiteX123" fmla="*/ 237 w 10000"/>
                <a:gd name="connsiteY123" fmla="*/ 4796 h 10007"/>
                <a:gd name="connsiteX124" fmla="*/ 282 w 10000"/>
                <a:gd name="connsiteY124" fmla="*/ 4934 h 10007"/>
                <a:gd name="connsiteX125" fmla="*/ 334 w 10000"/>
                <a:gd name="connsiteY125" fmla="*/ 5071 h 10007"/>
                <a:gd name="connsiteX126" fmla="*/ 393 w 10000"/>
                <a:gd name="connsiteY126" fmla="*/ 5204 h 10007"/>
                <a:gd name="connsiteX127" fmla="*/ 452 w 10000"/>
                <a:gd name="connsiteY127" fmla="*/ 5337 h 10007"/>
                <a:gd name="connsiteX128" fmla="*/ 519 w 10000"/>
                <a:gd name="connsiteY128" fmla="*/ 5470 h 10007"/>
                <a:gd name="connsiteX129" fmla="*/ 586 w 10000"/>
                <a:gd name="connsiteY129" fmla="*/ 5603 h 10007"/>
                <a:gd name="connsiteX130" fmla="*/ 660 w 10000"/>
                <a:gd name="connsiteY130" fmla="*/ 5731 h 10007"/>
                <a:gd name="connsiteX131" fmla="*/ 741 w 10000"/>
                <a:gd name="connsiteY131" fmla="*/ 5859 h 10007"/>
                <a:gd name="connsiteX132" fmla="*/ 823 w 10000"/>
                <a:gd name="connsiteY132" fmla="*/ 5992 h 10007"/>
                <a:gd name="connsiteX133" fmla="*/ 904 w 10000"/>
                <a:gd name="connsiteY133" fmla="*/ 6116 h 10007"/>
                <a:gd name="connsiteX134" fmla="*/ 993 w 10000"/>
                <a:gd name="connsiteY134" fmla="*/ 6240 h 10007"/>
                <a:gd name="connsiteX135" fmla="*/ 1090 w 10000"/>
                <a:gd name="connsiteY135" fmla="*/ 6359 h 10007"/>
                <a:gd name="connsiteX136" fmla="*/ 1186 w 10000"/>
                <a:gd name="connsiteY136" fmla="*/ 6483 h 10007"/>
                <a:gd name="connsiteX137" fmla="*/ 1290 w 10000"/>
                <a:gd name="connsiteY137" fmla="*/ 6606 h 10007"/>
                <a:gd name="connsiteX138" fmla="*/ 1386 w 10000"/>
                <a:gd name="connsiteY138" fmla="*/ 6726 h 10007"/>
                <a:gd name="connsiteX139" fmla="*/ 1497 w 10000"/>
                <a:gd name="connsiteY139" fmla="*/ 6845 h 10007"/>
                <a:gd name="connsiteX140" fmla="*/ 1609 w 10000"/>
                <a:gd name="connsiteY140" fmla="*/ 6959 h 10007"/>
                <a:gd name="connsiteX141" fmla="*/ 1727 w 10000"/>
                <a:gd name="connsiteY141" fmla="*/ 7078 h 10007"/>
                <a:gd name="connsiteX142" fmla="*/ 1846 w 10000"/>
                <a:gd name="connsiteY142" fmla="*/ 7193 h 10007"/>
                <a:gd name="connsiteX143" fmla="*/ 1964 w 10000"/>
                <a:gd name="connsiteY143" fmla="*/ 7303 h 10007"/>
                <a:gd name="connsiteX144" fmla="*/ 2090 w 10000"/>
                <a:gd name="connsiteY144" fmla="*/ 7413 h 10007"/>
                <a:gd name="connsiteX145" fmla="*/ 2224 w 10000"/>
                <a:gd name="connsiteY145" fmla="*/ 7523 h 10007"/>
                <a:gd name="connsiteX146" fmla="*/ 2350 w 10000"/>
                <a:gd name="connsiteY146" fmla="*/ 7633 h 10007"/>
                <a:gd name="connsiteX147" fmla="*/ 2491 w 10000"/>
                <a:gd name="connsiteY147" fmla="*/ 7738 h 10007"/>
                <a:gd name="connsiteX148" fmla="*/ 2617 w 10000"/>
                <a:gd name="connsiteY148" fmla="*/ 7844 h 10007"/>
                <a:gd name="connsiteX149" fmla="*/ 2765 w 10000"/>
                <a:gd name="connsiteY149" fmla="*/ 7945 h 10007"/>
                <a:gd name="connsiteX150" fmla="*/ 2906 w 10000"/>
                <a:gd name="connsiteY150" fmla="*/ 8045 h 10007"/>
                <a:gd name="connsiteX151" fmla="*/ 3054 w 10000"/>
                <a:gd name="connsiteY151" fmla="*/ 8146 h 10007"/>
                <a:gd name="connsiteX152" fmla="*/ 3210 w 10000"/>
                <a:gd name="connsiteY152" fmla="*/ 8243 h 10007"/>
                <a:gd name="connsiteX153" fmla="*/ 3358 w 10000"/>
                <a:gd name="connsiteY153" fmla="*/ 8339 h 10007"/>
                <a:gd name="connsiteX154" fmla="*/ 3514 w 10000"/>
                <a:gd name="connsiteY154" fmla="*/ 8435 h 10007"/>
                <a:gd name="connsiteX155" fmla="*/ 3677 w 10000"/>
                <a:gd name="connsiteY155" fmla="*/ 8527 h 10007"/>
                <a:gd name="connsiteX156" fmla="*/ 3840 w 10000"/>
                <a:gd name="connsiteY156" fmla="*/ 8614 h 10007"/>
                <a:gd name="connsiteX157" fmla="*/ 4010 w 10000"/>
                <a:gd name="connsiteY157" fmla="*/ 8705 h 10007"/>
                <a:gd name="connsiteX158" fmla="*/ 4181 w 10000"/>
                <a:gd name="connsiteY158" fmla="*/ 8783 h 10007"/>
                <a:gd name="connsiteX159" fmla="*/ 4351 w 10000"/>
                <a:gd name="connsiteY159" fmla="*/ 8870 h 10007"/>
                <a:gd name="connsiteX160" fmla="*/ 4522 w 10000"/>
                <a:gd name="connsiteY160" fmla="*/ 8948 h 10007"/>
                <a:gd name="connsiteX161" fmla="*/ 4700 w 10000"/>
                <a:gd name="connsiteY161" fmla="*/ 9031 h 10007"/>
                <a:gd name="connsiteX162" fmla="*/ 4878 w 10000"/>
                <a:gd name="connsiteY162" fmla="*/ 9109 h 10007"/>
                <a:gd name="connsiteX163" fmla="*/ 5063 w 10000"/>
                <a:gd name="connsiteY163" fmla="*/ 9182 h 10007"/>
                <a:gd name="connsiteX164" fmla="*/ 5248 w 10000"/>
                <a:gd name="connsiteY164" fmla="*/ 9260 h 10007"/>
                <a:gd name="connsiteX165" fmla="*/ 5426 w 10000"/>
                <a:gd name="connsiteY165" fmla="*/ 9329 h 10007"/>
                <a:gd name="connsiteX166" fmla="*/ 5619 w 10000"/>
                <a:gd name="connsiteY166" fmla="*/ 9397 h 10007"/>
                <a:gd name="connsiteX167" fmla="*/ 5812 w 10000"/>
                <a:gd name="connsiteY167" fmla="*/ 9466 h 10007"/>
                <a:gd name="connsiteX168" fmla="*/ 6004 w 10000"/>
                <a:gd name="connsiteY168" fmla="*/ 9530 h 10007"/>
                <a:gd name="connsiteX169" fmla="*/ 6205 w 10000"/>
                <a:gd name="connsiteY169" fmla="*/ 9595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61 h 10007"/>
                <a:gd name="connsiteX179" fmla="*/ 10000 w 10000"/>
                <a:gd name="connsiteY179" fmla="*/ 6148 h 10007"/>
                <a:gd name="connsiteX0" fmla="*/ 10000 w 10000"/>
                <a:gd name="connsiteY0" fmla="*/ 6127 h 9986"/>
                <a:gd name="connsiteX1" fmla="*/ 10000 w 10000"/>
                <a:gd name="connsiteY1" fmla="*/ 6127 h 9986"/>
                <a:gd name="connsiteX2" fmla="*/ 9911 w 10000"/>
                <a:gd name="connsiteY2" fmla="*/ 6113 h 9986"/>
                <a:gd name="connsiteX3" fmla="*/ 9815 w 10000"/>
                <a:gd name="connsiteY3" fmla="*/ 6095 h 9986"/>
                <a:gd name="connsiteX4" fmla="*/ 9726 w 10000"/>
                <a:gd name="connsiteY4" fmla="*/ 6077 h 9986"/>
                <a:gd name="connsiteX5" fmla="*/ 9637 w 10000"/>
                <a:gd name="connsiteY5" fmla="*/ 6054 h 9986"/>
                <a:gd name="connsiteX6" fmla="*/ 9548 w 10000"/>
                <a:gd name="connsiteY6" fmla="*/ 6035 h 9986"/>
                <a:gd name="connsiteX7" fmla="*/ 9466 w 10000"/>
                <a:gd name="connsiteY7" fmla="*/ 6013 h 9986"/>
                <a:gd name="connsiteX8" fmla="*/ 9377 w 10000"/>
                <a:gd name="connsiteY8" fmla="*/ 5990 h 9986"/>
                <a:gd name="connsiteX9" fmla="*/ 9288 w 10000"/>
                <a:gd name="connsiteY9" fmla="*/ 5967 h 9986"/>
                <a:gd name="connsiteX10" fmla="*/ 9118 w 10000"/>
                <a:gd name="connsiteY10" fmla="*/ 5916 h 9986"/>
                <a:gd name="connsiteX11" fmla="*/ 8955 w 10000"/>
                <a:gd name="connsiteY11" fmla="*/ 5861 h 9986"/>
                <a:gd name="connsiteX12" fmla="*/ 8792 w 10000"/>
                <a:gd name="connsiteY12" fmla="*/ 5802 h 9986"/>
                <a:gd name="connsiteX13" fmla="*/ 8636 w 10000"/>
                <a:gd name="connsiteY13" fmla="*/ 5738 h 9986"/>
                <a:gd name="connsiteX14" fmla="*/ 8480 w 10000"/>
                <a:gd name="connsiteY14" fmla="*/ 5673 h 9986"/>
                <a:gd name="connsiteX15" fmla="*/ 8340 w 10000"/>
                <a:gd name="connsiteY15" fmla="*/ 5605 h 9986"/>
                <a:gd name="connsiteX16" fmla="*/ 8199 w 10000"/>
                <a:gd name="connsiteY16" fmla="*/ 5531 h 9986"/>
                <a:gd name="connsiteX17" fmla="*/ 8058 w 10000"/>
                <a:gd name="connsiteY17" fmla="*/ 5453 h 9986"/>
                <a:gd name="connsiteX18" fmla="*/ 7924 w 10000"/>
                <a:gd name="connsiteY18" fmla="*/ 5371 h 9986"/>
                <a:gd name="connsiteX19" fmla="*/ 7798 w 10000"/>
                <a:gd name="connsiteY19" fmla="*/ 5288 h 9986"/>
                <a:gd name="connsiteX20" fmla="*/ 7672 w 10000"/>
                <a:gd name="connsiteY20" fmla="*/ 5201 h 9986"/>
                <a:gd name="connsiteX21" fmla="*/ 7554 w 10000"/>
                <a:gd name="connsiteY21" fmla="*/ 5114 h 9986"/>
                <a:gd name="connsiteX22" fmla="*/ 7450 w 10000"/>
                <a:gd name="connsiteY22" fmla="*/ 5018 h 9986"/>
                <a:gd name="connsiteX23" fmla="*/ 7346 w 10000"/>
                <a:gd name="connsiteY23" fmla="*/ 4922 h 9986"/>
                <a:gd name="connsiteX24" fmla="*/ 7250 w 10000"/>
                <a:gd name="connsiteY24" fmla="*/ 4826 h 9986"/>
                <a:gd name="connsiteX25" fmla="*/ 7161 w 10000"/>
                <a:gd name="connsiteY25" fmla="*/ 4725 h 9986"/>
                <a:gd name="connsiteX26" fmla="*/ 7072 w 10000"/>
                <a:gd name="connsiteY26" fmla="*/ 4624 h 9986"/>
                <a:gd name="connsiteX27" fmla="*/ 6990 w 10000"/>
                <a:gd name="connsiteY27" fmla="*/ 4514 h 9986"/>
                <a:gd name="connsiteX28" fmla="*/ 6953 w 10000"/>
                <a:gd name="connsiteY28" fmla="*/ 4464 h 9986"/>
                <a:gd name="connsiteX29" fmla="*/ 6916 w 10000"/>
                <a:gd name="connsiteY29" fmla="*/ 4409 h 9986"/>
                <a:gd name="connsiteX30" fmla="*/ 6887 w 10000"/>
                <a:gd name="connsiteY30" fmla="*/ 4354 h 9986"/>
                <a:gd name="connsiteX31" fmla="*/ 6850 w 10000"/>
                <a:gd name="connsiteY31" fmla="*/ 4299 h 9986"/>
                <a:gd name="connsiteX32" fmla="*/ 6820 w 10000"/>
                <a:gd name="connsiteY32" fmla="*/ 4244 h 9986"/>
                <a:gd name="connsiteX33" fmla="*/ 6790 w 10000"/>
                <a:gd name="connsiteY33" fmla="*/ 4189 h 9986"/>
                <a:gd name="connsiteX34" fmla="*/ 6768 w 10000"/>
                <a:gd name="connsiteY34" fmla="*/ 4129 h 9986"/>
                <a:gd name="connsiteX35" fmla="*/ 6738 w 10000"/>
                <a:gd name="connsiteY35" fmla="*/ 4074 h 9986"/>
                <a:gd name="connsiteX36" fmla="*/ 6723 w 10000"/>
                <a:gd name="connsiteY36" fmla="*/ 4014 h 9986"/>
                <a:gd name="connsiteX37" fmla="*/ 6694 w 10000"/>
                <a:gd name="connsiteY37" fmla="*/ 3959 h 9986"/>
                <a:gd name="connsiteX38" fmla="*/ 6679 w 10000"/>
                <a:gd name="connsiteY38" fmla="*/ 3900 h 9986"/>
                <a:gd name="connsiteX39" fmla="*/ 6664 w 10000"/>
                <a:gd name="connsiteY39" fmla="*/ 3840 h 9986"/>
                <a:gd name="connsiteX40" fmla="*/ 6649 w 10000"/>
                <a:gd name="connsiteY40" fmla="*/ 3781 h 9986"/>
                <a:gd name="connsiteX41" fmla="*/ 6635 w 10000"/>
                <a:gd name="connsiteY41" fmla="*/ 3726 h 9986"/>
                <a:gd name="connsiteX42" fmla="*/ 6620 w 10000"/>
                <a:gd name="connsiteY42" fmla="*/ 3666 h 9986"/>
                <a:gd name="connsiteX43" fmla="*/ 6612 w 10000"/>
                <a:gd name="connsiteY43" fmla="*/ 3607 h 9986"/>
                <a:gd name="connsiteX44" fmla="*/ 6605 w 10000"/>
                <a:gd name="connsiteY44" fmla="*/ 3547 h 9986"/>
                <a:gd name="connsiteX45" fmla="*/ 6597 w 10000"/>
                <a:gd name="connsiteY45" fmla="*/ 3483 h 9986"/>
                <a:gd name="connsiteX46" fmla="*/ 6597 w 10000"/>
                <a:gd name="connsiteY46" fmla="*/ 3423 h 9986"/>
                <a:gd name="connsiteX47" fmla="*/ 6590 w 10000"/>
                <a:gd name="connsiteY47" fmla="*/ 3359 h 9986"/>
                <a:gd name="connsiteX48" fmla="*/ 6597 w 10000"/>
                <a:gd name="connsiteY48" fmla="*/ 3299 h 9986"/>
                <a:gd name="connsiteX49" fmla="*/ 6605 w 10000"/>
                <a:gd name="connsiteY49" fmla="*/ 3231 h 9986"/>
                <a:gd name="connsiteX50" fmla="*/ 6605 w 10000"/>
                <a:gd name="connsiteY50" fmla="*/ 3167 h 9986"/>
                <a:gd name="connsiteX51" fmla="*/ 6612 w 10000"/>
                <a:gd name="connsiteY51" fmla="*/ 3102 h 9986"/>
                <a:gd name="connsiteX52" fmla="*/ 6620 w 10000"/>
                <a:gd name="connsiteY52" fmla="*/ 3038 h 9986"/>
                <a:gd name="connsiteX53" fmla="*/ 6635 w 10000"/>
                <a:gd name="connsiteY53" fmla="*/ 2979 h 9986"/>
                <a:gd name="connsiteX54" fmla="*/ 6649 w 10000"/>
                <a:gd name="connsiteY54" fmla="*/ 2915 h 9986"/>
                <a:gd name="connsiteX55" fmla="*/ 6664 w 10000"/>
                <a:gd name="connsiteY55" fmla="*/ 2855 h 9986"/>
                <a:gd name="connsiteX56" fmla="*/ 6686 w 10000"/>
                <a:gd name="connsiteY56" fmla="*/ 2791 h 9986"/>
                <a:gd name="connsiteX57" fmla="*/ 6709 w 10000"/>
                <a:gd name="connsiteY57" fmla="*/ 2731 h 9986"/>
                <a:gd name="connsiteX58" fmla="*/ 6731 w 10000"/>
                <a:gd name="connsiteY58" fmla="*/ 2672 h 9986"/>
                <a:gd name="connsiteX59" fmla="*/ 6753 w 10000"/>
                <a:gd name="connsiteY59" fmla="*/ 2607 h 9986"/>
                <a:gd name="connsiteX60" fmla="*/ 6783 w 10000"/>
                <a:gd name="connsiteY60" fmla="*/ 2552 h 9986"/>
                <a:gd name="connsiteX61" fmla="*/ 6812 w 10000"/>
                <a:gd name="connsiteY61" fmla="*/ 2493 h 9986"/>
                <a:gd name="connsiteX62" fmla="*/ 6842 w 10000"/>
                <a:gd name="connsiteY62" fmla="*/ 2433 h 9986"/>
                <a:gd name="connsiteX63" fmla="*/ 6879 w 10000"/>
                <a:gd name="connsiteY63" fmla="*/ 2374 h 9986"/>
                <a:gd name="connsiteX64" fmla="*/ 6909 w 10000"/>
                <a:gd name="connsiteY64" fmla="*/ 2319 h 9986"/>
                <a:gd name="connsiteX65" fmla="*/ 6946 w 10000"/>
                <a:gd name="connsiteY65" fmla="*/ 2259 h 9986"/>
                <a:gd name="connsiteX66" fmla="*/ 6990 w 10000"/>
                <a:gd name="connsiteY66" fmla="*/ 2204 h 9986"/>
                <a:gd name="connsiteX67" fmla="*/ 7027 w 10000"/>
                <a:gd name="connsiteY67" fmla="*/ 2149 h 9986"/>
                <a:gd name="connsiteX68" fmla="*/ 7072 w 10000"/>
                <a:gd name="connsiteY68" fmla="*/ 2094 h 9986"/>
                <a:gd name="connsiteX69" fmla="*/ 7109 w 10000"/>
                <a:gd name="connsiteY69" fmla="*/ 2039 h 9986"/>
                <a:gd name="connsiteX70" fmla="*/ 7161 w 10000"/>
                <a:gd name="connsiteY70" fmla="*/ 1989 h 9986"/>
                <a:gd name="connsiteX71" fmla="*/ 7213 w 10000"/>
                <a:gd name="connsiteY71" fmla="*/ 1934 h 9986"/>
                <a:gd name="connsiteX72" fmla="*/ 7257 w 10000"/>
                <a:gd name="connsiteY72" fmla="*/ 1879 h 9986"/>
                <a:gd name="connsiteX73" fmla="*/ 7309 w 10000"/>
                <a:gd name="connsiteY73" fmla="*/ 1828 h 9986"/>
                <a:gd name="connsiteX74" fmla="*/ 7361 w 10000"/>
                <a:gd name="connsiteY74" fmla="*/ 1778 h 9986"/>
                <a:gd name="connsiteX75" fmla="*/ 7413 w 10000"/>
                <a:gd name="connsiteY75" fmla="*/ 1728 h 9986"/>
                <a:gd name="connsiteX76" fmla="*/ 7472 w 10000"/>
                <a:gd name="connsiteY76" fmla="*/ 1677 h 9986"/>
                <a:gd name="connsiteX77" fmla="*/ 7524 w 10000"/>
                <a:gd name="connsiteY77" fmla="*/ 1631 h 9986"/>
                <a:gd name="connsiteX78" fmla="*/ 7583 w 10000"/>
                <a:gd name="connsiteY78" fmla="*/ 1585 h 9986"/>
                <a:gd name="connsiteX79" fmla="*/ 7643 w 10000"/>
                <a:gd name="connsiteY79" fmla="*/ 1535 h 9986"/>
                <a:gd name="connsiteX80" fmla="*/ 5390 w 10000"/>
                <a:gd name="connsiteY80" fmla="*/ 6 h 9986"/>
                <a:gd name="connsiteX81" fmla="*/ 1401 w 10000"/>
                <a:gd name="connsiteY81" fmla="*/ 0 h 9986"/>
                <a:gd name="connsiteX82" fmla="*/ 1305 w 10000"/>
                <a:gd name="connsiteY82" fmla="*/ 114 h 9986"/>
                <a:gd name="connsiteX83" fmla="*/ 1223 w 10000"/>
                <a:gd name="connsiteY83" fmla="*/ 206 h 9986"/>
                <a:gd name="connsiteX84" fmla="*/ 1149 w 10000"/>
                <a:gd name="connsiteY84" fmla="*/ 302 h 9986"/>
                <a:gd name="connsiteX85" fmla="*/ 1067 w 10000"/>
                <a:gd name="connsiteY85" fmla="*/ 398 h 9986"/>
                <a:gd name="connsiteX86" fmla="*/ 1001 w 10000"/>
                <a:gd name="connsiteY86" fmla="*/ 495 h 9986"/>
                <a:gd name="connsiteX87" fmla="*/ 927 w 10000"/>
                <a:gd name="connsiteY87" fmla="*/ 591 h 9986"/>
                <a:gd name="connsiteX88" fmla="*/ 860 w 10000"/>
                <a:gd name="connsiteY88" fmla="*/ 692 h 9986"/>
                <a:gd name="connsiteX89" fmla="*/ 793 w 10000"/>
                <a:gd name="connsiteY89" fmla="*/ 793 h 9986"/>
                <a:gd name="connsiteX90" fmla="*/ 734 w 10000"/>
                <a:gd name="connsiteY90" fmla="*/ 889 h 9986"/>
                <a:gd name="connsiteX91" fmla="*/ 675 w 10000"/>
                <a:gd name="connsiteY91" fmla="*/ 990 h 9986"/>
                <a:gd name="connsiteX92" fmla="*/ 615 w 10000"/>
                <a:gd name="connsiteY92" fmla="*/ 1090 h 9986"/>
                <a:gd name="connsiteX93" fmla="*/ 556 w 10000"/>
                <a:gd name="connsiteY93" fmla="*/ 1196 h 9986"/>
                <a:gd name="connsiteX94" fmla="*/ 504 w 10000"/>
                <a:gd name="connsiteY94" fmla="*/ 1292 h 9986"/>
                <a:gd name="connsiteX95" fmla="*/ 452 w 10000"/>
                <a:gd name="connsiteY95" fmla="*/ 1398 h 9986"/>
                <a:gd name="connsiteX96" fmla="*/ 408 w 10000"/>
                <a:gd name="connsiteY96" fmla="*/ 1498 h 9986"/>
                <a:gd name="connsiteX97" fmla="*/ 363 w 10000"/>
                <a:gd name="connsiteY97" fmla="*/ 1604 h 9986"/>
                <a:gd name="connsiteX98" fmla="*/ 319 w 10000"/>
                <a:gd name="connsiteY98" fmla="*/ 1709 h 9986"/>
                <a:gd name="connsiteX99" fmla="*/ 282 w 10000"/>
                <a:gd name="connsiteY99" fmla="*/ 1815 h 9986"/>
                <a:gd name="connsiteX100" fmla="*/ 237 w 10000"/>
                <a:gd name="connsiteY100" fmla="*/ 1925 h 9986"/>
                <a:gd name="connsiteX101" fmla="*/ 208 w 10000"/>
                <a:gd name="connsiteY101" fmla="*/ 2030 h 9986"/>
                <a:gd name="connsiteX102" fmla="*/ 170 w 10000"/>
                <a:gd name="connsiteY102" fmla="*/ 2140 h 9986"/>
                <a:gd name="connsiteX103" fmla="*/ 148 w 10000"/>
                <a:gd name="connsiteY103" fmla="*/ 2250 h 9986"/>
                <a:gd name="connsiteX104" fmla="*/ 119 w 10000"/>
                <a:gd name="connsiteY104" fmla="*/ 2355 h 9986"/>
                <a:gd name="connsiteX105" fmla="*/ 96 w 10000"/>
                <a:gd name="connsiteY105" fmla="*/ 2465 h 9986"/>
                <a:gd name="connsiteX106" fmla="*/ 74 w 10000"/>
                <a:gd name="connsiteY106" fmla="*/ 2575 h 9986"/>
                <a:gd name="connsiteX107" fmla="*/ 52 w 10000"/>
                <a:gd name="connsiteY107" fmla="*/ 2690 h 9986"/>
                <a:gd name="connsiteX108" fmla="*/ 37 w 10000"/>
                <a:gd name="connsiteY108" fmla="*/ 2800 h 9986"/>
                <a:gd name="connsiteX109" fmla="*/ 22 w 10000"/>
                <a:gd name="connsiteY109" fmla="*/ 2910 h 9986"/>
                <a:gd name="connsiteX110" fmla="*/ 15 w 10000"/>
                <a:gd name="connsiteY110" fmla="*/ 3020 h 9986"/>
                <a:gd name="connsiteX111" fmla="*/ 7 w 10000"/>
                <a:gd name="connsiteY111" fmla="*/ 3134 h 9986"/>
                <a:gd name="connsiteX112" fmla="*/ 0 w 10000"/>
                <a:gd name="connsiteY112" fmla="*/ 3244 h 9986"/>
                <a:gd name="connsiteX113" fmla="*/ 0 w 10000"/>
                <a:gd name="connsiteY113" fmla="*/ 3359 h 9986"/>
                <a:gd name="connsiteX114" fmla="*/ 7 w 10000"/>
                <a:gd name="connsiteY114" fmla="*/ 3506 h 9986"/>
                <a:gd name="connsiteX115" fmla="*/ 7 w 10000"/>
                <a:gd name="connsiteY115" fmla="*/ 3652 h 9986"/>
                <a:gd name="connsiteX116" fmla="*/ 22 w 10000"/>
                <a:gd name="connsiteY116" fmla="*/ 3790 h 9986"/>
                <a:gd name="connsiteX117" fmla="*/ 37 w 10000"/>
                <a:gd name="connsiteY117" fmla="*/ 3932 h 9986"/>
                <a:gd name="connsiteX118" fmla="*/ 59 w 10000"/>
                <a:gd name="connsiteY118" fmla="*/ 4074 h 9986"/>
                <a:gd name="connsiteX119" fmla="*/ 89 w 10000"/>
                <a:gd name="connsiteY119" fmla="*/ 4216 h 9986"/>
                <a:gd name="connsiteX120" fmla="*/ 119 w 10000"/>
                <a:gd name="connsiteY120" fmla="*/ 4358 h 9986"/>
                <a:gd name="connsiteX121" fmla="*/ 148 w 10000"/>
                <a:gd name="connsiteY121" fmla="*/ 4500 h 9986"/>
                <a:gd name="connsiteX122" fmla="*/ 193 w 10000"/>
                <a:gd name="connsiteY122" fmla="*/ 4638 h 9986"/>
                <a:gd name="connsiteX123" fmla="*/ 237 w 10000"/>
                <a:gd name="connsiteY123" fmla="*/ 4775 h 9986"/>
                <a:gd name="connsiteX124" fmla="*/ 282 w 10000"/>
                <a:gd name="connsiteY124" fmla="*/ 4913 h 9986"/>
                <a:gd name="connsiteX125" fmla="*/ 334 w 10000"/>
                <a:gd name="connsiteY125" fmla="*/ 5050 h 9986"/>
                <a:gd name="connsiteX126" fmla="*/ 393 w 10000"/>
                <a:gd name="connsiteY126" fmla="*/ 5183 h 9986"/>
                <a:gd name="connsiteX127" fmla="*/ 452 w 10000"/>
                <a:gd name="connsiteY127" fmla="*/ 5316 h 9986"/>
                <a:gd name="connsiteX128" fmla="*/ 519 w 10000"/>
                <a:gd name="connsiteY128" fmla="*/ 5449 h 9986"/>
                <a:gd name="connsiteX129" fmla="*/ 586 w 10000"/>
                <a:gd name="connsiteY129" fmla="*/ 5582 h 9986"/>
                <a:gd name="connsiteX130" fmla="*/ 660 w 10000"/>
                <a:gd name="connsiteY130" fmla="*/ 5710 h 9986"/>
                <a:gd name="connsiteX131" fmla="*/ 741 w 10000"/>
                <a:gd name="connsiteY131" fmla="*/ 5838 h 9986"/>
                <a:gd name="connsiteX132" fmla="*/ 823 w 10000"/>
                <a:gd name="connsiteY132" fmla="*/ 5971 h 9986"/>
                <a:gd name="connsiteX133" fmla="*/ 904 w 10000"/>
                <a:gd name="connsiteY133" fmla="*/ 6095 h 9986"/>
                <a:gd name="connsiteX134" fmla="*/ 993 w 10000"/>
                <a:gd name="connsiteY134" fmla="*/ 6219 h 9986"/>
                <a:gd name="connsiteX135" fmla="*/ 1090 w 10000"/>
                <a:gd name="connsiteY135" fmla="*/ 6338 h 9986"/>
                <a:gd name="connsiteX136" fmla="*/ 1186 w 10000"/>
                <a:gd name="connsiteY136" fmla="*/ 6462 h 9986"/>
                <a:gd name="connsiteX137" fmla="*/ 1290 w 10000"/>
                <a:gd name="connsiteY137" fmla="*/ 6585 h 9986"/>
                <a:gd name="connsiteX138" fmla="*/ 1386 w 10000"/>
                <a:gd name="connsiteY138" fmla="*/ 6705 h 9986"/>
                <a:gd name="connsiteX139" fmla="*/ 1497 w 10000"/>
                <a:gd name="connsiteY139" fmla="*/ 6824 h 9986"/>
                <a:gd name="connsiteX140" fmla="*/ 1609 w 10000"/>
                <a:gd name="connsiteY140" fmla="*/ 6938 h 9986"/>
                <a:gd name="connsiteX141" fmla="*/ 1727 w 10000"/>
                <a:gd name="connsiteY141" fmla="*/ 7057 h 9986"/>
                <a:gd name="connsiteX142" fmla="*/ 1846 w 10000"/>
                <a:gd name="connsiteY142" fmla="*/ 7172 h 9986"/>
                <a:gd name="connsiteX143" fmla="*/ 1964 w 10000"/>
                <a:gd name="connsiteY143" fmla="*/ 7282 h 9986"/>
                <a:gd name="connsiteX144" fmla="*/ 2090 w 10000"/>
                <a:gd name="connsiteY144" fmla="*/ 7392 h 9986"/>
                <a:gd name="connsiteX145" fmla="*/ 2224 w 10000"/>
                <a:gd name="connsiteY145" fmla="*/ 7502 h 9986"/>
                <a:gd name="connsiteX146" fmla="*/ 2350 w 10000"/>
                <a:gd name="connsiteY146" fmla="*/ 7612 h 9986"/>
                <a:gd name="connsiteX147" fmla="*/ 2491 w 10000"/>
                <a:gd name="connsiteY147" fmla="*/ 7717 h 9986"/>
                <a:gd name="connsiteX148" fmla="*/ 2617 w 10000"/>
                <a:gd name="connsiteY148" fmla="*/ 7823 h 9986"/>
                <a:gd name="connsiteX149" fmla="*/ 2765 w 10000"/>
                <a:gd name="connsiteY149" fmla="*/ 7924 h 9986"/>
                <a:gd name="connsiteX150" fmla="*/ 2906 w 10000"/>
                <a:gd name="connsiteY150" fmla="*/ 8024 h 9986"/>
                <a:gd name="connsiteX151" fmla="*/ 3054 w 10000"/>
                <a:gd name="connsiteY151" fmla="*/ 8125 h 9986"/>
                <a:gd name="connsiteX152" fmla="*/ 3210 w 10000"/>
                <a:gd name="connsiteY152" fmla="*/ 8222 h 9986"/>
                <a:gd name="connsiteX153" fmla="*/ 3358 w 10000"/>
                <a:gd name="connsiteY153" fmla="*/ 8318 h 9986"/>
                <a:gd name="connsiteX154" fmla="*/ 3514 w 10000"/>
                <a:gd name="connsiteY154" fmla="*/ 8414 h 9986"/>
                <a:gd name="connsiteX155" fmla="*/ 3677 w 10000"/>
                <a:gd name="connsiteY155" fmla="*/ 8506 h 9986"/>
                <a:gd name="connsiteX156" fmla="*/ 3840 w 10000"/>
                <a:gd name="connsiteY156" fmla="*/ 8593 h 9986"/>
                <a:gd name="connsiteX157" fmla="*/ 4010 w 10000"/>
                <a:gd name="connsiteY157" fmla="*/ 8684 h 9986"/>
                <a:gd name="connsiteX158" fmla="*/ 4181 w 10000"/>
                <a:gd name="connsiteY158" fmla="*/ 8762 h 9986"/>
                <a:gd name="connsiteX159" fmla="*/ 4351 w 10000"/>
                <a:gd name="connsiteY159" fmla="*/ 8849 h 9986"/>
                <a:gd name="connsiteX160" fmla="*/ 4522 w 10000"/>
                <a:gd name="connsiteY160" fmla="*/ 8927 h 9986"/>
                <a:gd name="connsiteX161" fmla="*/ 4700 w 10000"/>
                <a:gd name="connsiteY161" fmla="*/ 9010 h 9986"/>
                <a:gd name="connsiteX162" fmla="*/ 4878 w 10000"/>
                <a:gd name="connsiteY162" fmla="*/ 9088 h 9986"/>
                <a:gd name="connsiteX163" fmla="*/ 5063 w 10000"/>
                <a:gd name="connsiteY163" fmla="*/ 9161 h 9986"/>
                <a:gd name="connsiteX164" fmla="*/ 5248 w 10000"/>
                <a:gd name="connsiteY164" fmla="*/ 9239 h 9986"/>
                <a:gd name="connsiteX165" fmla="*/ 5426 w 10000"/>
                <a:gd name="connsiteY165" fmla="*/ 9308 h 9986"/>
                <a:gd name="connsiteX166" fmla="*/ 5619 w 10000"/>
                <a:gd name="connsiteY166" fmla="*/ 9376 h 9986"/>
                <a:gd name="connsiteX167" fmla="*/ 5812 w 10000"/>
                <a:gd name="connsiteY167" fmla="*/ 9445 h 9986"/>
                <a:gd name="connsiteX168" fmla="*/ 6004 w 10000"/>
                <a:gd name="connsiteY168" fmla="*/ 9509 h 9986"/>
                <a:gd name="connsiteX169" fmla="*/ 6205 w 10000"/>
                <a:gd name="connsiteY169" fmla="*/ 9574 h 9986"/>
                <a:gd name="connsiteX170" fmla="*/ 6397 w 10000"/>
                <a:gd name="connsiteY170" fmla="*/ 9633 h 9986"/>
                <a:gd name="connsiteX171" fmla="*/ 6605 w 10000"/>
                <a:gd name="connsiteY171" fmla="*/ 9688 h 9986"/>
                <a:gd name="connsiteX172" fmla="*/ 6805 w 10000"/>
                <a:gd name="connsiteY172" fmla="*/ 9743 h 9986"/>
                <a:gd name="connsiteX173" fmla="*/ 7005 w 10000"/>
                <a:gd name="connsiteY173" fmla="*/ 9798 h 9986"/>
                <a:gd name="connsiteX174" fmla="*/ 7213 w 10000"/>
                <a:gd name="connsiteY174" fmla="*/ 9849 h 9986"/>
                <a:gd name="connsiteX175" fmla="*/ 7420 w 10000"/>
                <a:gd name="connsiteY175" fmla="*/ 9894 h 9986"/>
                <a:gd name="connsiteX176" fmla="*/ 7628 w 10000"/>
                <a:gd name="connsiteY176" fmla="*/ 9940 h 9986"/>
                <a:gd name="connsiteX177" fmla="*/ 7835 w 10000"/>
                <a:gd name="connsiteY177" fmla="*/ 9986 h 9986"/>
                <a:gd name="connsiteX178" fmla="*/ 7539 w 10000"/>
                <a:gd name="connsiteY178" fmla="*/ 7740 h 9986"/>
                <a:gd name="connsiteX179" fmla="*/ 10000 w 10000"/>
                <a:gd name="connsiteY179" fmla="*/ 6127 h 9986"/>
                <a:gd name="connsiteX0" fmla="*/ 10000 w 10000"/>
                <a:gd name="connsiteY0" fmla="*/ 6136 h 10000"/>
                <a:gd name="connsiteX1" fmla="*/ 10000 w 10000"/>
                <a:gd name="connsiteY1" fmla="*/ 6136 h 10000"/>
                <a:gd name="connsiteX2" fmla="*/ 9911 w 10000"/>
                <a:gd name="connsiteY2" fmla="*/ 6122 h 10000"/>
                <a:gd name="connsiteX3" fmla="*/ 9815 w 10000"/>
                <a:gd name="connsiteY3" fmla="*/ 6104 h 10000"/>
                <a:gd name="connsiteX4" fmla="*/ 9726 w 10000"/>
                <a:gd name="connsiteY4" fmla="*/ 6086 h 10000"/>
                <a:gd name="connsiteX5" fmla="*/ 9637 w 10000"/>
                <a:gd name="connsiteY5" fmla="*/ 6062 h 10000"/>
                <a:gd name="connsiteX6" fmla="*/ 9548 w 10000"/>
                <a:gd name="connsiteY6" fmla="*/ 6043 h 10000"/>
                <a:gd name="connsiteX7" fmla="*/ 9466 w 10000"/>
                <a:gd name="connsiteY7" fmla="*/ 6021 h 10000"/>
                <a:gd name="connsiteX8" fmla="*/ 9377 w 10000"/>
                <a:gd name="connsiteY8" fmla="*/ 5998 h 10000"/>
                <a:gd name="connsiteX9" fmla="*/ 9288 w 10000"/>
                <a:gd name="connsiteY9" fmla="*/ 5975 h 10000"/>
                <a:gd name="connsiteX10" fmla="*/ 9118 w 10000"/>
                <a:gd name="connsiteY10" fmla="*/ 5924 h 10000"/>
                <a:gd name="connsiteX11" fmla="*/ 8955 w 10000"/>
                <a:gd name="connsiteY11" fmla="*/ 5869 h 10000"/>
                <a:gd name="connsiteX12" fmla="*/ 8792 w 10000"/>
                <a:gd name="connsiteY12" fmla="*/ 5810 h 10000"/>
                <a:gd name="connsiteX13" fmla="*/ 8636 w 10000"/>
                <a:gd name="connsiteY13" fmla="*/ 5746 h 10000"/>
                <a:gd name="connsiteX14" fmla="*/ 8480 w 10000"/>
                <a:gd name="connsiteY14" fmla="*/ 5681 h 10000"/>
                <a:gd name="connsiteX15" fmla="*/ 8340 w 10000"/>
                <a:gd name="connsiteY15" fmla="*/ 5613 h 10000"/>
                <a:gd name="connsiteX16" fmla="*/ 8199 w 10000"/>
                <a:gd name="connsiteY16" fmla="*/ 5539 h 10000"/>
                <a:gd name="connsiteX17" fmla="*/ 8058 w 10000"/>
                <a:gd name="connsiteY17" fmla="*/ 5461 h 10000"/>
                <a:gd name="connsiteX18" fmla="*/ 7924 w 10000"/>
                <a:gd name="connsiteY18" fmla="*/ 5379 h 10000"/>
                <a:gd name="connsiteX19" fmla="*/ 7798 w 10000"/>
                <a:gd name="connsiteY19" fmla="*/ 5295 h 10000"/>
                <a:gd name="connsiteX20" fmla="*/ 7672 w 10000"/>
                <a:gd name="connsiteY20" fmla="*/ 5208 h 10000"/>
                <a:gd name="connsiteX21" fmla="*/ 7554 w 10000"/>
                <a:gd name="connsiteY21" fmla="*/ 5121 h 10000"/>
                <a:gd name="connsiteX22" fmla="*/ 7450 w 10000"/>
                <a:gd name="connsiteY22" fmla="*/ 5025 h 10000"/>
                <a:gd name="connsiteX23" fmla="*/ 7346 w 10000"/>
                <a:gd name="connsiteY23" fmla="*/ 4929 h 10000"/>
                <a:gd name="connsiteX24" fmla="*/ 7250 w 10000"/>
                <a:gd name="connsiteY24" fmla="*/ 4833 h 10000"/>
                <a:gd name="connsiteX25" fmla="*/ 7161 w 10000"/>
                <a:gd name="connsiteY25" fmla="*/ 4732 h 10000"/>
                <a:gd name="connsiteX26" fmla="*/ 7072 w 10000"/>
                <a:gd name="connsiteY26" fmla="*/ 4630 h 10000"/>
                <a:gd name="connsiteX27" fmla="*/ 6990 w 10000"/>
                <a:gd name="connsiteY27" fmla="*/ 4520 h 10000"/>
                <a:gd name="connsiteX28" fmla="*/ 6953 w 10000"/>
                <a:gd name="connsiteY28" fmla="*/ 4470 h 10000"/>
                <a:gd name="connsiteX29" fmla="*/ 6916 w 10000"/>
                <a:gd name="connsiteY29" fmla="*/ 4415 h 10000"/>
                <a:gd name="connsiteX30" fmla="*/ 6887 w 10000"/>
                <a:gd name="connsiteY30" fmla="*/ 4360 h 10000"/>
                <a:gd name="connsiteX31" fmla="*/ 6850 w 10000"/>
                <a:gd name="connsiteY31" fmla="*/ 4305 h 10000"/>
                <a:gd name="connsiteX32" fmla="*/ 6820 w 10000"/>
                <a:gd name="connsiteY32" fmla="*/ 4250 h 10000"/>
                <a:gd name="connsiteX33" fmla="*/ 6790 w 10000"/>
                <a:gd name="connsiteY33" fmla="*/ 4195 h 10000"/>
                <a:gd name="connsiteX34" fmla="*/ 6768 w 10000"/>
                <a:gd name="connsiteY34" fmla="*/ 4135 h 10000"/>
                <a:gd name="connsiteX35" fmla="*/ 6738 w 10000"/>
                <a:gd name="connsiteY35" fmla="*/ 4080 h 10000"/>
                <a:gd name="connsiteX36" fmla="*/ 6723 w 10000"/>
                <a:gd name="connsiteY36" fmla="*/ 4020 h 10000"/>
                <a:gd name="connsiteX37" fmla="*/ 6694 w 10000"/>
                <a:gd name="connsiteY37" fmla="*/ 3965 h 10000"/>
                <a:gd name="connsiteX38" fmla="*/ 6679 w 10000"/>
                <a:gd name="connsiteY38" fmla="*/ 3905 h 10000"/>
                <a:gd name="connsiteX39" fmla="*/ 6664 w 10000"/>
                <a:gd name="connsiteY39" fmla="*/ 3845 h 10000"/>
                <a:gd name="connsiteX40" fmla="*/ 6649 w 10000"/>
                <a:gd name="connsiteY40" fmla="*/ 3786 h 10000"/>
                <a:gd name="connsiteX41" fmla="*/ 6635 w 10000"/>
                <a:gd name="connsiteY41" fmla="*/ 3731 h 10000"/>
                <a:gd name="connsiteX42" fmla="*/ 6620 w 10000"/>
                <a:gd name="connsiteY42" fmla="*/ 3671 h 10000"/>
                <a:gd name="connsiteX43" fmla="*/ 6612 w 10000"/>
                <a:gd name="connsiteY43" fmla="*/ 3612 h 10000"/>
                <a:gd name="connsiteX44" fmla="*/ 6605 w 10000"/>
                <a:gd name="connsiteY44" fmla="*/ 3552 h 10000"/>
                <a:gd name="connsiteX45" fmla="*/ 6597 w 10000"/>
                <a:gd name="connsiteY45" fmla="*/ 3488 h 10000"/>
                <a:gd name="connsiteX46" fmla="*/ 6597 w 10000"/>
                <a:gd name="connsiteY46" fmla="*/ 3428 h 10000"/>
                <a:gd name="connsiteX47" fmla="*/ 6590 w 10000"/>
                <a:gd name="connsiteY47" fmla="*/ 3364 h 10000"/>
                <a:gd name="connsiteX48" fmla="*/ 6597 w 10000"/>
                <a:gd name="connsiteY48" fmla="*/ 3304 h 10000"/>
                <a:gd name="connsiteX49" fmla="*/ 6605 w 10000"/>
                <a:gd name="connsiteY49" fmla="*/ 3236 h 10000"/>
                <a:gd name="connsiteX50" fmla="*/ 6605 w 10000"/>
                <a:gd name="connsiteY50" fmla="*/ 3171 h 10000"/>
                <a:gd name="connsiteX51" fmla="*/ 6612 w 10000"/>
                <a:gd name="connsiteY51" fmla="*/ 3106 h 10000"/>
                <a:gd name="connsiteX52" fmla="*/ 6620 w 10000"/>
                <a:gd name="connsiteY52" fmla="*/ 3042 h 10000"/>
                <a:gd name="connsiteX53" fmla="*/ 6635 w 10000"/>
                <a:gd name="connsiteY53" fmla="*/ 2983 h 10000"/>
                <a:gd name="connsiteX54" fmla="*/ 6649 w 10000"/>
                <a:gd name="connsiteY54" fmla="*/ 2919 h 10000"/>
                <a:gd name="connsiteX55" fmla="*/ 6664 w 10000"/>
                <a:gd name="connsiteY55" fmla="*/ 2859 h 10000"/>
                <a:gd name="connsiteX56" fmla="*/ 6686 w 10000"/>
                <a:gd name="connsiteY56" fmla="*/ 2795 h 10000"/>
                <a:gd name="connsiteX57" fmla="*/ 6709 w 10000"/>
                <a:gd name="connsiteY57" fmla="*/ 2735 h 10000"/>
                <a:gd name="connsiteX58" fmla="*/ 6731 w 10000"/>
                <a:gd name="connsiteY58" fmla="*/ 2676 h 10000"/>
                <a:gd name="connsiteX59" fmla="*/ 6753 w 10000"/>
                <a:gd name="connsiteY59" fmla="*/ 2611 h 10000"/>
                <a:gd name="connsiteX60" fmla="*/ 6783 w 10000"/>
                <a:gd name="connsiteY60" fmla="*/ 2556 h 10000"/>
                <a:gd name="connsiteX61" fmla="*/ 6812 w 10000"/>
                <a:gd name="connsiteY61" fmla="*/ 2496 h 10000"/>
                <a:gd name="connsiteX62" fmla="*/ 6842 w 10000"/>
                <a:gd name="connsiteY62" fmla="*/ 2436 h 10000"/>
                <a:gd name="connsiteX63" fmla="*/ 6879 w 10000"/>
                <a:gd name="connsiteY63" fmla="*/ 2377 h 10000"/>
                <a:gd name="connsiteX64" fmla="*/ 6909 w 10000"/>
                <a:gd name="connsiteY64" fmla="*/ 2322 h 10000"/>
                <a:gd name="connsiteX65" fmla="*/ 6946 w 10000"/>
                <a:gd name="connsiteY65" fmla="*/ 2262 h 10000"/>
                <a:gd name="connsiteX66" fmla="*/ 6990 w 10000"/>
                <a:gd name="connsiteY66" fmla="*/ 2207 h 10000"/>
                <a:gd name="connsiteX67" fmla="*/ 7027 w 10000"/>
                <a:gd name="connsiteY67" fmla="*/ 2152 h 10000"/>
                <a:gd name="connsiteX68" fmla="*/ 7072 w 10000"/>
                <a:gd name="connsiteY68" fmla="*/ 2097 h 10000"/>
                <a:gd name="connsiteX69" fmla="*/ 7109 w 10000"/>
                <a:gd name="connsiteY69" fmla="*/ 2042 h 10000"/>
                <a:gd name="connsiteX70" fmla="*/ 7161 w 10000"/>
                <a:gd name="connsiteY70" fmla="*/ 1992 h 10000"/>
                <a:gd name="connsiteX71" fmla="*/ 7213 w 10000"/>
                <a:gd name="connsiteY71" fmla="*/ 1937 h 10000"/>
                <a:gd name="connsiteX72" fmla="*/ 7257 w 10000"/>
                <a:gd name="connsiteY72" fmla="*/ 1882 h 10000"/>
                <a:gd name="connsiteX73" fmla="*/ 7309 w 10000"/>
                <a:gd name="connsiteY73" fmla="*/ 1831 h 10000"/>
                <a:gd name="connsiteX74" fmla="*/ 7361 w 10000"/>
                <a:gd name="connsiteY74" fmla="*/ 1780 h 10000"/>
                <a:gd name="connsiteX75" fmla="*/ 7413 w 10000"/>
                <a:gd name="connsiteY75" fmla="*/ 1730 h 10000"/>
                <a:gd name="connsiteX76" fmla="*/ 7472 w 10000"/>
                <a:gd name="connsiteY76" fmla="*/ 1679 h 10000"/>
                <a:gd name="connsiteX77" fmla="*/ 7524 w 10000"/>
                <a:gd name="connsiteY77" fmla="*/ 1633 h 10000"/>
                <a:gd name="connsiteX78" fmla="*/ 7583 w 10000"/>
                <a:gd name="connsiteY78" fmla="*/ 1587 h 10000"/>
                <a:gd name="connsiteX79" fmla="*/ 7610 w 10000"/>
                <a:gd name="connsiteY79" fmla="*/ 1558 h 10000"/>
                <a:gd name="connsiteX80" fmla="*/ 5390 w 10000"/>
                <a:gd name="connsiteY80" fmla="*/ 6 h 10000"/>
                <a:gd name="connsiteX81" fmla="*/ 1401 w 10000"/>
                <a:gd name="connsiteY81" fmla="*/ 0 h 10000"/>
                <a:gd name="connsiteX82" fmla="*/ 1305 w 10000"/>
                <a:gd name="connsiteY82" fmla="*/ 114 h 10000"/>
                <a:gd name="connsiteX83" fmla="*/ 1223 w 10000"/>
                <a:gd name="connsiteY83" fmla="*/ 206 h 10000"/>
                <a:gd name="connsiteX84" fmla="*/ 1149 w 10000"/>
                <a:gd name="connsiteY84" fmla="*/ 302 h 10000"/>
                <a:gd name="connsiteX85" fmla="*/ 1067 w 10000"/>
                <a:gd name="connsiteY85" fmla="*/ 399 h 10000"/>
                <a:gd name="connsiteX86" fmla="*/ 1001 w 10000"/>
                <a:gd name="connsiteY86" fmla="*/ 496 h 10000"/>
                <a:gd name="connsiteX87" fmla="*/ 927 w 10000"/>
                <a:gd name="connsiteY87" fmla="*/ 592 h 10000"/>
                <a:gd name="connsiteX88" fmla="*/ 860 w 10000"/>
                <a:gd name="connsiteY88" fmla="*/ 693 h 10000"/>
                <a:gd name="connsiteX89" fmla="*/ 793 w 10000"/>
                <a:gd name="connsiteY89" fmla="*/ 794 h 10000"/>
                <a:gd name="connsiteX90" fmla="*/ 734 w 10000"/>
                <a:gd name="connsiteY90" fmla="*/ 890 h 10000"/>
                <a:gd name="connsiteX91" fmla="*/ 675 w 10000"/>
                <a:gd name="connsiteY91" fmla="*/ 991 h 10000"/>
                <a:gd name="connsiteX92" fmla="*/ 615 w 10000"/>
                <a:gd name="connsiteY92" fmla="*/ 1092 h 10000"/>
                <a:gd name="connsiteX93" fmla="*/ 556 w 10000"/>
                <a:gd name="connsiteY93" fmla="*/ 1198 h 10000"/>
                <a:gd name="connsiteX94" fmla="*/ 504 w 10000"/>
                <a:gd name="connsiteY94" fmla="*/ 1294 h 10000"/>
                <a:gd name="connsiteX95" fmla="*/ 452 w 10000"/>
                <a:gd name="connsiteY95" fmla="*/ 1400 h 10000"/>
                <a:gd name="connsiteX96" fmla="*/ 408 w 10000"/>
                <a:gd name="connsiteY96" fmla="*/ 1500 h 10000"/>
                <a:gd name="connsiteX97" fmla="*/ 363 w 10000"/>
                <a:gd name="connsiteY97" fmla="*/ 1606 h 10000"/>
                <a:gd name="connsiteX98" fmla="*/ 319 w 10000"/>
                <a:gd name="connsiteY98" fmla="*/ 1711 h 10000"/>
                <a:gd name="connsiteX99" fmla="*/ 282 w 10000"/>
                <a:gd name="connsiteY99" fmla="*/ 1818 h 10000"/>
                <a:gd name="connsiteX100" fmla="*/ 237 w 10000"/>
                <a:gd name="connsiteY100" fmla="*/ 1928 h 10000"/>
                <a:gd name="connsiteX101" fmla="*/ 208 w 10000"/>
                <a:gd name="connsiteY101" fmla="*/ 2033 h 10000"/>
                <a:gd name="connsiteX102" fmla="*/ 170 w 10000"/>
                <a:gd name="connsiteY102" fmla="*/ 2143 h 10000"/>
                <a:gd name="connsiteX103" fmla="*/ 148 w 10000"/>
                <a:gd name="connsiteY103" fmla="*/ 2253 h 10000"/>
                <a:gd name="connsiteX104" fmla="*/ 119 w 10000"/>
                <a:gd name="connsiteY104" fmla="*/ 2358 h 10000"/>
                <a:gd name="connsiteX105" fmla="*/ 96 w 10000"/>
                <a:gd name="connsiteY105" fmla="*/ 2468 h 10000"/>
                <a:gd name="connsiteX106" fmla="*/ 74 w 10000"/>
                <a:gd name="connsiteY106" fmla="*/ 2579 h 10000"/>
                <a:gd name="connsiteX107" fmla="*/ 52 w 10000"/>
                <a:gd name="connsiteY107" fmla="*/ 2694 h 10000"/>
                <a:gd name="connsiteX108" fmla="*/ 37 w 10000"/>
                <a:gd name="connsiteY108" fmla="*/ 2804 h 10000"/>
                <a:gd name="connsiteX109" fmla="*/ 22 w 10000"/>
                <a:gd name="connsiteY109" fmla="*/ 2914 h 10000"/>
                <a:gd name="connsiteX110" fmla="*/ 15 w 10000"/>
                <a:gd name="connsiteY110" fmla="*/ 3024 h 10000"/>
                <a:gd name="connsiteX111" fmla="*/ 7 w 10000"/>
                <a:gd name="connsiteY111" fmla="*/ 3138 h 10000"/>
                <a:gd name="connsiteX112" fmla="*/ 0 w 10000"/>
                <a:gd name="connsiteY112" fmla="*/ 3249 h 10000"/>
                <a:gd name="connsiteX113" fmla="*/ 0 w 10000"/>
                <a:gd name="connsiteY113" fmla="*/ 3364 h 10000"/>
                <a:gd name="connsiteX114" fmla="*/ 7 w 10000"/>
                <a:gd name="connsiteY114" fmla="*/ 3511 h 10000"/>
                <a:gd name="connsiteX115" fmla="*/ 7 w 10000"/>
                <a:gd name="connsiteY115" fmla="*/ 3657 h 10000"/>
                <a:gd name="connsiteX116" fmla="*/ 22 w 10000"/>
                <a:gd name="connsiteY116" fmla="*/ 3795 h 10000"/>
                <a:gd name="connsiteX117" fmla="*/ 37 w 10000"/>
                <a:gd name="connsiteY117" fmla="*/ 3938 h 10000"/>
                <a:gd name="connsiteX118" fmla="*/ 59 w 10000"/>
                <a:gd name="connsiteY118" fmla="*/ 4080 h 10000"/>
                <a:gd name="connsiteX119" fmla="*/ 89 w 10000"/>
                <a:gd name="connsiteY119" fmla="*/ 4222 h 10000"/>
                <a:gd name="connsiteX120" fmla="*/ 119 w 10000"/>
                <a:gd name="connsiteY120" fmla="*/ 4364 h 10000"/>
                <a:gd name="connsiteX121" fmla="*/ 148 w 10000"/>
                <a:gd name="connsiteY121" fmla="*/ 4506 h 10000"/>
                <a:gd name="connsiteX122" fmla="*/ 193 w 10000"/>
                <a:gd name="connsiteY122" fmla="*/ 4645 h 10000"/>
                <a:gd name="connsiteX123" fmla="*/ 237 w 10000"/>
                <a:gd name="connsiteY123" fmla="*/ 4782 h 10000"/>
                <a:gd name="connsiteX124" fmla="*/ 282 w 10000"/>
                <a:gd name="connsiteY124" fmla="*/ 4920 h 10000"/>
                <a:gd name="connsiteX125" fmla="*/ 334 w 10000"/>
                <a:gd name="connsiteY125" fmla="*/ 5057 h 10000"/>
                <a:gd name="connsiteX126" fmla="*/ 393 w 10000"/>
                <a:gd name="connsiteY126" fmla="*/ 5190 h 10000"/>
                <a:gd name="connsiteX127" fmla="*/ 452 w 10000"/>
                <a:gd name="connsiteY127" fmla="*/ 5323 h 10000"/>
                <a:gd name="connsiteX128" fmla="*/ 519 w 10000"/>
                <a:gd name="connsiteY128" fmla="*/ 5457 h 10000"/>
                <a:gd name="connsiteX129" fmla="*/ 586 w 10000"/>
                <a:gd name="connsiteY129" fmla="*/ 5590 h 10000"/>
                <a:gd name="connsiteX130" fmla="*/ 660 w 10000"/>
                <a:gd name="connsiteY130" fmla="*/ 5718 h 10000"/>
                <a:gd name="connsiteX131" fmla="*/ 741 w 10000"/>
                <a:gd name="connsiteY131" fmla="*/ 5846 h 10000"/>
                <a:gd name="connsiteX132" fmla="*/ 823 w 10000"/>
                <a:gd name="connsiteY132" fmla="*/ 5979 h 10000"/>
                <a:gd name="connsiteX133" fmla="*/ 904 w 10000"/>
                <a:gd name="connsiteY133" fmla="*/ 6104 h 10000"/>
                <a:gd name="connsiteX134" fmla="*/ 993 w 10000"/>
                <a:gd name="connsiteY134" fmla="*/ 6228 h 10000"/>
                <a:gd name="connsiteX135" fmla="*/ 1090 w 10000"/>
                <a:gd name="connsiteY135" fmla="*/ 6347 h 10000"/>
                <a:gd name="connsiteX136" fmla="*/ 1186 w 10000"/>
                <a:gd name="connsiteY136" fmla="*/ 6471 h 10000"/>
                <a:gd name="connsiteX137" fmla="*/ 1290 w 10000"/>
                <a:gd name="connsiteY137" fmla="*/ 6594 h 10000"/>
                <a:gd name="connsiteX138" fmla="*/ 1386 w 10000"/>
                <a:gd name="connsiteY138" fmla="*/ 6714 h 10000"/>
                <a:gd name="connsiteX139" fmla="*/ 1497 w 10000"/>
                <a:gd name="connsiteY139" fmla="*/ 6834 h 10000"/>
                <a:gd name="connsiteX140" fmla="*/ 1609 w 10000"/>
                <a:gd name="connsiteY140" fmla="*/ 6948 h 10000"/>
                <a:gd name="connsiteX141" fmla="*/ 1727 w 10000"/>
                <a:gd name="connsiteY141" fmla="*/ 7067 h 10000"/>
                <a:gd name="connsiteX142" fmla="*/ 1846 w 10000"/>
                <a:gd name="connsiteY142" fmla="*/ 7182 h 10000"/>
                <a:gd name="connsiteX143" fmla="*/ 1964 w 10000"/>
                <a:gd name="connsiteY143" fmla="*/ 7292 h 10000"/>
                <a:gd name="connsiteX144" fmla="*/ 2090 w 10000"/>
                <a:gd name="connsiteY144" fmla="*/ 7402 h 10000"/>
                <a:gd name="connsiteX145" fmla="*/ 2224 w 10000"/>
                <a:gd name="connsiteY145" fmla="*/ 7513 h 10000"/>
                <a:gd name="connsiteX146" fmla="*/ 2350 w 10000"/>
                <a:gd name="connsiteY146" fmla="*/ 7623 h 10000"/>
                <a:gd name="connsiteX147" fmla="*/ 2491 w 10000"/>
                <a:gd name="connsiteY147" fmla="*/ 7728 h 10000"/>
                <a:gd name="connsiteX148" fmla="*/ 2617 w 10000"/>
                <a:gd name="connsiteY148" fmla="*/ 7834 h 10000"/>
                <a:gd name="connsiteX149" fmla="*/ 2765 w 10000"/>
                <a:gd name="connsiteY149" fmla="*/ 7935 h 10000"/>
                <a:gd name="connsiteX150" fmla="*/ 2906 w 10000"/>
                <a:gd name="connsiteY150" fmla="*/ 8035 h 10000"/>
                <a:gd name="connsiteX151" fmla="*/ 3054 w 10000"/>
                <a:gd name="connsiteY151" fmla="*/ 8136 h 10000"/>
                <a:gd name="connsiteX152" fmla="*/ 3210 w 10000"/>
                <a:gd name="connsiteY152" fmla="*/ 8234 h 10000"/>
                <a:gd name="connsiteX153" fmla="*/ 3358 w 10000"/>
                <a:gd name="connsiteY153" fmla="*/ 8330 h 10000"/>
                <a:gd name="connsiteX154" fmla="*/ 3514 w 10000"/>
                <a:gd name="connsiteY154" fmla="*/ 8426 h 10000"/>
                <a:gd name="connsiteX155" fmla="*/ 3677 w 10000"/>
                <a:gd name="connsiteY155" fmla="*/ 8518 h 10000"/>
                <a:gd name="connsiteX156" fmla="*/ 3840 w 10000"/>
                <a:gd name="connsiteY156" fmla="*/ 8605 h 10000"/>
                <a:gd name="connsiteX157" fmla="*/ 4010 w 10000"/>
                <a:gd name="connsiteY157" fmla="*/ 8696 h 10000"/>
                <a:gd name="connsiteX158" fmla="*/ 4181 w 10000"/>
                <a:gd name="connsiteY158" fmla="*/ 8774 h 10000"/>
                <a:gd name="connsiteX159" fmla="*/ 4351 w 10000"/>
                <a:gd name="connsiteY159" fmla="*/ 8861 h 10000"/>
                <a:gd name="connsiteX160" fmla="*/ 4522 w 10000"/>
                <a:gd name="connsiteY160" fmla="*/ 8940 h 10000"/>
                <a:gd name="connsiteX161" fmla="*/ 4700 w 10000"/>
                <a:gd name="connsiteY161" fmla="*/ 9023 h 10000"/>
                <a:gd name="connsiteX162" fmla="*/ 4878 w 10000"/>
                <a:gd name="connsiteY162" fmla="*/ 9101 h 10000"/>
                <a:gd name="connsiteX163" fmla="*/ 5063 w 10000"/>
                <a:gd name="connsiteY163" fmla="*/ 9174 h 10000"/>
                <a:gd name="connsiteX164" fmla="*/ 5248 w 10000"/>
                <a:gd name="connsiteY164" fmla="*/ 9252 h 10000"/>
                <a:gd name="connsiteX165" fmla="*/ 5426 w 10000"/>
                <a:gd name="connsiteY165" fmla="*/ 9321 h 10000"/>
                <a:gd name="connsiteX166" fmla="*/ 5619 w 10000"/>
                <a:gd name="connsiteY166" fmla="*/ 9389 h 10000"/>
                <a:gd name="connsiteX167" fmla="*/ 5812 w 10000"/>
                <a:gd name="connsiteY167" fmla="*/ 9458 h 10000"/>
                <a:gd name="connsiteX168" fmla="*/ 6004 w 10000"/>
                <a:gd name="connsiteY168" fmla="*/ 9522 h 10000"/>
                <a:gd name="connsiteX169" fmla="*/ 6205 w 10000"/>
                <a:gd name="connsiteY169" fmla="*/ 9587 h 10000"/>
                <a:gd name="connsiteX170" fmla="*/ 6397 w 10000"/>
                <a:gd name="connsiteY170" fmla="*/ 9647 h 10000"/>
                <a:gd name="connsiteX171" fmla="*/ 6605 w 10000"/>
                <a:gd name="connsiteY171" fmla="*/ 9702 h 10000"/>
                <a:gd name="connsiteX172" fmla="*/ 6805 w 10000"/>
                <a:gd name="connsiteY172" fmla="*/ 9757 h 10000"/>
                <a:gd name="connsiteX173" fmla="*/ 7005 w 10000"/>
                <a:gd name="connsiteY173" fmla="*/ 9812 h 10000"/>
                <a:gd name="connsiteX174" fmla="*/ 7213 w 10000"/>
                <a:gd name="connsiteY174" fmla="*/ 9863 h 10000"/>
                <a:gd name="connsiteX175" fmla="*/ 7420 w 10000"/>
                <a:gd name="connsiteY175" fmla="*/ 9908 h 10000"/>
                <a:gd name="connsiteX176" fmla="*/ 7628 w 10000"/>
                <a:gd name="connsiteY176" fmla="*/ 9954 h 10000"/>
                <a:gd name="connsiteX177" fmla="*/ 7835 w 10000"/>
                <a:gd name="connsiteY177" fmla="*/ 10000 h 10000"/>
                <a:gd name="connsiteX178" fmla="*/ 7539 w 10000"/>
                <a:gd name="connsiteY178" fmla="*/ 7751 h 10000"/>
                <a:gd name="connsiteX179" fmla="*/ 10000 w 10000"/>
                <a:gd name="connsiteY179" fmla="*/ 6136 h 10000"/>
                <a:gd name="connsiteX0" fmla="*/ 10000 w 10000"/>
                <a:gd name="connsiteY0" fmla="*/ 6151 h 10015"/>
                <a:gd name="connsiteX1" fmla="*/ 10000 w 10000"/>
                <a:gd name="connsiteY1" fmla="*/ 6151 h 10015"/>
                <a:gd name="connsiteX2" fmla="*/ 9911 w 10000"/>
                <a:gd name="connsiteY2" fmla="*/ 6137 h 10015"/>
                <a:gd name="connsiteX3" fmla="*/ 9815 w 10000"/>
                <a:gd name="connsiteY3" fmla="*/ 6119 h 10015"/>
                <a:gd name="connsiteX4" fmla="*/ 9726 w 10000"/>
                <a:gd name="connsiteY4" fmla="*/ 6101 h 10015"/>
                <a:gd name="connsiteX5" fmla="*/ 9637 w 10000"/>
                <a:gd name="connsiteY5" fmla="*/ 6077 h 10015"/>
                <a:gd name="connsiteX6" fmla="*/ 9548 w 10000"/>
                <a:gd name="connsiteY6" fmla="*/ 6058 h 10015"/>
                <a:gd name="connsiteX7" fmla="*/ 9466 w 10000"/>
                <a:gd name="connsiteY7" fmla="*/ 6036 h 10015"/>
                <a:gd name="connsiteX8" fmla="*/ 9377 w 10000"/>
                <a:gd name="connsiteY8" fmla="*/ 6013 h 10015"/>
                <a:gd name="connsiteX9" fmla="*/ 9288 w 10000"/>
                <a:gd name="connsiteY9" fmla="*/ 5990 h 10015"/>
                <a:gd name="connsiteX10" fmla="*/ 9118 w 10000"/>
                <a:gd name="connsiteY10" fmla="*/ 5939 h 10015"/>
                <a:gd name="connsiteX11" fmla="*/ 8955 w 10000"/>
                <a:gd name="connsiteY11" fmla="*/ 5884 h 10015"/>
                <a:gd name="connsiteX12" fmla="*/ 8792 w 10000"/>
                <a:gd name="connsiteY12" fmla="*/ 5825 h 10015"/>
                <a:gd name="connsiteX13" fmla="*/ 8636 w 10000"/>
                <a:gd name="connsiteY13" fmla="*/ 5761 h 10015"/>
                <a:gd name="connsiteX14" fmla="*/ 8480 w 10000"/>
                <a:gd name="connsiteY14" fmla="*/ 5696 h 10015"/>
                <a:gd name="connsiteX15" fmla="*/ 8340 w 10000"/>
                <a:gd name="connsiteY15" fmla="*/ 5628 h 10015"/>
                <a:gd name="connsiteX16" fmla="*/ 8199 w 10000"/>
                <a:gd name="connsiteY16" fmla="*/ 5554 h 10015"/>
                <a:gd name="connsiteX17" fmla="*/ 8058 w 10000"/>
                <a:gd name="connsiteY17" fmla="*/ 5476 h 10015"/>
                <a:gd name="connsiteX18" fmla="*/ 7924 w 10000"/>
                <a:gd name="connsiteY18" fmla="*/ 5394 h 10015"/>
                <a:gd name="connsiteX19" fmla="*/ 7798 w 10000"/>
                <a:gd name="connsiteY19" fmla="*/ 5310 h 10015"/>
                <a:gd name="connsiteX20" fmla="*/ 7672 w 10000"/>
                <a:gd name="connsiteY20" fmla="*/ 5223 h 10015"/>
                <a:gd name="connsiteX21" fmla="*/ 7554 w 10000"/>
                <a:gd name="connsiteY21" fmla="*/ 5136 h 10015"/>
                <a:gd name="connsiteX22" fmla="*/ 7450 w 10000"/>
                <a:gd name="connsiteY22" fmla="*/ 5040 h 10015"/>
                <a:gd name="connsiteX23" fmla="*/ 7346 w 10000"/>
                <a:gd name="connsiteY23" fmla="*/ 4944 h 10015"/>
                <a:gd name="connsiteX24" fmla="*/ 7250 w 10000"/>
                <a:gd name="connsiteY24" fmla="*/ 4848 h 10015"/>
                <a:gd name="connsiteX25" fmla="*/ 7161 w 10000"/>
                <a:gd name="connsiteY25" fmla="*/ 4747 h 10015"/>
                <a:gd name="connsiteX26" fmla="*/ 7072 w 10000"/>
                <a:gd name="connsiteY26" fmla="*/ 4645 h 10015"/>
                <a:gd name="connsiteX27" fmla="*/ 6990 w 10000"/>
                <a:gd name="connsiteY27" fmla="*/ 4535 h 10015"/>
                <a:gd name="connsiteX28" fmla="*/ 6953 w 10000"/>
                <a:gd name="connsiteY28" fmla="*/ 4485 h 10015"/>
                <a:gd name="connsiteX29" fmla="*/ 6916 w 10000"/>
                <a:gd name="connsiteY29" fmla="*/ 4430 h 10015"/>
                <a:gd name="connsiteX30" fmla="*/ 6887 w 10000"/>
                <a:gd name="connsiteY30" fmla="*/ 4375 h 10015"/>
                <a:gd name="connsiteX31" fmla="*/ 6850 w 10000"/>
                <a:gd name="connsiteY31" fmla="*/ 4320 h 10015"/>
                <a:gd name="connsiteX32" fmla="*/ 6820 w 10000"/>
                <a:gd name="connsiteY32" fmla="*/ 4265 h 10015"/>
                <a:gd name="connsiteX33" fmla="*/ 6790 w 10000"/>
                <a:gd name="connsiteY33" fmla="*/ 4210 h 10015"/>
                <a:gd name="connsiteX34" fmla="*/ 6768 w 10000"/>
                <a:gd name="connsiteY34" fmla="*/ 4150 h 10015"/>
                <a:gd name="connsiteX35" fmla="*/ 6738 w 10000"/>
                <a:gd name="connsiteY35" fmla="*/ 4095 h 10015"/>
                <a:gd name="connsiteX36" fmla="*/ 6723 w 10000"/>
                <a:gd name="connsiteY36" fmla="*/ 4035 h 10015"/>
                <a:gd name="connsiteX37" fmla="*/ 6694 w 10000"/>
                <a:gd name="connsiteY37" fmla="*/ 3980 h 10015"/>
                <a:gd name="connsiteX38" fmla="*/ 6679 w 10000"/>
                <a:gd name="connsiteY38" fmla="*/ 3920 h 10015"/>
                <a:gd name="connsiteX39" fmla="*/ 6664 w 10000"/>
                <a:gd name="connsiteY39" fmla="*/ 3860 h 10015"/>
                <a:gd name="connsiteX40" fmla="*/ 6649 w 10000"/>
                <a:gd name="connsiteY40" fmla="*/ 3801 h 10015"/>
                <a:gd name="connsiteX41" fmla="*/ 6635 w 10000"/>
                <a:gd name="connsiteY41" fmla="*/ 3746 h 10015"/>
                <a:gd name="connsiteX42" fmla="*/ 6620 w 10000"/>
                <a:gd name="connsiteY42" fmla="*/ 3686 h 10015"/>
                <a:gd name="connsiteX43" fmla="*/ 6612 w 10000"/>
                <a:gd name="connsiteY43" fmla="*/ 3627 h 10015"/>
                <a:gd name="connsiteX44" fmla="*/ 6605 w 10000"/>
                <a:gd name="connsiteY44" fmla="*/ 3567 h 10015"/>
                <a:gd name="connsiteX45" fmla="*/ 6597 w 10000"/>
                <a:gd name="connsiteY45" fmla="*/ 3503 h 10015"/>
                <a:gd name="connsiteX46" fmla="*/ 6597 w 10000"/>
                <a:gd name="connsiteY46" fmla="*/ 3443 h 10015"/>
                <a:gd name="connsiteX47" fmla="*/ 6590 w 10000"/>
                <a:gd name="connsiteY47" fmla="*/ 3379 h 10015"/>
                <a:gd name="connsiteX48" fmla="*/ 6597 w 10000"/>
                <a:gd name="connsiteY48" fmla="*/ 3319 h 10015"/>
                <a:gd name="connsiteX49" fmla="*/ 6605 w 10000"/>
                <a:gd name="connsiteY49" fmla="*/ 3251 h 10015"/>
                <a:gd name="connsiteX50" fmla="*/ 6605 w 10000"/>
                <a:gd name="connsiteY50" fmla="*/ 3186 h 10015"/>
                <a:gd name="connsiteX51" fmla="*/ 6612 w 10000"/>
                <a:gd name="connsiteY51" fmla="*/ 3121 h 10015"/>
                <a:gd name="connsiteX52" fmla="*/ 6620 w 10000"/>
                <a:gd name="connsiteY52" fmla="*/ 3057 h 10015"/>
                <a:gd name="connsiteX53" fmla="*/ 6635 w 10000"/>
                <a:gd name="connsiteY53" fmla="*/ 2998 h 10015"/>
                <a:gd name="connsiteX54" fmla="*/ 6649 w 10000"/>
                <a:gd name="connsiteY54" fmla="*/ 2934 h 10015"/>
                <a:gd name="connsiteX55" fmla="*/ 6664 w 10000"/>
                <a:gd name="connsiteY55" fmla="*/ 2874 h 10015"/>
                <a:gd name="connsiteX56" fmla="*/ 6686 w 10000"/>
                <a:gd name="connsiteY56" fmla="*/ 2810 h 10015"/>
                <a:gd name="connsiteX57" fmla="*/ 6709 w 10000"/>
                <a:gd name="connsiteY57" fmla="*/ 2750 h 10015"/>
                <a:gd name="connsiteX58" fmla="*/ 6731 w 10000"/>
                <a:gd name="connsiteY58" fmla="*/ 2691 h 10015"/>
                <a:gd name="connsiteX59" fmla="*/ 6753 w 10000"/>
                <a:gd name="connsiteY59" fmla="*/ 2626 h 10015"/>
                <a:gd name="connsiteX60" fmla="*/ 6783 w 10000"/>
                <a:gd name="connsiteY60" fmla="*/ 2571 h 10015"/>
                <a:gd name="connsiteX61" fmla="*/ 6812 w 10000"/>
                <a:gd name="connsiteY61" fmla="*/ 2511 h 10015"/>
                <a:gd name="connsiteX62" fmla="*/ 6842 w 10000"/>
                <a:gd name="connsiteY62" fmla="*/ 2451 h 10015"/>
                <a:gd name="connsiteX63" fmla="*/ 6879 w 10000"/>
                <a:gd name="connsiteY63" fmla="*/ 2392 h 10015"/>
                <a:gd name="connsiteX64" fmla="*/ 6909 w 10000"/>
                <a:gd name="connsiteY64" fmla="*/ 2337 h 10015"/>
                <a:gd name="connsiteX65" fmla="*/ 6946 w 10000"/>
                <a:gd name="connsiteY65" fmla="*/ 2277 h 10015"/>
                <a:gd name="connsiteX66" fmla="*/ 6990 w 10000"/>
                <a:gd name="connsiteY66" fmla="*/ 2222 h 10015"/>
                <a:gd name="connsiteX67" fmla="*/ 7027 w 10000"/>
                <a:gd name="connsiteY67" fmla="*/ 2167 h 10015"/>
                <a:gd name="connsiteX68" fmla="*/ 7072 w 10000"/>
                <a:gd name="connsiteY68" fmla="*/ 2112 h 10015"/>
                <a:gd name="connsiteX69" fmla="*/ 7109 w 10000"/>
                <a:gd name="connsiteY69" fmla="*/ 2057 h 10015"/>
                <a:gd name="connsiteX70" fmla="*/ 7161 w 10000"/>
                <a:gd name="connsiteY70" fmla="*/ 2007 h 10015"/>
                <a:gd name="connsiteX71" fmla="*/ 7213 w 10000"/>
                <a:gd name="connsiteY71" fmla="*/ 1952 h 10015"/>
                <a:gd name="connsiteX72" fmla="*/ 7257 w 10000"/>
                <a:gd name="connsiteY72" fmla="*/ 1897 h 10015"/>
                <a:gd name="connsiteX73" fmla="*/ 7309 w 10000"/>
                <a:gd name="connsiteY73" fmla="*/ 1846 h 10015"/>
                <a:gd name="connsiteX74" fmla="*/ 7361 w 10000"/>
                <a:gd name="connsiteY74" fmla="*/ 1795 h 10015"/>
                <a:gd name="connsiteX75" fmla="*/ 7413 w 10000"/>
                <a:gd name="connsiteY75" fmla="*/ 1745 h 10015"/>
                <a:gd name="connsiteX76" fmla="*/ 7472 w 10000"/>
                <a:gd name="connsiteY76" fmla="*/ 1694 h 10015"/>
                <a:gd name="connsiteX77" fmla="*/ 7524 w 10000"/>
                <a:gd name="connsiteY77" fmla="*/ 1648 h 10015"/>
                <a:gd name="connsiteX78" fmla="*/ 7583 w 10000"/>
                <a:gd name="connsiteY78" fmla="*/ 1602 h 10015"/>
                <a:gd name="connsiteX79" fmla="*/ 7610 w 10000"/>
                <a:gd name="connsiteY79" fmla="*/ 1573 h 10015"/>
                <a:gd name="connsiteX80" fmla="*/ 5390 w 10000"/>
                <a:gd name="connsiteY80" fmla="*/ 0 h 10015"/>
                <a:gd name="connsiteX81" fmla="*/ 1401 w 10000"/>
                <a:gd name="connsiteY81" fmla="*/ 15 h 10015"/>
                <a:gd name="connsiteX82" fmla="*/ 1305 w 10000"/>
                <a:gd name="connsiteY82" fmla="*/ 129 h 10015"/>
                <a:gd name="connsiteX83" fmla="*/ 1223 w 10000"/>
                <a:gd name="connsiteY83" fmla="*/ 221 h 10015"/>
                <a:gd name="connsiteX84" fmla="*/ 1149 w 10000"/>
                <a:gd name="connsiteY84" fmla="*/ 317 h 10015"/>
                <a:gd name="connsiteX85" fmla="*/ 1067 w 10000"/>
                <a:gd name="connsiteY85" fmla="*/ 414 h 10015"/>
                <a:gd name="connsiteX86" fmla="*/ 1001 w 10000"/>
                <a:gd name="connsiteY86" fmla="*/ 511 h 10015"/>
                <a:gd name="connsiteX87" fmla="*/ 927 w 10000"/>
                <a:gd name="connsiteY87" fmla="*/ 607 h 10015"/>
                <a:gd name="connsiteX88" fmla="*/ 860 w 10000"/>
                <a:gd name="connsiteY88" fmla="*/ 708 h 10015"/>
                <a:gd name="connsiteX89" fmla="*/ 793 w 10000"/>
                <a:gd name="connsiteY89" fmla="*/ 809 h 10015"/>
                <a:gd name="connsiteX90" fmla="*/ 734 w 10000"/>
                <a:gd name="connsiteY90" fmla="*/ 905 h 10015"/>
                <a:gd name="connsiteX91" fmla="*/ 675 w 10000"/>
                <a:gd name="connsiteY91" fmla="*/ 1006 h 10015"/>
                <a:gd name="connsiteX92" fmla="*/ 615 w 10000"/>
                <a:gd name="connsiteY92" fmla="*/ 1107 h 10015"/>
                <a:gd name="connsiteX93" fmla="*/ 556 w 10000"/>
                <a:gd name="connsiteY93" fmla="*/ 1213 h 10015"/>
                <a:gd name="connsiteX94" fmla="*/ 504 w 10000"/>
                <a:gd name="connsiteY94" fmla="*/ 1309 h 10015"/>
                <a:gd name="connsiteX95" fmla="*/ 452 w 10000"/>
                <a:gd name="connsiteY95" fmla="*/ 1415 h 10015"/>
                <a:gd name="connsiteX96" fmla="*/ 408 w 10000"/>
                <a:gd name="connsiteY96" fmla="*/ 1515 h 10015"/>
                <a:gd name="connsiteX97" fmla="*/ 363 w 10000"/>
                <a:gd name="connsiteY97" fmla="*/ 1621 h 10015"/>
                <a:gd name="connsiteX98" fmla="*/ 319 w 10000"/>
                <a:gd name="connsiteY98" fmla="*/ 1726 h 10015"/>
                <a:gd name="connsiteX99" fmla="*/ 282 w 10000"/>
                <a:gd name="connsiteY99" fmla="*/ 1833 h 10015"/>
                <a:gd name="connsiteX100" fmla="*/ 237 w 10000"/>
                <a:gd name="connsiteY100" fmla="*/ 1943 h 10015"/>
                <a:gd name="connsiteX101" fmla="*/ 208 w 10000"/>
                <a:gd name="connsiteY101" fmla="*/ 2048 h 10015"/>
                <a:gd name="connsiteX102" fmla="*/ 170 w 10000"/>
                <a:gd name="connsiteY102" fmla="*/ 2158 h 10015"/>
                <a:gd name="connsiteX103" fmla="*/ 148 w 10000"/>
                <a:gd name="connsiteY103" fmla="*/ 2268 h 10015"/>
                <a:gd name="connsiteX104" fmla="*/ 119 w 10000"/>
                <a:gd name="connsiteY104" fmla="*/ 2373 h 10015"/>
                <a:gd name="connsiteX105" fmla="*/ 96 w 10000"/>
                <a:gd name="connsiteY105" fmla="*/ 2483 h 10015"/>
                <a:gd name="connsiteX106" fmla="*/ 74 w 10000"/>
                <a:gd name="connsiteY106" fmla="*/ 2594 h 10015"/>
                <a:gd name="connsiteX107" fmla="*/ 52 w 10000"/>
                <a:gd name="connsiteY107" fmla="*/ 2709 h 10015"/>
                <a:gd name="connsiteX108" fmla="*/ 37 w 10000"/>
                <a:gd name="connsiteY108" fmla="*/ 2819 h 10015"/>
                <a:gd name="connsiteX109" fmla="*/ 22 w 10000"/>
                <a:gd name="connsiteY109" fmla="*/ 2929 h 10015"/>
                <a:gd name="connsiteX110" fmla="*/ 15 w 10000"/>
                <a:gd name="connsiteY110" fmla="*/ 3039 h 10015"/>
                <a:gd name="connsiteX111" fmla="*/ 7 w 10000"/>
                <a:gd name="connsiteY111" fmla="*/ 3153 h 10015"/>
                <a:gd name="connsiteX112" fmla="*/ 0 w 10000"/>
                <a:gd name="connsiteY112" fmla="*/ 3264 h 10015"/>
                <a:gd name="connsiteX113" fmla="*/ 0 w 10000"/>
                <a:gd name="connsiteY113" fmla="*/ 3379 h 10015"/>
                <a:gd name="connsiteX114" fmla="*/ 7 w 10000"/>
                <a:gd name="connsiteY114" fmla="*/ 3526 h 10015"/>
                <a:gd name="connsiteX115" fmla="*/ 7 w 10000"/>
                <a:gd name="connsiteY115" fmla="*/ 3672 h 10015"/>
                <a:gd name="connsiteX116" fmla="*/ 22 w 10000"/>
                <a:gd name="connsiteY116" fmla="*/ 3810 h 10015"/>
                <a:gd name="connsiteX117" fmla="*/ 37 w 10000"/>
                <a:gd name="connsiteY117" fmla="*/ 3953 h 10015"/>
                <a:gd name="connsiteX118" fmla="*/ 59 w 10000"/>
                <a:gd name="connsiteY118" fmla="*/ 4095 h 10015"/>
                <a:gd name="connsiteX119" fmla="*/ 89 w 10000"/>
                <a:gd name="connsiteY119" fmla="*/ 4237 h 10015"/>
                <a:gd name="connsiteX120" fmla="*/ 119 w 10000"/>
                <a:gd name="connsiteY120" fmla="*/ 4379 h 10015"/>
                <a:gd name="connsiteX121" fmla="*/ 148 w 10000"/>
                <a:gd name="connsiteY121" fmla="*/ 4521 h 10015"/>
                <a:gd name="connsiteX122" fmla="*/ 193 w 10000"/>
                <a:gd name="connsiteY122" fmla="*/ 4660 h 10015"/>
                <a:gd name="connsiteX123" fmla="*/ 237 w 10000"/>
                <a:gd name="connsiteY123" fmla="*/ 4797 h 10015"/>
                <a:gd name="connsiteX124" fmla="*/ 282 w 10000"/>
                <a:gd name="connsiteY124" fmla="*/ 4935 h 10015"/>
                <a:gd name="connsiteX125" fmla="*/ 334 w 10000"/>
                <a:gd name="connsiteY125" fmla="*/ 5072 h 10015"/>
                <a:gd name="connsiteX126" fmla="*/ 393 w 10000"/>
                <a:gd name="connsiteY126" fmla="*/ 5205 h 10015"/>
                <a:gd name="connsiteX127" fmla="*/ 452 w 10000"/>
                <a:gd name="connsiteY127" fmla="*/ 5338 h 10015"/>
                <a:gd name="connsiteX128" fmla="*/ 519 w 10000"/>
                <a:gd name="connsiteY128" fmla="*/ 5472 h 10015"/>
                <a:gd name="connsiteX129" fmla="*/ 586 w 10000"/>
                <a:gd name="connsiteY129" fmla="*/ 5605 h 10015"/>
                <a:gd name="connsiteX130" fmla="*/ 660 w 10000"/>
                <a:gd name="connsiteY130" fmla="*/ 5733 h 10015"/>
                <a:gd name="connsiteX131" fmla="*/ 741 w 10000"/>
                <a:gd name="connsiteY131" fmla="*/ 5861 h 10015"/>
                <a:gd name="connsiteX132" fmla="*/ 823 w 10000"/>
                <a:gd name="connsiteY132" fmla="*/ 5994 h 10015"/>
                <a:gd name="connsiteX133" fmla="*/ 904 w 10000"/>
                <a:gd name="connsiteY133" fmla="*/ 6119 h 10015"/>
                <a:gd name="connsiteX134" fmla="*/ 993 w 10000"/>
                <a:gd name="connsiteY134" fmla="*/ 6243 h 10015"/>
                <a:gd name="connsiteX135" fmla="*/ 1090 w 10000"/>
                <a:gd name="connsiteY135" fmla="*/ 6362 h 10015"/>
                <a:gd name="connsiteX136" fmla="*/ 1186 w 10000"/>
                <a:gd name="connsiteY136" fmla="*/ 6486 h 10015"/>
                <a:gd name="connsiteX137" fmla="*/ 1290 w 10000"/>
                <a:gd name="connsiteY137" fmla="*/ 6609 h 10015"/>
                <a:gd name="connsiteX138" fmla="*/ 1386 w 10000"/>
                <a:gd name="connsiteY138" fmla="*/ 6729 h 10015"/>
                <a:gd name="connsiteX139" fmla="*/ 1497 w 10000"/>
                <a:gd name="connsiteY139" fmla="*/ 6849 h 10015"/>
                <a:gd name="connsiteX140" fmla="*/ 1609 w 10000"/>
                <a:gd name="connsiteY140" fmla="*/ 6963 h 10015"/>
                <a:gd name="connsiteX141" fmla="*/ 1727 w 10000"/>
                <a:gd name="connsiteY141" fmla="*/ 7082 h 10015"/>
                <a:gd name="connsiteX142" fmla="*/ 1846 w 10000"/>
                <a:gd name="connsiteY142" fmla="*/ 7197 h 10015"/>
                <a:gd name="connsiteX143" fmla="*/ 1964 w 10000"/>
                <a:gd name="connsiteY143" fmla="*/ 7307 h 10015"/>
                <a:gd name="connsiteX144" fmla="*/ 2090 w 10000"/>
                <a:gd name="connsiteY144" fmla="*/ 7417 h 10015"/>
                <a:gd name="connsiteX145" fmla="*/ 2224 w 10000"/>
                <a:gd name="connsiteY145" fmla="*/ 7528 h 10015"/>
                <a:gd name="connsiteX146" fmla="*/ 2350 w 10000"/>
                <a:gd name="connsiteY146" fmla="*/ 7638 h 10015"/>
                <a:gd name="connsiteX147" fmla="*/ 2491 w 10000"/>
                <a:gd name="connsiteY147" fmla="*/ 7743 h 10015"/>
                <a:gd name="connsiteX148" fmla="*/ 2617 w 10000"/>
                <a:gd name="connsiteY148" fmla="*/ 7849 h 10015"/>
                <a:gd name="connsiteX149" fmla="*/ 2765 w 10000"/>
                <a:gd name="connsiteY149" fmla="*/ 7950 h 10015"/>
                <a:gd name="connsiteX150" fmla="*/ 2906 w 10000"/>
                <a:gd name="connsiteY150" fmla="*/ 8050 h 10015"/>
                <a:gd name="connsiteX151" fmla="*/ 3054 w 10000"/>
                <a:gd name="connsiteY151" fmla="*/ 8151 h 10015"/>
                <a:gd name="connsiteX152" fmla="*/ 3210 w 10000"/>
                <a:gd name="connsiteY152" fmla="*/ 8249 h 10015"/>
                <a:gd name="connsiteX153" fmla="*/ 3358 w 10000"/>
                <a:gd name="connsiteY153" fmla="*/ 8345 h 10015"/>
                <a:gd name="connsiteX154" fmla="*/ 3514 w 10000"/>
                <a:gd name="connsiteY154" fmla="*/ 8441 h 10015"/>
                <a:gd name="connsiteX155" fmla="*/ 3677 w 10000"/>
                <a:gd name="connsiteY155" fmla="*/ 8533 h 10015"/>
                <a:gd name="connsiteX156" fmla="*/ 3840 w 10000"/>
                <a:gd name="connsiteY156" fmla="*/ 8620 h 10015"/>
                <a:gd name="connsiteX157" fmla="*/ 4010 w 10000"/>
                <a:gd name="connsiteY157" fmla="*/ 8711 h 10015"/>
                <a:gd name="connsiteX158" fmla="*/ 4181 w 10000"/>
                <a:gd name="connsiteY158" fmla="*/ 8789 h 10015"/>
                <a:gd name="connsiteX159" fmla="*/ 4351 w 10000"/>
                <a:gd name="connsiteY159" fmla="*/ 8876 h 10015"/>
                <a:gd name="connsiteX160" fmla="*/ 4522 w 10000"/>
                <a:gd name="connsiteY160" fmla="*/ 8955 h 10015"/>
                <a:gd name="connsiteX161" fmla="*/ 4700 w 10000"/>
                <a:gd name="connsiteY161" fmla="*/ 9038 h 10015"/>
                <a:gd name="connsiteX162" fmla="*/ 4878 w 10000"/>
                <a:gd name="connsiteY162" fmla="*/ 9116 h 10015"/>
                <a:gd name="connsiteX163" fmla="*/ 5063 w 10000"/>
                <a:gd name="connsiteY163" fmla="*/ 9189 h 10015"/>
                <a:gd name="connsiteX164" fmla="*/ 5248 w 10000"/>
                <a:gd name="connsiteY164" fmla="*/ 9267 h 10015"/>
                <a:gd name="connsiteX165" fmla="*/ 5426 w 10000"/>
                <a:gd name="connsiteY165" fmla="*/ 9336 h 10015"/>
                <a:gd name="connsiteX166" fmla="*/ 5619 w 10000"/>
                <a:gd name="connsiteY166" fmla="*/ 9404 h 10015"/>
                <a:gd name="connsiteX167" fmla="*/ 5812 w 10000"/>
                <a:gd name="connsiteY167" fmla="*/ 9473 h 10015"/>
                <a:gd name="connsiteX168" fmla="*/ 6004 w 10000"/>
                <a:gd name="connsiteY168" fmla="*/ 9537 h 10015"/>
                <a:gd name="connsiteX169" fmla="*/ 6205 w 10000"/>
                <a:gd name="connsiteY169" fmla="*/ 9602 h 10015"/>
                <a:gd name="connsiteX170" fmla="*/ 6397 w 10000"/>
                <a:gd name="connsiteY170" fmla="*/ 9662 h 10015"/>
                <a:gd name="connsiteX171" fmla="*/ 6605 w 10000"/>
                <a:gd name="connsiteY171" fmla="*/ 9717 h 10015"/>
                <a:gd name="connsiteX172" fmla="*/ 6805 w 10000"/>
                <a:gd name="connsiteY172" fmla="*/ 9772 h 10015"/>
                <a:gd name="connsiteX173" fmla="*/ 7005 w 10000"/>
                <a:gd name="connsiteY173" fmla="*/ 9827 h 10015"/>
                <a:gd name="connsiteX174" fmla="*/ 7213 w 10000"/>
                <a:gd name="connsiteY174" fmla="*/ 9878 h 10015"/>
                <a:gd name="connsiteX175" fmla="*/ 7420 w 10000"/>
                <a:gd name="connsiteY175" fmla="*/ 9923 h 10015"/>
                <a:gd name="connsiteX176" fmla="*/ 7628 w 10000"/>
                <a:gd name="connsiteY176" fmla="*/ 9969 h 10015"/>
                <a:gd name="connsiteX177" fmla="*/ 7835 w 10000"/>
                <a:gd name="connsiteY177" fmla="*/ 10015 h 10015"/>
                <a:gd name="connsiteX178" fmla="*/ 7539 w 10000"/>
                <a:gd name="connsiteY178" fmla="*/ 7766 h 10015"/>
                <a:gd name="connsiteX179" fmla="*/ 10000 w 10000"/>
                <a:gd name="connsiteY179" fmla="*/ 6151 h 10015"/>
                <a:gd name="connsiteX0" fmla="*/ 10000 w 10000"/>
                <a:gd name="connsiteY0" fmla="*/ 6151 h 10015"/>
                <a:gd name="connsiteX1" fmla="*/ 10000 w 10000"/>
                <a:gd name="connsiteY1" fmla="*/ 6151 h 10015"/>
                <a:gd name="connsiteX2" fmla="*/ 9911 w 10000"/>
                <a:gd name="connsiteY2" fmla="*/ 6137 h 10015"/>
                <a:gd name="connsiteX3" fmla="*/ 9815 w 10000"/>
                <a:gd name="connsiteY3" fmla="*/ 6119 h 10015"/>
                <a:gd name="connsiteX4" fmla="*/ 9726 w 10000"/>
                <a:gd name="connsiteY4" fmla="*/ 6101 h 10015"/>
                <a:gd name="connsiteX5" fmla="*/ 9637 w 10000"/>
                <a:gd name="connsiteY5" fmla="*/ 6077 h 10015"/>
                <a:gd name="connsiteX6" fmla="*/ 9548 w 10000"/>
                <a:gd name="connsiteY6" fmla="*/ 6058 h 10015"/>
                <a:gd name="connsiteX7" fmla="*/ 9466 w 10000"/>
                <a:gd name="connsiteY7" fmla="*/ 6036 h 10015"/>
                <a:gd name="connsiteX8" fmla="*/ 9377 w 10000"/>
                <a:gd name="connsiteY8" fmla="*/ 6013 h 10015"/>
                <a:gd name="connsiteX9" fmla="*/ 9288 w 10000"/>
                <a:gd name="connsiteY9" fmla="*/ 5990 h 10015"/>
                <a:gd name="connsiteX10" fmla="*/ 9118 w 10000"/>
                <a:gd name="connsiteY10" fmla="*/ 5939 h 10015"/>
                <a:gd name="connsiteX11" fmla="*/ 8955 w 10000"/>
                <a:gd name="connsiteY11" fmla="*/ 5884 h 10015"/>
                <a:gd name="connsiteX12" fmla="*/ 8792 w 10000"/>
                <a:gd name="connsiteY12" fmla="*/ 5825 h 10015"/>
                <a:gd name="connsiteX13" fmla="*/ 8636 w 10000"/>
                <a:gd name="connsiteY13" fmla="*/ 5761 h 10015"/>
                <a:gd name="connsiteX14" fmla="*/ 8480 w 10000"/>
                <a:gd name="connsiteY14" fmla="*/ 5696 h 10015"/>
                <a:gd name="connsiteX15" fmla="*/ 8340 w 10000"/>
                <a:gd name="connsiteY15" fmla="*/ 5628 h 10015"/>
                <a:gd name="connsiteX16" fmla="*/ 8199 w 10000"/>
                <a:gd name="connsiteY16" fmla="*/ 5554 h 10015"/>
                <a:gd name="connsiteX17" fmla="*/ 8058 w 10000"/>
                <a:gd name="connsiteY17" fmla="*/ 5476 h 10015"/>
                <a:gd name="connsiteX18" fmla="*/ 7924 w 10000"/>
                <a:gd name="connsiteY18" fmla="*/ 5394 h 10015"/>
                <a:gd name="connsiteX19" fmla="*/ 7798 w 10000"/>
                <a:gd name="connsiteY19" fmla="*/ 5310 h 10015"/>
                <a:gd name="connsiteX20" fmla="*/ 7672 w 10000"/>
                <a:gd name="connsiteY20" fmla="*/ 5223 h 10015"/>
                <a:gd name="connsiteX21" fmla="*/ 7554 w 10000"/>
                <a:gd name="connsiteY21" fmla="*/ 5136 h 10015"/>
                <a:gd name="connsiteX22" fmla="*/ 7450 w 10000"/>
                <a:gd name="connsiteY22" fmla="*/ 5040 h 10015"/>
                <a:gd name="connsiteX23" fmla="*/ 7346 w 10000"/>
                <a:gd name="connsiteY23" fmla="*/ 4944 h 10015"/>
                <a:gd name="connsiteX24" fmla="*/ 7250 w 10000"/>
                <a:gd name="connsiteY24" fmla="*/ 4848 h 10015"/>
                <a:gd name="connsiteX25" fmla="*/ 7161 w 10000"/>
                <a:gd name="connsiteY25" fmla="*/ 4747 h 10015"/>
                <a:gd name="connsiteX26" fmla="*/ 7072 w 10000"/>
                <a:gd name="connsiteY26" fmla="*/ 4645 h 10015"/>
                <a:gd name="connsiteX27" fmla="*/ 6990 w 10000"/>
                <a:gd name="connsiteY27" fmla="*/ 4535 h 10015"/>
                <a:gd name="connsiteX28" fmla="*/ 6953 w 10000"/>
                <a:gd name="connsiteY28" fmla="*/ 4485 h 10015"/>
                <a:gd name="connsiteX29" fmla="*/ 6916 w 10000"/>
                <a:gd name="connsiteY29" fmla="*/ 4430 h 10015"/>
                <a:gd name="connsiteX30" fmla="*/ 6887 w 10000"/>
                <a:gd name="connsiteY30" fmla="*/ 4375 h 10015"/>
                <a:gd name="connsiteX31" fmla="*/ 6850 w 10000"/>
                <a:gd name="connsiteY31" fmla="*/ 4320 h 10015"/>
                <a:gd name="connsiteX32" fmla="*/ 6820 w 10000"/>
                <a:gd name="connsiteY32" fmla="*/ 4265 h 10015"/>
                <a:gd name="connsiteX33" fmla="*/ 6790 w 10000"/>
                <a:gd name="connsiteY33" fmla="*/ 4210 h 10015"/>
                <a:gd name="connsiteX34" fmla="*/ 6768 w 10000"/>
                <a:gd name="connsiteY34" fmla="*/ 4150 h 10015"/>
                <a:gd name="connsiteX35" fmla="*/ 6738 w 10000"/>
                <a:gd name="connsiteY35" fmla="*/ 4095 h 10015"/>
                <a:gd name="connsiteX36" fmla="*/ 6723 w 10000"/>
                <a:gd name="connsiteY36" fmla="*/ 4035 h 10015"/>
                <a:gd name="connsiteX37" fmla="*/ 6694 w 10000"/>
                <a:gd name="connsiteY37" fmla="*/ 3980 h 10015"/>
                <a:gd name="connsiteX38" fmla="*/ 6679 w 10000"/>
                <a:gd name="connsiteY38" fmla="*/ 3920 h 10015"/>
                <a:gd name="connsiteX39" fmla="*/ 6664 w 10000"/>
                <a:gd name="connsiteY39" fmla="*/ 3860 h 10015"/>
                <a:gd name="connsiteX40" fmla="*/ 6649 w 10000"/>
                <a:gd name="connsiteY40" fmla="*/ 3801 h 10015"/>
                <a:gd name="connsiteX41" fmla="*/ 6635 w 10000"/>
                <a:gd name="connsiteY41" fmla="*/ 3746 h 10015"/>
                <a:gd name="connsiteX42" fmla="*/ 6620 w 10000"/>
                <a:gd name="connsiteY42" fmla="*/ 3686 h 10015"/>
                <a:gd name="connsiteX43" fmla="*/ 6612 w 10000"/>
                <a:gd name="connsiteY43" fmla="*/ 3627 h 10015"/>
                <a:gd name="connsiteX44" fmla="*/ 6605 w 10000"/>
                <a:gd name="connsiteY44" fmla="*/ 3567 h 10015"/>
                <a:gd name="connsiteX45" fmla="*/ 6597 w 10000"/>
                <a:gd name="connsiteY45" fmla="*/ 3503 h 10015"/>
                <a:gd name="connsiteX46" fmla="*/ 6597 w 10000"/>
                <a:gd name="connsiteY46" fmla="*/ 3443 h 10015"/>
                <a:gd name="connsiteX47" fmla="*/ 6590 w 10000"/>
                <a:gd name="connsiteY47" fmla="*/ 3379 h 10015"/>
                <a:gd name="connsiteX48" fmla="*/ 6597 w 10000"/>
                <a:gd name="connsiteY48" fmla="*/ 3319 h 10015"/>
                <a:gd name="connsiteX49" fmla="*/ 6605 w 10000"/>
                <a:gd name="connsiteY49" fmla="*/ 3251 h 10015"/>
                <a:gd name="connsiteX50" fmla="*/ 6605 w 10000"/>
                <a:gd name="connsiteY50" fmla="*/ 3186 h 10015"/>
                <a:gd name="connsiteX51" fmla="*/ 6612 w 10000"/>
                <a:gd name="connsiteY51" fmla="*/ 3121 h 10015"/>
                <a:gd name="connsiteX52" fmla="*/ 6620 w 10000"/>
                <a:gd name="connsiteY52" fmla="*/ 3057 h 10015"/>
                <a:gd name="connsiteX53" fmla="*/ 6635 w 10000"/>
                <a:gd name="connsiteY53" fmla="*/ 2998 h 10015"/>
                <a:gd name="connsiteX54" fmla="*/ 6649 w 10000"/>
                <a:gd name="connsiteY54" fmla="*/ 2934 h 10015"/>
                <a:gd name="connsiteX55" fmla="*/ 6664 w 10000"/>
                <a:gd name="connsiteY55" fmla="*/ 2874 h 10015"/>
                <a:gd name="connsiteX56" fmla="*/ 6686 w 10000"/>
                <a:gd name="connsiteY56" fmla="*/ 2810 h 10015"/>
                <a:gd name="connsiteX57" fmla="*/ 6709 w 10000"/>
                <a:gd name="connsiteY57" fmla="*/ 2750 h 10015"/>
                <a:gd name="connsiteX58" fmla="*/ 6731 w 10000"/>
                <a:gd name="connsiteY58" fmla="*/ 2691 h 10015"/>
                <a:gd name="connsiteX59" fmla="*/ 6753 w 10000"/>
                <a:gd name="connsiteY59" fmla="*/ 2626 h 10015"/>
                <a:gd name="connsiteX60" fmla="*/ 6783 w 10000"/>
                <a:gd name="connsiteY60" fmla="*/ 2571 h 10015"/>
                <a:gd name="connsiteX61" fmla="*/ 6812 w 10000"/>
                <a:gd name="connsiteY61" fmla="*/ 2511 h 10015"/>
                <a:gd name="connsiteX62" fmla="*/ 6842 w 10000"/>
                <a:gd name="connsiteY62" fmla="*/ 2451 h 10015"/>
                <a:gd name="connsiteX63" fmla="*/ 6879 w 10000"/>
                <a:gd name="connsiteY63" fmla="*/ 2392 h 10015"/>
                <a:gd name="connsiteX64" fmla="*/ 6909 w 10000"/>
                <a:gd name="connsiteY64" fmla="*/ 2337 h 10015"/>
                <a:gd name="connsiteX65" fmla="*/ 6946 w 10000"/>
                <a:gd name="connsiteY65" fmla="*/ 2277 h 10015"/>
                <a:gd name="connsiteX66" fmla="*/ 6990 w 10000"/>
                <a:gd name="connsiteY66" fmla="*/ 2222 h 10015"/>
                <a:gd name="connsiteX67" fmla="*/ 7027 w 10000"/>
                <a:gd name="connsiteY67" fmla="*/ 2167 h 10015"/>
                <a:gd name="connsiteX68" fmla="*/ 7072 w 10000"/>
                <a:gd name="connsiteY68" fmla="*/ 2112 h 10015"/>
                <a:gd name="connsiteX69" fmla="*/ 7109 w 10000"/>
                <a:gd name="connsiteY69" fmla="*/ 2057 h 10015"/>
                <a:gd name="connsiteX70" fmla="*/ 7161 w 10000"/>
                <a:gd name="connsiteY70" fmla="*/ 2007 h 10015"/>
                <a:gd name="connsiteX71" fmla="*/ 7213 w 10000"/>
                <a:gd name="connsiteY71" fmla="*/ 1952 h 10015"/>
                <a:gd name="connsiteX72" fmla="*/ 7257 w 10000"/>
                <a:gd name="connsiteY72" fmla="*/ 1897 h 10015"/>
                <a:gd name="connsiteX73" fmla="*/ 7309 w 10000"/>
                <a:gd name="connsiteY73" fmla="*/ 1846 h 10015"/>
                <a:gd name="connsiteX74" fmla="*/ 7361 w 10000"/>
                <a:gd name="connsiteY74" fmla="*/ 1795 h 10015"/>
                <a:gd name="connsiteX75" fmla="*/ 7413 w 10000"/>
                <a:gd name="connsiteY75" fmla="*/ 1745 h 10015"/>
                <a:gd name="connsiteX76" fmla="*/ 7472 w 10000"/>
                <a:gd name="connsiteY76" fmla="*/ 1694 h 10015"/>
                <a:gd name="connsiteX77" fmla="*/ 7524 w 10000"/>
                <a:gd name="connsiteY77" fmla="*/ 1648 h 10015"/>
                <a:gd name="connsiteX78" fmla="*/ 7583 w 10000"/>
                <a:gd name="connsiteY78" fmla="*/ 1602 h 10015"/>
                <a:gd name="connsiteX79" fmla="*/ 7610 w 10000"/>
                <a:gd name="connsiteY79" fmla="*/ 1573 h 10015"/>
                <a:gd name="connsiteX80" fmla="*/ 5390 w 10000"/>
                <a:gd name="connsiteY80" fmla="*/ 0 h 10015"/>
                <a:gd name="connsiteX81" fmla="*/ 1423 w 10000"/>
                <a:gd name="connsiteY81" fmla="*/ 8 h 10015"/>
                <a:gd name="connsiteX82" fmla="*/ 1305 w 10000"/>
                <a:gd name="connsiteY82" fmla="*/ 129 h 10015"/>
                <a:gd name="connsiteX83" fmla="*/ 1223 w 10000"/>
                <a:gd name="connsiteY83" fmla="*/ 221 h 10015"/>
                <a:gd name="connsiteX84" fmla="*/ 1149 w 10000"/>
                <a:gd name="connsiteY84" fmla="*/ 317 h 10015"/>
                <a:gd name="connsiteX85" fmla="*/ 1067 w 10000"/>
                <a:gd name="connsiteY85" fmla="*/ 414 h 10015"/>
                <a:gd name="connsiteX86" fmla="*/ 1001 w 10000"/>
                <a:gd name="connsiteY86" fmla="*/ 511 h 10015"/>
                <a:gd name="connsiteX87" fmla="*/ 927 w 10000"/>
                <a:gd name="connsiteY87" fmla="*/ 607 h 10015"/>
                <a:gd name="connsiteX88" fmla="*/ 860 w 10000"/>
                <a:gd name="connsiteY88" fmla="*/ 708 h 10015"/>
                <a:gd name="connsiteX89" fmla="*/ 793 w 10000"/>
                <a:gd name="connsiteY89" fmla="*/ 809 h 10015"/>
                <a:gd name="connsiteX90" fmla="*/ 734 w 10000"/>
                <a:gd name="connsiteY90" fmla="*/ 905 h 10015"/>
                <a:gd name="connsiteX91" fmla="*/ 675 w 10000"/>
                <a:gd name="connsiteY91" fmla="*/ 1006 h 10015"/>
                <a:gd name="connsiteX92" fmla="*/ 615 w 10000"/>
                <a:gd name="connsiteY92" fmla="*/ 1107 h 10015"/>
                <a:gd name="connsiteX93" fmla="*/ 556 w 10000"/>
                <a:gd name="connsiteY93" fmla="*/ 1213 h 10015"/>
                <a:gd name="connsiteX94" fmla="*/ 504 w 10000"/>
                <a:gd name="connsiteY94" fmla="*/ 1309 h 10015"/>
                <a:gd name="connsiteX95" fmla="*/ 452 w 10000"/>
                <a:gd name="connsiteY95" fmla="*/ 1415 h 10015"/>
                <a:gd name="connsiteX96" fmla="*/ 408 w 10000"/>
                <a:gd name="connsiteY96" fmla="*/ 1515 h 10015"/>
                <a:gd name="connsiteX97" fmla="*/ 363 w 10000"/>
                <a:gd name="connsiteY97" fmla="*/ 1621 h 10015"/>
                <a:gd name="connsiteX98" fmla="*/ 319 w 10000"/>
                <a:gd name="connsiteY98" fmla="*/ 1726 h 10015"/>
                <a:gd name="connsiteX99" fmla="*/ 282 w 10000"/>
                <a:gd name="connsiteY99" fmla="*/ 1833 h 10015"/>
                <a:gd name="connsiteX100" fmla="*/ 237 w 10000"/>
                <a:gd name="connsiteY100" fmla="*/ 1943 h 10015"/>
                <a:gd name="connsiteX101" fmla="*/ 208 w 10000"/>
                <a:gd name="connsiteY101" fmla="*/ 2048 h 10015"/>
                <a:gd name="connsiteX102" fmla="*/ 170 w 10000"/>
                <a:gd name="connsiteY102" fmla="*/ 2158 h 10015"/>
                <a:gd name="connsiteX103" fmla="*/ 148 w 10000"/>
                <a:gd name="connsiteY103" fmla="*/ 2268 h 10015"/>
                <a:gd name="connsiteX104" fmla="*/ 119 w 10000"/>
                <a:gd name="connsiteY104" fmla="*/ 2373 h 10015"/>
                <a:gd name="connsiteX105" fmla="*/ 96 w 10000"/>
                <a:gd name="connsiteY105" fmla="*/ 2483 h 10015"/>
                <a:gd name="connsiteX106" fmla="*/ 74 w 10000"/>
                <a:gd name="connsiteY106" fmla="*/ 2594 h 10015"/>
                <a:gd name="connsiteX107" fmla="*/ 52 w 10000"/>
                <a:gd name="connsiteY107" fmla="*/ 2709 h 10015"/>
                <a:gd name="connsiteX108" fmla="*/ 37 w 10000"/>
                <a:gd name="connsiteY108" fmla="*/ 2819 h 10015"/>
                <a:gd name="connsiteX109" fmla="*/ 22 w 10000"/>
                <a:gd name="connsiteY109" fmla="*/ 2929 h 10015"/>
                <a:gd name="connsiteX110" fmla="*/ 15 w 10000"/>
                <a:gd name="connsiteY110" fmla="*/ 3039 h 10015"/>
                <a:gd name="connsiteX111" fmla="*/ 7 w 10000"/>
                <a:gd name="connsiteY111" fmla="*/ 3153 h 10015"/>
                <a:gd name="connsiteX112" fmla="*/ 0 w 10000"/>
                <a:gd name="connsiteY112" fmla="*/ 3264 h 10015"/>
                <a:gd name="connsiteX113" fmla="*/ 0 w 10000"/>
                <a:gd name="connsiteY113" fmla="*/ 3379 h 10015"/>
                <a:gd name="connsiteX114" fmla="*/ 7 w 10000"/>
                <a:gd name="connsiteY114" fmla="*/ 3526 h 10015"/>
                <a:gd name="connsiteX115" fmla="*/ 7 w 10000"/>
                <a:gd name="connsiteY115" fmla="*/ 3672 h 10015"/>
                <a:gd name="connsiteX116" fmla="*/ 22 w 10000"/>
                <a:gd name="connsiteY116" fmla="*/ 3810 h 10015"/>
                <a:gd name="connsiteX117" fmla="*/ 37 w 10000"/>
                <a:gd name="connsiteY117" fmla="*/ 3953 h 10015"/>
                <a:gd name="connsiteX118" fmla="*/ 59 w 10000"/>
                <a:gd name="connsiteY118" fmla="*/ 4095 h 10015"/>
                <a:gd name="connsiteX119" fmla="*/ 89 w 10000"/>
                <a:gd name="connsiteY119" fmla="*/ 4237 h 10015"/>
                <a:gd name="connsiteX120" fmla="*/ 119 w 10000"/>
                <a:gd name="connsiteY120" fmla="*/ 4379 h 10015"/>
                <a:gd name="connsiteX121" fmla="*/ 148 w 10000"/>
                <a:gd name="connsiteY121" fmla="*/ 4521 h 10015"/>
                <a:gd name="connsiteX122" fmla="*/ 193 w 10000"/>
                <a:gd name="connsiteY122" fmla="*/ 4660 h 10015"/>
                <a:gd name="connsiteX123" fmla="*/ 237 w 10000"/>
                <a:gd name="connsiteY123" fmla="*/ 4797 h 10015"/>
                <a:gd name="connsiteX124" fmla="*/ 282 w 10000"/>
                <a:gd name="connsiteY124" fmla="*/ 4935 h 10015"/>
                <a:gd name="connsiteX125" fmla="*/ 334 w 10000"/>
                <a:gd name="connsiteY125" fmla="*/ 5072 h 10015"/>
                <a:gd name="connsiteX126" fmla="*/ 393 w 10000"/>
                <a:gd name="connsiteY126" fmla="*/ 5205 h 10015"/>
                <a:gd name="connsiteX127" fmla="*/ 452 w 10000"/>
                <a:gd name="connsiteY127" fmla="*/ 5338 h 10015"/>
                <a:gd name="connsiteX128" fmla="*/ 519 w 10000"/>
                <a:gd name="connsiteY128" fmla="*/ 5472 h 10015"/>
                <a:gd name="connsiteX129" fmla="*/ 586 w 10000"/>
                <a:gd name="connsiteY129" fmla="*/ 5605 h 10015"/>
                <a:gd name="connsiteX130" fmla="*/ 660 w 10000"/>
                <a:gd name="connsiteY130" fmla="*/ 5733 h 10015"/>
                <a:gd name="connsiteX131" fmla="*/ 741 w 10000"/>
                <a:gd name="connsiteY131" fmla="*/ 5861 h 10015"/>
                <a:gd name="connsiteX132" fmla="*/ 823 w 10000"/>
                <a:gd name="connsiteY132" fmla="*/ 5994 h 10015"/>
                <a:gd name="connsiteX133" fmla="*/ 904 w 10000"/>
                <a:gd name="connsiteY133" fmla="*/ 6119 h 10015"/>
                <a:gd name="connsiteX134" fmla="*/ 993 w 10000"/>
                <a:gd name="connsiteY134" fmla="*/ 6243 h 10015"/>
                <a:gd name="connsiteX135" fmla="*/ 1090 w 10000"/>
                <a:gd name="connsiteY135" fmla="*/ 6362 h 10015"/>
                <a:gd name="connsiteX136" fmla="*/ 1186 w 10000"/>
                <a:gd name="connsiteY136" fmla="*/ 6486 h 10015"/>
                <a:gd name="connsiteX137" fmla="*/ 1290 w 10000"/>
                <a:gd name="connsiteY137" fmla="*/ 6609 h 10015"/>
                <a:gd name="connsiteX138" fmla="*/ 1386 w 10000"/>
                <a:gd name="connsiteY138" fmla="*/ 6729 h 10015"/>
                <a:gd name="connsiteX139" fmla="*/ 1497 w 10000"/>
                <a:gd name="connsiteY139" fmla="*/ 6849 h 10015"/>
                <a:gd name="connsiteX140" fmla="*/ 1609 w 10000"/>
                <a:gd name="connsiteY140" fmla="*/ 6963 h 10015"/>
                <a:gd name="connsiteX141" fmla="*/ 1727 w 10000"/>
                <a:gd name="connsiteY141" fmla="*/ 7082 h 10015"/>
                <a:gd name="connsiteX142" fmla="*/ 1846 w 10000"/>
                <a:gd name="connsiteY142" fmla="*/ 7197 h 10015"/>
                <a:gd name="connsiteX143" fmla="*/ 1964 w 10000"/>
                <a:gd name="connsiteY143" fmla="*/ 7307 h 10015"/>
                <a:gd name="connsiteX144" fmla="*/ 2090 w 10000"/>
                <a:gd name="connsiteY144" fmla="*/ 7417 h 10015"/>
                <a:gd name="connsiteX145" fmla="*/ 2224 w 10000"/>
                <a:gd name="connsiteY145" fmla="*/ 7528 h 10015"/>
                <a:gd name="connsiteX146" fmla="*/ 2350 w 10000"/>
                <a:gd name="connsiteY146" fmla="*/ 7638 h 10015"/>
                <a:gd name="connsiteX147" fmla="*/ 2491 w 10000"/>
                <a:gd name="connsiteY147" fmla="*/ 7743 h 10015"/>
                <a:gd name="connsiteX148" fmla="*/ 2617 w 10000"/>
                <a:gd name="connsiteY148" fmla="*/ 7849 h 10015"/>
                <a:gd name="connsiteX149" fmla="*/ 2765 w 10000"/>
                <a:gd name="connsiteY149" fmla="*/ 7950 h 10015"/>
                <a:gd name="connsiteX150" fmla="*/ 2906 w 10000"/>
                <a:gd name="connsiteY150" fmla="*/ 8050 h 10015"/>
                <a:gd name="connsiteX151" fmla="*/ 3054 w 10000"/>
                <a:gd name="connsiteY151" fmla="*/ 8151 h 10015"/>
                <a:gd name="connsiteX152" fmla="*/ 3210 w 10000"/>
                <a:gd name="connsiteY152" fmla="*/ 8249 h 10015"/>
                <a:gd name="connsiteX153" fmla="*/ 3358 w 10000"/>
                <a:gd name="connsiteY153" fmla="*/ 8345 h 10015"/>
                <a:gd name="connsiteX154" fmla="*/ 3514 w 10000"/>
                <a:gd name="connsiteY154" fmla="*/ 8441 h 10015"/>
                <a:gd name="connsiteX155" fmla="*/ 3677 w 10000"/>
                <a:gd name="connsiteY155" fmla="*/ 8533 h 10015"/>
                <a:gd name="connsiteX156" fmla="*/ 3840 w 10000"/>
                <a:gd name="connsiteY156" fmla="*/ 8620 h 10015"/>
                <a:gd name="connsiteX157" fmla="*/ 4010 w 10000"/>
                <a:gd name="connsiteY157" fmla="*/ 8711 h 10015"/>
                <a:gd name="connsiteX158" fmla="*/ 4181 w 10000"/>
                <a:gd name="connsiteY158" fmla="*/ 8789 h 10015"/>
                <a:gd name="connsiteX159" fmla="*/ 4351 w 10000"/>
                <a:gd name="connsiteY159" fmla="*/ 8876 h 10015"/>
                <a:gd name="connsiteX160" fmla="*/ 4522 w 10000"/>
                <a:gd name="connsiteY160" fmla="*/ 8955 h 10015"/>
                <a:gd name="connsiteX161" fmla="*/ 4700 w 10000"/>
                <a:gd name="connsiteY161" fmla="*/ 9038 h 10015"/>
                <a:gd name="connsiteX162" fmla="*/ 4878 w 10000"/>
                <a:gd name="connsiteY162" fmla="*/ 9116 h 10015"/>
                <a:gd name="connsiteX163" fmla="*/ 5063 w 10000"/>
                <a:gd name="connsiteY163" fmla="*/ 9189 h 10015"/>
                <a:gd name="connsiteX164" fmla="*/ 5248 w 10000"/>
                <a:gd name="connsiteY164" fmla="*/ 9267 h 10015"/>
                <a:gd name="connsiteX165" fmla="*/ 5426 w 10000"/>
                <a:gd name="connsiteY165" fmla="*/ 9336 h 10015"/>
                <a:gd name="connsiteX166" fmla="*/ 5619 w 10000"/>
                <a:gd name="connsiteY166" fmla="*/ 9404 h 10015"/>
                <a:gd name="connsiteX167" fmla="*/ 5812 w 10000"/>
                <a:gd name="connsiteY167" fmla="*/ 9473 h 10015"/>
                <a:gd name="connsiteX168" fmla="*/ 6004 w 10000"/>
                <a:gd name="connsiteY168" fmla="*/ 9537 h 10015"/>
                <a:gd name="connsiteX169" fmla="*/ 6205 w 10000"/>
                <a:gd name="connsiteY169" fmla="*/ 9602 h 10015"/>
                <a:gd name="connsiteX170" fmla="*/ 6397 w 10000"/>
                <a:gd name="connsiteY170" fmla="*/ 9662 h 10015"/>
                <a:gd name="connsiteX171" fmla="*/ 6605 w 10000"/>
                <a:gd name="connsiteY171" fmla="*/ 9717 h 10015"/>
                <a:gd name="connsiteX172" fmla="*/ 6805 w 10000"/>
                <a:gd name="connsiteY172" fmla="*/ 9772 h 10015"/>
                <a:gd name="connsiteX173" fmla="*/ 7005 w 10000"/>
                <a:gd name="connsiteY173" fmla="*/ 9827 h 10015"/>
                <a:gd name="connsiteX174" fmla="*/ 7213 w 10000"/>
                <a:gd name="connsiteY174" fmla="*/ 9878 h 10015"/>
                <a:gd name="connsiteX175" fmla="*/ 7420 w 10000"/>
                <a:gd name="connsiteY175" fmla="*/ 9923 h 10015"/>
                <a:gd name="connsiteX176" fmla="*/ 7628 w 10000"/>
                <a:gd name="connsiteY176" fmla="*/ 9969 h 10015"/>
                <a:gd name="connsiteX177" fmla="*/ 7835 w 10000"/>
                <a:gd name="connsiteY177" fmla="*/ 10015 h 10015"/>
                <a:gd name="connsiteX178" fmla="*/ 7539 w 10000"/>
                <a:gd name="connsiteY178" fmla="*/ 7766 h 10015"/>
                <a:gd name="connsiteX179" fmla="*/ 10000 w 10000"/>
                <a:gd name="connsiteY179" fmla="*/ 6151 h 10015"/>
                <a:gd name="connsiteX0" fmla="*/ 10000 w 10000"/>
                <a:gd name="connsiteY0" fmla="*/ 6143 h 10007"/>
                <a:gd name="connsiteX1" fmla="*/ 10000 w 10000"/>
                <a:gd name="connsiteY1" fmla="*/ 6143 h 10007"/>
                <a:gd name="connsiteX2" fmla="*/ 9911 w 10000"/>
                <a:gd name="connsiteY2" fmla="*/ 6129 h 10007"/>
                <a:gd name="connsiteX3" fmla="*/ 9815 w 10000"/>
                <a:gd name="connsiteY3" fmla="*/ 6111 h 10007"/>
                <a:gd name="connsiteX4" fmla="*/ 9726 w 10000"/>
                <a:gd name="connsiteY4" fmla="*/ 6093 h 10007"/>
                <a:gd name="connsiteX5" fmla="*/ 9637 w 10000"/>
                <a:gd name="connsiteY5" fmla="*/ 6069 h 10007"/>
                <a:gd name="connsiteX6" fmla="*/ 9548 w 10000"/>
                <a:gd name="connsiteY6" fmla="*/ 6050 h 10007"/>
                <a:gd name="connsiteX7" fmla="*/ 9466 w 10000"/>
                <a:gd name="connsiteY7" fmla="*/ 6028 h 10007"/>
                <a:gd name="connsiteX8" fmla="*/ 9377 w 10000"/>
                <a:gd name="connsiteY8" fmla="*/ 6005 h 10007"/>
                <a:gd name="connsiteX9" fmla="*/ 9288 w 10000"/>
                <a:gd name="connsiteY9" fmla="*/ 5982 h 10007"/>
                <a:gd name="connsiteX10" fmla="*/ 9118 w 10000"/>
                <a:gd name="connsiteY10" fmla="*/ 5931 h 10007"/>
                <a:gd name="connsiteX11" fmla="*/ 8955 w 10000"/>
                <a:gd name="connsiteY11" fmla="*/ 5876 h 10007"/>
                <a:gd name="connsiteX12" fmla="*/ 8792 w 10000"/>
                <a:gd name="connsiteY12" fmla="*/ 5817 h 10007"/>
                <a:gd name="connsiteX13" fmla="*/ 8636 w 10000"/>
                <a:gd name="connsiteY13" fmla="*/ 5753 h 10007"/>
                <a:gd name="connsiteX14" fmla="*/ 8480 w 10000"/>
                <a:gd name="connsiteY14" fmla="*/ 5688 h 10007"/>
                <a:gd name="connsiteX15" fmla="*/ 8340 w 10000"/>
                <a:gd name="connsiteY15" fmla="*/ 5620 h 10007"/>
                <a:gd name="connsiteX16" fmla="*/ 8199 w 10000"/>
                <a:gd name="connsiteY16" fmla="*/ 5546 h 10007"/>
                <a:gd name="connsiteX17" fmla="*/ 8058 w 10000"/>
                <a:gd name="connsiteY17" fmla="*/ 5468 h 10007"/>
                <a:gd name="connsiteX18" fmla="*/ 7924 w 10000"/>
                <a:gd name="connsiteY18" fmla="*/ 5386 h 10007"/>
                <a:gd name="connsiteX19" fmla="*/ 7798 w 10000"/>
                <a:gd name="connsiteY19" fmla="*/ 5302 h 10007"/>
                <a:gd name="connsiteX20" fmla="*/ 7672 w 10000"/>
                <a:gd name="connsiteY20" fmla="*/ 5215 h 10007"/>
                <a:gd name="connsiteX21" fmla="*/ 7554 w 10000"/>
                <a:gd name="connsiteY21" fmla="*/ 5128 h 10007"/>
                <a:gd name="connsiteX22" fmla="*/ 7450 w 10000"/>
                <a:gd name="connsiteY22" fmla="*/ 5032 h 10007"/>
                <a:gd name="connsiteX23" fmla="*/ 7346 w 10000"/>
                <a:gd name="connsiteY23" fmla="*/ 4936 h 10007"/>
                <a:gd name="connsiteX24" fmla="*/ 7250 w 10000"/>
                <a:gd name="connsiteY24" fmla="*/ 4840 h 10007"/>
                <a:gd name="connsiteX25" fmla="*/ 7161 w 10000"/>
                <a:gd name="connsiteY25" fmla="*/ 4739 h 10007"/>
                <a:gd name="connsiteX26" fmla="*/ 7072 w 10000"/>
                <a:gd name="connsiteY26" fmla="*/ 4637 h 10007"/>
                <a:gd name="connsiteX27" fmla="*/ 6990 w 10000"/>
                <a:gd name="connsiteY27" fmla="*/ 4527 h 10007"/>
                <a:gd name="connsiteX28" fmla="*/ 6953 w 10000"/>
                <a:gd name="connsiteY28" fmla="*/ 4477 h 10007"/>
                <a:gd name="connsiteX29" fmla="*/ 6916 w 10000"/>
                <a:gd name="connsiteY29" fmla="*/ 4422 h 10007"/>
                <a:gd name="connsiteX30" fmla="*/ 6887 w 10000"/>
                <a:gd name="connsiteY30" fmla="*/ 4367 h 10007"/>
                <a:gd name="connsiteX31" fmla="*/ 6850 w 10000"/>
                <a:gd name="connsiteY31" fmla="*/ 4312 h 10007"/>
                <a:gd name="connsiteX32" fmla="*/ 6820 w 10000"/>
                <a:gd name="connsiteY32" fmla="*/ 4257 h 10007"/>
                <a:gd name="connsiteX33" fmla="*/ 6790 w 10000"/>
                <a:gd name="connsiteY33" fmla="*/ 4202 h 10007"/>
                <a:gd name="connsiteX34" fmla="*/ 6768 w 10000"/>
                <a:gd name="connsiteY34" fmla="*/ 4142 h 10007"/>
                <a:gd name="connsiteX35" fmla="*/ 6738 w 10000"/>
                <a:gd name="connsiteY35" fmla="*/ 4087 h 10007"/>
                <a:gd name="connsiteX36" fmla="*/ 6723 w 10000"/>
                <a:gd name="connsiteY36" fmla="*/ 4027 h 10007"/>
                <a:gd name="connsiteX37" fmla="*/ 6694 w 10000"/>
                <a:gd name="connsiteY37" fmla="*/ 3972 h 10007"/>
                <a:gd name="connsiteX38" fmla="*/ 6679 w 10000"/>
                <a:gd name="connsiteY38" fmla="*/ 3912 h 10007"/>
                <a:gd name="connsiteX39" fmla="*/ 6664 w 10000"/>
                <a:gd name="connsiteY39" fmla="*/ 3852 h 10007"/>
                <a:gd name="connsiteX40" fmla="*/ 6649 w 10000"/>
                <a:gd name="connsiteY40" fmla="*/ 3793 h 10007"/>
                <a:gd name="connsiteX41" fmla="*/ 6635 w 10000"/>
                <a:gd name="connsiteY41" fmla="*/ 3738 h 10007"/>
                <a:gd name="connsiteX42" fmla="*/ 6620 w 10000"/>
                <a:gd name="connsiteY42" fmla="*/ 3678 h 10007"/>
                <a:gd name="connsiteX43" fmla="*/ 6612 w 10000"/>
                <a:gd name="connsiteY43" fmla="*/ 3619 h 10007"/>
                <a:gd name="connsiteX44" fmla="*/ 6605 w 10000"/>
                <a:gd name="connsiteY44" fmla="*/ 3559 h 10007"/>
                <a:gd name="connsiteX45" fmla="*/ 6597 w 10000"/>
                <a:gd name="connsiteY45" fmla="*/ 3495 h 10007"/>
                <a:gd name="connsiteX46" fmla="*/ 6597 w 10000"/>
                <a:gd name="connsiteY46" fmla="*/ 3435 h 10007"/>
                <a:gd name="connsiteX47" fmla="*/ 6590 w 10000"/>
                <a:gd name="connsiteY47" fmla="*/ 3371 h 10007"/>
                <a:gd name="connsiteX48" fmla="*/ 6597 w 10000"/>
                <a:gd name="connsiteY48" fmla="*/ 3311 h 10007"/>
                <a:gd name="connsiteX49" fmla="*/ 6605 w 10000"/>
                <a:gd name="connsiteY49" fmla="*/ 3243 h 10007"/>
                <a:gd name="connsiteX50" fmla="*/ 6605 w 10000"/>
                <a:gd name="connsiteY50" fmla="*/ 3178 h 10007"/>
                <a:gd name="connsiteX51" fmla="*/ 6612 w 10000"/>
                <a:gd name="connsiteY51" fmla="*/ 3113 h 10007"/>
                <a:gd name="connsiteX52" fmla="*/ 6620 w 10000"/>
                <a:gd name="connsiteY52" fmla="*/ 3049 h 10007"/>
                <a:gd name="connsiteX53" fmla="*/ 6635 w 10000"/>
                <a:gd name="connsiteY53" fmla="*/ 2990 h 10007"/>
                <a:gd name="connsiteX54" fmla="*/ 6649 w 10000"/>
                <a:gd name="connsiteY54" fmla="*/ 2926 h 10007"/>
                <a:gd name="connsiteX55" fmla="*/ 6664 w 10000"/>
                <a:gd name="connsiteY55" fmla="*/ 2866 h 10007"/>
                <a:gd name="connsiteX56" fmla="*/ 6686 w 10000"/>
                <a:gd name="connsiteY56" fmla="*/ 2802 h 10007"/>
                <a:gd name="connsiteX57" fmla="*/ 6709 w 10000"/>
                <a:gd name="connsiteY57" fmla="*/ 2742 h 10007"/>
                <a:gd name="connsiteX58" fmla="*/ 6731 w 10000"/>
                <a:gd name="connsiteY58" fmla="*/ 2683 h 10007"/>
                <a:gd name="connsiteX59" fmla="*/ 6753 w 10000"/>
                <a:gd name="connsiteY59" fmla="*/ 2618 h 10007"/>
                <a:gd name="connsiteX60" fmla="*/ 6783 w 10000"/>
                <a:gd name="connsiteY60" fmla="*/ 2563 h 10007"/>
                <a:gd name="connsiteX61" fmla="*/ 6812 w 10000"/>
                <a:gd name="connsiteY61" fmla="*/ 2503 h 10007"/>
                <a:gd name="connsiteX62" fmla="*/ 6842 w 10000"/>
                <a:gd name="connsiteY62" fmla="*/ 2443 h 10007"/>
                <a:gd name="connsiteX63" fmla="*/ 6879 w 10000"/>
                <a:gd name="connsiteY63" fmla="*/ 2384 h 10007"/>
                <a:gd name="connsiteX64" fmla="*/ 6909 w 10000"/>
                <a:gd name="connsiteY64" fmla="*/ 2329 h 10007"/>
                <a:gd name="connsiteX65" fmla="*/ 6946 w 10000"/>
                <a:gd name="connsiteY65" fmla="*/ 2269 h 10007"/>
                <a:gd name="connsiteX66" fmla="*/ 6990 w 10000"/>
                <a:gd name="connsiteY66" fmla="*/ 2214 h 10007"/>
                <a:gd name="connsiteX67" fmla="*/ 7027 w 10000"/>
                <a:gd name="connsiteY67" fmla="*/ 2159 h 10007"/>
                <a:gd name="connsiteX68" fmla="*/ 7072 w 10000"/>
                <a:gd name="connsiteY68" fmla="*/ 2104 h 10007"/>
                <a:gd name="connsiteX69" fmla="*/ 7109 w 10000"/>
                <a:gd name="connsiteY69" fmla="*/ 2049 h 10007"/>
                <a:gd name="connsiteX70" fmla="*/ 7161 w 10000"/>
                <a:gd name="connsiteY70" fmla="*/ 1999 h 10007"/>
                <a:gd name="connsiteX71" fmla="*/ 7213 w 10000"/>
                <a:gd name="connsiteY71" fmla="*/ 1944 h 10007"/>
                <a:gd name="connsiteX72" fmla="*/ 7257 w 10000"/>
                <a:gd name="connsiteY72" fmla="*/ 1889 h 10007"/>
                <a:gd name="connsiteX73" fmla="*/ 7309 w 10000"/>
                <a:gd name="connsiteY73" fmla="*/ 1838 h 10007"/>
                <a:gd name="connsiteX74" fmla="*/ 7361 w 10000"/>
                <a:gd name="connsiteY74" fmla="*/ 1787 h 10007"/>
                <a:gd name="connsiteX75" fmla="*/ 7413 w 10000"/>
                <a:gd name="connsiteY75" fmla="*/ 1737 h 10007"/>
                <a:gd name="connsiteX76" fmla="*/ 7472 w 10000"/>
                <a:gd name="connsiteY76" fmla="*/ 1686 h 10007"/>
                <a:gd name="connsiteX77" fmla="*/ 7524 w 10000"/>
                <a:gd name="connsiteY77" fmla="*/ 1640 h 10007"/>
                <a:gd name="connsiteX78" fmla="*/ 7583 w 10000"/>
                <a:gd name="connsiteY78" fmla="*/ 1594 h 10007"/>
                <a:gd name="connsiteX79" fmla="*/ 7610 w 10000"/>
                <a:gd name="connsiteY79" fmla="*/ 1565 h 10007"/>
                <a:gd name="connsiteX80" fmla="*/ 5379 w 10000"/>
                <a:gd name="connsiteY80" fmla="*/ 20 h 10007"/>
                <a:gd name="connsiteX81" fmla="*/ 1423 w 10000"/>
                <a:gd name="connsiteY81" fmla="*/ 0 h 10007"/>
                <a:gd name="connsiteX82" fmla="*/ 1305 w 10000"/>
                <a:gd name="connsiteY82" fmla="*/ 121 h 10007"/>
                <a:gd name="connsiteX83" fmla="*/ 1223 w 10000"/>
                <a:gd name="connsiteY83" fmla="*/ 213 h 10007"/>
                <a:gd name="connsiteX84" fmla="*/ 1149 w 10000"/>
                <a:gd name="connsiteY84" fmla="*/ 309 h 10007"/>
                <a:gd name="connsiteX85" fmla="*/ 1067 w 10000"/>
                <a:gd name="connsiteY85" fmla="*/ 406 h 10007"/>
                <a:gd name="connsiteX86" fmla="*/ 1001 w 10000"/>
                <a:gd name="connsiteY86" fmla="*/ 503 h 10007"/>
                <a:gd name="connsiteX87" fmla="*/ 927 w 10000"/>
                <a:gd name="connsiteY87" fmla="*/ 599 h 10007"/>
                <a:gd name="connsiteX88" fmla="*/ 860 w 10000"/>
                <a:gd name="connsiteY88" fmla="*/ 700 h 10007"/>
                <a:gd name="connsiteX89" fmla="*/ 793 w 10000"/>
                <a:gd name="connsiteY89" fmla="*/ 801 h 10007"/>
                <a:gd name="connsiteX90" fmla="*/ 734 w 10000"/>
                <a:gd name="connsiteY90" fmla="*/ 897 h 10007"/>
                <a:gd name="connsiteX91" fmla="*/ 675 w 10000"/>
                <a:gd name="connsiteY91" fmla="*/ 998 h 10007"/>
                <a:gd name="connsiteX92" fmla="*/ 615 w 10000"/>
                <a:gd name="connsiteY92" fmla="*/ 1099 h 10007"/>
                <a:gd name="connsiteX93" fmla="*/ 556 w 10000"/>
                <a:gd name="connsiteY93" fmla="*/ 1205 h 10007"/>
                <a:gd name="connsiteX94" fmla="*/ 504 w 10000"/>
                <a:gd name="connsiteY94" fmla="*/ 1301 h 10007"/>
                <a:gd name="connsiteX95" fmla="*/ 452 w 10000"/>
                <a:gd name="connsiteY95" fmla="*/ 1407 h 10007"/>
                <a:gd name="connsiteX96" fmla="*/ 408 w 10000"/>
                <a:gd name="connsiteY96" fmla="*/ 1507 h 10007"/>
                <a:gd name="connsiteX97" fmla="*/ 363 w 10000"/>
                <a:gd name="connsiteY97" fmla="*/ 1613 h 10007"/>
                <a:gd name="connsiteX98" fmla="*/ 319 w 10000"/>
                <a:gd name="connsiteY98" fmla="*/ 1718 h 10007"/>
                <a:gd name="connsiteX99" fmla="*/ 282 w 10000"/>
                <a:gd name="connsiteY99" fmla="*/ 1825 h 10007"/>
                <a:gd name="connsiteX100" fmla="*/ 237 w 10000"/>
                <a:gd name="connsiteY100" fmla="*/ 1935 h 10007"/>
                <a:gd name="connsiteX101" fmla="*/ 208 w 10000"/>
                <a:gd name="connsiteY101" fmla="*/ 2040 h 10007"/>
                <a:gd name="connsiteX102" fmla="*/ 170 w 10000"/>
                <a:gd name="connsiteY102" fmla="*/ 2150 h 10007"/>
                <a:gd name="connsiteX103" fmla="*/ 148 w 10000"/>
                <a:gd name="connsiteY103" fmla="*/ 2260 h 10007"/>
                <a:gd name="connsiteX104" fmla="*/ 119 w 10000"/>
                <a:gd name="connsiteY104" fmla="*/ 2365 h 10007"/>
                <a:gd name="connsiteX105" fmla="*/ 96 w 10000"/>
                <a:gd name="connsiteY105" fmla="*/ 2475 h 10007"/>
                <a:gd name="connsiteX106" fmla="*/ 74 w 10000"/>
                <a:gd name="connsiteY106" fmla="*/ 2586 h 10007"/>
                <a:gd name="connsiteX107" fmla="*/ 52 w 10000"/>
                <a:gd name="connsiteY107" fmla="*/ 2701 h 10007"/>
                <a:gd name="connsiteX108" fmla="*/ 37 w 10000"/>
                <a:gd name="connsiteY108" fmla="*/ 2811 h 10007"/>
                <a:gd name="connsiteX109" fmla="*/ 22 w 10000"/>
                <a:gd name="connsiteY109" fmla="*/ 2921 h 10007"/>
                <a:gd name="connsiteX110" fmla="*/ 15 w 10000"/>
                <a:gd name="connsiteY110" fmla="*/ 3031 h 10007"/>
                <a:gd name="connsiteX111" fmla="*/ 7 w 10000"/>
                <a:gd name="connsiteY111" fmla="*/ 3145 h 10007"/>
                <a:gd name="connsiteX112" fmla="*/ 0 w 10000"/>
                <a:gd name="connsiteY112" fmla="*/ 3256 h 10007"/>
                <a:gd name="connsiteX113" fmla="*/ 0 w 10000"/>
                <a:gd name="connsiteY113" fmla="*/ 3371 h 10007"/>
                <a:gd name="connsiteX114" fmla="*/ 7 w 10000"/>
                <a:gd name="connsiteY114" fmla="*/ 3518 h 10007"/>
                <a:gd name="connsiteX115" fmla="*/ 7 w 10000"/>
                <a:gd name="connsiteY115" fmla="*/ 3664 h 10007"/>
                <a:gd name="connsiteX116" fmla="*/ 22 w 10000"/>
                <a:gd name="connsiteY116" fmla="*/ 3802 h 10007"/>
                <a:gd name="connsiteX117" fmla="*/ 37 w 10000"/>
                <a:gd name="connsiteY117" fmla="*/ 3945 h 10007"/>
                <a:gd name="connsiteX118" fmla="*/ 59 w 10000"/>
                <a:gd name="connsiteY118" fmla="*/ 4087 h 10007"/>
                <a:gd name="connsiteX119" fmla="*/ 89 w 10000"/>
                <a:gd name="connsiteY119" fmla="*/ 4229 h 10007"/>
                <a:gd name="connsiteX120" fmla="*/ 119 w 10000"/>
                <a:gd name="connsiteY120" fmla="*/ 4371 h 10007"/>
                <a:gd name="connsiteX121" fmla="*/ 148 w 10000"/>
                <a:gd name="connsiteY121" fmla="*/ 4513 h 10007"/>
                <a:gd name="connsiteX122" fmla="*/ 193 w 10000"/>
                <a:gd name="connsiteY122" fmla="*/ 4652 h 10007"/>
                <a:gd name="connsiteX123" fmla="*/ 237 w 10000"/>
                <a:gd name="connsiteY123" fmla="*/ 4789 h 10007"/>
                <a:gd name="connsiteX124" fmla="*/ 282 w 10000"/>
                <a:gd name="connsiteY124" fmla="*/ 4927 h 10007"/>
                <a:gd name="connsiteX125" fmla="*/ 334 w 10000"/>
                <a:gd name="connsiteY125" fmla="*/ 5064 h 10007"/>
                <a:gd name="connsiteX126" fmla="*/ 393 w 10000"/>
                <a:gd name="connsiteY126" fmla="*/ 5197 h 10007"/>
                <a:gd name="connsiteX127" fmla="*/ 452 w 10000"/>
                <a:gd name="connsiteY127" fmla="*/ 5330 h 10007"/>
                <a:gd name="connsiteX128" fmla="*/ 519 w 10000"/>
                <a:gd name="connsiteY128" fmla="*/ 5464 h 10007"/>
                <a:gd name="connsiteX129" fmla="*/ 586 w 10000"/>
                <a:gd name="connsiteY129" fmla="*/ 5597 h 10007"/>
                <a:gd name="connsiteX130" fmla="*/ 660 w 10000"/>
                <a:gd name="connsiteY130" fmla="*/ 5725 h 10007"/>
                <a:gd name="connsiteX131" fmla="*/ 741 w 10000"/>
                <a:gd name="connsiteY131" fmla="*/ 5853 h 10007"/>
                <a:gd name="connsiteX132" fmla="*/ 823 w 10000"/>
                <a:gd name="connsiteY132" fmla="*/ 5986 h 10007"/>
                <a:gd name="connsiteX133" fmla="*/ 904 w 10000"/>
                <a:gd name="connsiteY133" fmla="*/ 6111 h 10007"/>
                <a:gd name="connsiteX134" fmla="*/ 993 w 10000"/>
                <a:gd name="connsiteY134" fmla="*/ 6235 h 10007"/>
                <a:gd name="connsiteX135" fmla="*/ 1090 w 10000"/>
                <a:gd name="connsiteY135" fmla="*/ 6354 h 10007"/>
                <a:gd name="connsiteX136" fmla="*/ 1186 w 10000"/>
                <a:gd name="connsiteY136" fmla="*/ 6478 h 10007"/>
                <a:gd name="connsiteX137" fmla="*/ 1290 w 10000"/>
                <a:gd name="connsiteY137" fmla="*/ 6601 h 10007"/>
                <a:gd name="connsiteX138" fmla="*/ 1386 w 10000"/>
                <a:gd name="connsiteY138" fmla="*/ 6721 h 10007"/>
                <a:gd name="connsiteX139" fmla="*/ 1497 w 10000"/>
                <a:gd name="connsiteY139" fmla="*/ 6841 h 10007"/>
                <a:gd name="connsiteX140" fmla="*/ 1609 w 10000"/>
                <a:gd name="connsiteY140" fmla="*/ 6955 h 10007"/>
                <a:gd name="connsiteX141" fmla="*/ 1727 w 10000"/>
                <a:gd name="connsiteY141" fmla="*/ 7074 h 10007"/>
                <a:gd name="connsiteX142" fmla="*/ 1846 w 10000"/>
                <a:gd name="connsiteY142" fmla="*/ 7189 h 10007"/>
                <a:gd name="connsiteX143" fmla="*/ 1964 w 10000"/>
                <a:gd name="connsiteY143" fmla="*/ 7299 h 10007"/>
                <a:gd name="connsiteX144" fmla="*/ 2090 w 10000"/>
                <a:gd name="connsiteY144" fmla="*/ 7409 h 10007"/>
                <a:gd name="connsiteX145" fmla="*/ 2224 w 10000"/>
                <a:gd name="connsiteY145" fmla="*/ 7520 h 10007"/>
                <a:gd name="connsiteX146" fmla="*/ 2350 w 10000"/>
                <a:gd name="connsiteY146" fmla="*/ 7630 h 10007"/>
                <a:gd name="connsiteX147" fmla="*/ 2491 w 10000"/>
                <a:gd name="connsiteY147" fmla="*/ 7735 h 10007"/>
                <a:gd name="connsiteX148" fmla="*/ 2617 w 10000"/>
                <a:gd name="connsiteY148" fmla="*/ 7841 h 10007"/>
                <a:gd name="connsiteX149" fmla="*/ 2765 w 10000"/>
                <a:gd name="connsiteY149" fmla="*/ 7942 h 10007"/>
                <a:gd name="connsiteX150" fmla="*/ 2906 w 10000"/>
                <a:gd name="connsiteY150" fmla="*/ 8042 h 10007"/>
                <a:gd name="connsiteX151" fmla="*/ 3054 w 10000"/>
                <a:gd name="connsiteY151" fmla="*/ 8143 h 10007"/>
                <a:gd name="connsiteX152" fmla="*/ 3210 w 10000"/>
                <a:gd name="connsiteY152" fmla="*/ 8241 h 10007"/>
                <a:gd name="connsiteX153" fmla="*/ 3358 w 10000"/>
                <a:gd name="connsiteY153" fmla="*/ 8337 h 10007"/>
                <a:gd name="connsiteX154" fmla="*/ 3514 w 10000"/>
                <a:gd name="connsiteY154" fmla="*/ 8433 h 10007"/>
                <a:gd name="connsiteX155" fmla="*/ 3677 w 10000"/>
                <a:gd name="connsiteY155" fmla="*/ 8525 h 10007"/>
                <a:gd name="connsiteX156" fmla="*/ 3840 w 10000"/>
                <a:gd name="connsiteY156" fmla="*/ 8612 h 10007"/>
                <a:gd name="connsiteX157" fmla="*/ 4010 w 10000"/>
                <a:gd name="connsiteY157" fmla="*/ 8703 h 10007"/>
                <a:gd name="connsiteX158" fmla="*/ 4181 w 10000"/>
                <a:gd name="connsiteY158" fmla="*/ 8781 h 10007"/>
                <a:gd name="connsiteX159" fmla="*/ 4351 w 10000"/>
                <a:gd name="connsiteY159" fmla="*/ 8868 h 10007"/>
                <a:gd name="connsiteX160" fmla="*/ 4522 w 10000"/>
                <a:gd name="connsiteY160" fmla="*/ 8947 h 10007"/>
                <a:gd name="connsiteX161" fmla="*/ 4700 w 10000"/>
                <a:gd name="connsiteY161" fmla="*/ 9030 h 10007"/>
                <a:gd name="connsiteX162" fmla="*/ 4878 w 10000"/>
                <a:gd name="connsiteY162" fmla="*/ 9108 h 10007"/>
                <a:gd name="connsiteX163" fmla="*/ 5063 w 10000"/>
                <a:gd name="connsiteY163" fmla="*/ 9181 h 10007"/>
                <a:gd name="connsiteX164" fmla="*/ 5248 w 10000"/>
                <a:gd name="connsiteY164" fmla="*/ 9259 h 10007"/>
                <a:gd name="connsiteX165" fmla="*/ 5426 w 10000"/>
                <a:gd name="connsiteY165" fmla="*/ 9328 h 10007"/>
                <a:gd name="connsiteX166" fmla="*/ 5619 w 10000"/>
                <a:gd name="connsiteY166" fmla="*/ 9396 h 10007"/>
                <a:gd name="connsiteX167" fmla="*/ 5812 w 10000"/>
                <a:gd name="connsiteY167" fmla="*/ 9465 h 10007"/>
                <a:gd name="connsiteX168" fmla="*/ 6004 w 10000"/>
                <a:gd name="connsiteY168" fmla="*/ 9529 h 10007"/>
                <a:gd name="connsiteX169" fmla="*/ 6205 w 10000"/>
                <a:gd name="connsiteY169" fmla="*/ 9594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58 h 10007"/>
                <a:gd name="connsiteX179" fmla="*/ 10000 w 10000"/>
                <a:gd name="connsiteY179" fmla="*/ 6143 h 10007"/>
                <a:gd name="connsiteX0" fmla="*/ 10000 w 10000"/>
                <a:gd name="connsiteY0" fmla="*/ 6143 h 10007"/>
                <a:gd name="connsiteX1" fmla="*/ 10000 w 10000"/>
                <a:gd name="connsiteY1" fmla="*/ 6143 h 10007"/>
                <a:gd name="connsiteX2" fmla="*/ 9911 w 10000"/>
                <a:gd name="connsiteY2" fmla="*/ 6129 h 10007"/>
                <a:gd name="connsiteX3" fmla="*/ 9815 w 10000"/>
                <a:gd name="connsiteY3" fmla="*/ 6111 h 10007"/>
                <a:gd name="connsiteX4" fmla="*/ 9726 w 10000"/>
                <a:gd name="connsiteY4" fmla="*/ 6093 h 10007"/>
                <a:gd name="connsiteX5" fmla="*/ 9637 w 10000"/>
                <a:gd name="connsiteY5" fmla="*/ 6069 h 10007"/>
                <a:gd name="connsiteX6" fmla="*/ 9548 w 10000"/>
                <a:gd name="connsiteY6" fmla="*/ 6050 h 10007"/>
                <a:gd name="connsiteX7" fmla="*/ 9466 w 10000"/>
                <a:gd name="connsiteY7" fmla="*/ 6028 h 10007"/>
                <a:gd name="connsiteX8" fmla="*/ 9377 w 10000"/>
                <a:gd name="connsiteY8" fmla="*/ 6005 h 10007"/>
                <a:gd name="connsiteX9" fmla="*/ 9288 w 10000"/>
                <a:gd name="connsiteY9" fmla="*/ 5982 h 10007"/>
                <a:gd name="connsiteX10" fmla="*/ 9118 w 10000"/>
                <a:gd name="connsiteY10" fmla="*/ 5931 h 10007"/>
                <a:gd name="connsiteX11" fmla="*/ 8955 w 10000"/>
                <a:gd name="connsiteY11" fmla="*/ 5876 h 10007"/>
                <a:gd name="connsiteX12" fmla="*/ 8792 w 10000"/>
                <a:gd name="connsiteY12" fmla="*/ 5817 h 10007"/>
                <a:gd name="connsiteX13" fmla="*/ 8636 w 10000"/>
                <a:gd name="connsiteY13" fmla="*/ 5753 h 10007"/>
                <a:gd name="connsiteX14" fmla="*/ 8480 w 10000"/>
                <a:gd name="connsiteY14" fmla="*/ 5688 h 10007"/>
                <a:gd name="connsiteX15" fmla="*/ 8340 w 10000"/>
                <a:gd name="connsiteY15" fmla="*/ 5620 h 10007"/>
                <a:gd name="connsiteX16" fmla="*/ 8199 w 10000"/>
                <a:gd name="connsiteY16" fmla="*/ 5546 h 10007"/>
                <a:gd name="connsiteX17" fmla="*/ 8058 w 10000"/>
                <a:gd name="connsiteY17" fmla="*/ 5468 h 10007"/>
                <a:gd name="connsiteX18" fmla="*/ 7924 w 10000"/>
                <a:gd name="connsiteY18" fmla="*/ 5386 h 10007"/>
                <a:gd name="connsiteX19" fmla="*/ 7798 w 10000"/>
                <a:gd name="connsiteY19" fmla="*/ 5302 h 10007"/>
                <a:gd name="connsiteX20" fmla="*/ 7672 w 10000"/>
                <a:gd name="connsiteY20" fmla="*/ 5215 h 10007"/>
                <a:gd name="connsiteX21" fmla="*/ 7554 w 10000"/>
                <a:gd name="connsiteY21" fmla="*/ 5128 h 10007"/>
                <a:gd name="connsiteX22" fmla="*/ 7450 w 10000"/>
                <a:gd name="connsiteY22" fmla="*/ 5032 h 10007"/>
                <a:gd name="connsiteX23" fmla="*/ 7346 w 10000"/>
                <a:gd name="connsiteY23" fmla="*/ 4936 h 10007"/>
                <a:gd name="connsiteX24" fmla="*/ 7250 w 10000"/>
                <a:gd name="connsiteY24" fmla="*/ 4840 h 10007"/>
                <a:gd name="connsiteX25" fmla="*/ 7161 w 10000"/>
                <a:gd name="connsiteY25" fmla="*/ 4739 h 10007"/>
                <a:gd name="connsiteX26" fmla="*/ 7072 w 10000"/>
                <a:gd name="connsiteY26" fmla="*/ 4637 h 10007"/>
                <a:gd name="connsiteX27" fmla="*/ 6990 w 10000"/>
                <a:gd name="connsiteY27" fmla="*/ 4527 h 10007"/>
                <a:gd name="connsiteX28" fmla="*/ 6953 w 10000"/>
                <a:gd name="connsiteY28" fmla="*/ 4477 h 10007"/>
                <a:gd name="connsiteX29" fmla="*/ 6916 w 10000"/>
                <a:gd name="connsiteY29" fmla="*/ 4422 h 10007"/>
                <a:gd name="connsiteX30" fmla="*/ 6887 w 10000"/>
                <a:gd name="connsiteY30" fmla="*/ 4367 h 10007"/>
                <a:gd name="connsiteX31" fmla="*/ 6850 w 10000"/>
                <a:gd name="connsiteY31" fmla="*/ 4312 h 10007"/>
                <a:gd name="connsiteX32" fmla="*/ 6820 w 10000"/>
                <a:gd name="connsiteY32" fmla="*/ 4257 h 10007"/>
                <a:gd name="connsiteX33" fmla="*/ 6790 w 10000"/>
                <a:gd name="connsiteY33" fmla="*/ 4202 h 10007"/>
                <a:gd name="connsiteX34" fmla="*/ 6768 w 10000"/>
                <a:gd name="connsiteY34" fmla="*/ 4142 h 10007"/>
                <a:gd name="connsiteX35" fmla="*/ 6738 w 10000"/>
                <a:gd name="connsiteY35" fmla="*/ 4087 h 10007"/>
                <a:gd name="connsiteX36" fmla="*/ 6723 w 10000"/>
                <a:gd name="connsiteY36" fmla="*/ 4027 h 10007"/>
                <a:gd name="connsiteX37" fmla="*/ 6694 w 10000"/>
                <a:gd name="connsiteY37" fmla="*/ 3972 h 10007"/>
                <a:gd name="connsiteX38" fmla="*/ 6679 w 10000"/>
                <a:gd name="connsiteY38" fmla="*/ 3912 h 10007"/>
                <a:gd name="connsiteX39" fmla="*/ 6664 w 10000"/>
                <a:gd name="connsiteY39" fmla="*/ 3852 h 10007"/>
                <a:gd name="connsiteX40" fmla="*/ 6649 w 10000"/>
                <a:gd name="connsiteY40" fmla="*/ 3793 h 10007"/>
                <a:gd name="connsiteX41" fmla="*/ 6635 w 10000"/>
                <a:gd name="connsiteY41" fmla="*/ 3738 h 10007"/>
                <a:gd name="connsiteX42" fmla="*/ 6620 w 10000"/>
                <a:gd name="connsiteY42" fmla="*/ 3678 h 10007"/>
                <a:gd name="connsiteX43" fmla="*/ 6612 w 10000"/>
                <a:gd name="connsiteY43" fmla="*/ 3619 h 10007"/>
                <a:gd name="connsiteX44" fmla="*/ 6605 w 10000"/>
                <a:gd name="connsiteY44" fmla="*/ 3559 h 10007"/>
                <a:gd name="connsiteX45" fmla="*/ 6597 w 10000"/>
                <a:gd name="connsiteY45" fmla="*/ 3495 h 10007"/>
                <a:gd name="connsiteX46" fmla="*/ 6597 w 10000"/>
                <a:gd name="connsiteY46" fmla="*/ 3435 h 10007"/>
                <a:gd name="connsiteX47" fmla="*/ 6590 w 10000"/>
                <a:gd name="connsiteY47" fmla="*/ 3371 h 10007"/>
                <a:gd name="connsiteX48" fmla="*/ 6597 w 10000"/>
                <a:gd name="connsiteY48" fmla="*/ 3311 h 10007"/>
                <a:gd name="connsiteX49" fmla="*/ 6605 w 10000"/>
                <a:gd name="connsiteY49" fmla="*/ 3243 h 10007"/>
                <a:gd name="connsiteX50" fmla="*/ 6605 w 10000"/>
                <a:gd name="connsiteY50" fmla="*/ 3178 h 10007"/>
                <a:gd name="connsiteX51" fmla="*/ 6612 w 10000"/>
                <a:gd name="connsiteY51" fmla="*/ 3113 h 10007"/>
                <a:gd name="connsiteX52" fmla="*/ 6620 w 10000"/>
                <a:gd name="connsiteY52" fmla="*/ 3049 h 10007"/>
                <a:gd name="connsiteX53" fmla="*/ 6635 w 10000"/>
                <a:gd name="connsiteY53" fmla="*/ 2990 h 10007"/>
                <a:gd name="connsiteX54" fmla="*/ 6649 w 10000"/>
                <a:gd name="connsiteY54" fmla="*/ 2926 h 10007"/>
                <a:gd name="connsiteX55" fmla="*/ 6664 w 10000"/>
                <a:gd name="connsiteY55" fmla="*/ 2866 h 10007"/>
                <a:gd name="connsiteX56" fmla="*/ 6686 w 10000"/>
                <a:gd name="connsiteY56" fmla="*/ 2802 h 10007"/>
                <a:gd name="connsiteX57" fmla="*/ 6709 w 10000"/>
                <a:gd name="connsiteY57" fmla="*/ 2742 h 10007"/>
                <a:gd name="connsiteX58" fmla="*/ 6731 w 10000"/>
                <a:gd name="connsiteY58" fmla="*/ 2683 h 10007"/>
                <a:gd name="connsiteX59" fmla="*/ 6753 w 10000"/>
                <a:gd name="connsiteY59" fmla="*/ 2618 h 10007"/>
                <a:gd name="connsiteX60" fmla="*/ 6783 w 10000"/>
                <a:gd name="connsiteY60" fmla="*/ 2563 h 10007"/>
                <a:gd name="connsiteX61" fmla="*/ 6812 w 10000"/>
                <a:gd name="connsiteY61" fmla="*/ 2503 h 10007"/>
                <a:gd name="connsiteX62" fmla="*/ 6842 w 10000"/>
                <a:gd name="connsiteY62" fmla="*/ 2443 h 10007"/>
                <a:gd name="connsiteX63" fmla="*/ 6879 w 10000"/>
                <a:gd name="connsiteY63" fmla="*/ 2384 h 10007"/>
                <a:gd name="connsiteX64" fmla="*/ 6909 w 10000"/>
                <a:gd name="connsiteY64" fmla="*/ 2329 h 10007"/>
                <a:gd name="connsiteX65" fmla="*/ 6946 w 10000"/>
                <a:gd name="connsiteY65" fmla="*/ 2269 h 10007"/>
                <a:gd name="connsiteX66" fmla="*/ 6990 w 10000"/>
                <a:gd name="connsiteY66" fmla="*/ 2214 h 10007"/>
                <a:gd name="connsiteX67" fmla="*/ 7027 w 10000"/>
                <a:gd name="connsiteY67" fmla="*/ 2159 h 10007"/>
                <a:gd name="connsiteX68" fmla="*/ 7072 w 10000"/>
                <a:gd name="connsiteY68" fmla="*/ 2104 h 10007"/>
                <a:gd name="connsiteX69" fmla="*/ 7109 w 10000"/>
                <a:gd name="connsiteY69" fmla="*/ 2049 h 10007"/>
                <a:gd name="connsiteX70" fmla="*/ 7161 w 10000"/>
                <a:gd name="connsiteY70" fmla="*/ 1999 h 10007"/>
                <a:gd name="connsiteX71" fmla="*/ 7213 w 10000"/>
                <a:gd name="connsiteY71" fmla="*/ 1944 h 10007"/>
                <a:gd name="connsiteX72" fmla="*/ 7257 w 10000"/>
                <a:gd name="connsiteY72" fmla="*/ 1889 h 10007"/>
                <a:gd name="connsiteX73" fmla="*/ 7309 w 10000"/>
                <a:gd name="connsiteY73" fmla="*/ 1838 h 10007"/>
                <a:gd name="connsiteX74" fmla="*/ 7361 w 10000"/>
                <a:gd name="connsiteY74" fmla="*/ 1787 h 10007"/>
                <a:gd name="connsiteX75" fmla="*/ 7413 w 10000"/>
                <a:gd name="connsiteY75" fmla="*/ 1737 h 10007"/>
                <a:gd name="connsiteX76" fmla="*/ 7472 w 10000"/>
                <a:gd name="connsiteY76" fmla="*/ 1686 h 10007"/>
                <a:gd name="connsiteX77" fmla="*/ 7524 w 10000"/>
                <a:gd name="connsiteY77" fmla="*/ 1640 h 10007"/>
                <a:gd name="connsiteX78" fmla="*/ 7583 w 10000"/>
                <a:gd name="connsiteY78" fmla="*/ 1594 h 10007"/>
                <a:gd name="connsiteX79" fmla="*/ 7610 w 10000"/>
                <a:gd name="connsiteY79" fmla="*/ 1565 h 10007"/>
                <a:gd name="connsiteX80" fmla="*/ 5423 w 10000"/>
                <a:gd name="connsiteY80" fmla="*/ 6 h 10007"/>
                <a:gd name="connsiteX81" fmla="*/ 1423 w 10000"/>
                <a:gd name="connsiteY81" fmla="*/ 0 h 10007"/>
                <a:gd name="connsiteX82" fmla="*/ 1305 w 10000"/>
                <a:gd name="connsiteY82" fmla="*/ 121 h 10007"/>
                <a:gd name="connsiteX83" fmla="*/ 1223 w 10000"/>
                <a:gd name="connsiteY83" fmla="*/ 213 h 10007"/>
                <a:gd name="connsiteX84" fmla="*/ 1149 w 10000"/>
                <a:gd name="connsiteY84" fmla="*/ 309 h 10007"/>
                <a:gd name="connsiteX85" fmla="*/ 1067 w 10000"/>
                <a:gd name="connsiteY85" fmla="*/ 406 h 10007"/>
                <a:gd name="connsiteX86" fmla="*/ 1001 w 10000"/>
                <a:gd name="connsiteY86" fmla="*/ 503 h 10007"/>
                <a:gd name="connsiteX87" fmla="*/ 927 w 10000"/>
                <a:gd name="connsiteY87" fmla="*/ 599 h 10007"/>
                <a:gd name="connsiteX88" fmla="*/ 860 w 10000"/>
                <a:gd name="connsiteY88" fmla="*/ 700 h 10007"/>
                <a:gd name="connsiteX89" fmla="*/ 793 w 10000"/>
                <a:gd name="connsiteY89" fmla="*/ 801 h 10007"/>
                <a:gd name="connsiteX90" fmla="*/ 734 w 10000"/>
                <a:gd name="connsiteY90" fmla="*/ 897 h 10007"/>
                <a:gd name="connsiteX91" fmla="*/ 675 w 10000"/>
                <a:gd name="connsiteY91" fmla="*/ 998 h 10007"/>
                <a:gd name="connsiteX92" fmla="*/ 615 w 10000"/>
                <a:gd name="connsiteY92" fmla="*/ 1099 h 10007"/>
                <a:gd name="connsiteX93" fmla="*/ 556 w 10000"/>
                <a:gd name="connsiteY93" fmla="*/ 1205 h 10007"/>
                <a:gd name="connsiteX94" fmla="*/ 504 w 10000"/>
                <a:gd name="connsiteY94" fmla="*/ 1301 h 10007"/>
                <a:gd name="connsiteX95" fmla="*/ 452 w 10000"/>
                <a:gd name="connsiteY95" fmla="*/ 1407 h 10007"/>
                <a:gd name="connsiteX96" fmla="*/ 408 w 10000"/>
                <a:gd name="connsiteY96" fmla="*/ 1507 h 10007"/>
                <a:gd name="connsiteX97" fmla="*/ 363 w 10000"/>
                <a:gd name="connsiteY97" fmla="*/ 1613 h 10007"/>
                <a:gd name="connsiteX98" fmla="*/ 319 w 10000"/>
                <a:gd name="connsiteY98" fmla="*/ 1718 h 10007"/>
                <a:gd name="connsiteX99" fmla="*/ 282 w 10000"/>
                <a:gd name="connsiteY99" fmla="*/ 1825 h 10007"/>
                <a:gd name="connsiteX100" fmla="*/ 237 w 10000"/>
                <a:gd name="connsiteY100" fmla="*/ 1935 h 10007"/>
                <a:gd name="connsiteX101" fmla="*/ 208 w 10000"/>
                <a:gd name="connsiteY101" fmla="*/ 2040 h 10007"/>
                <a:gd name="connsiteX102" fmla="*/ 170 w 10000"/>
                <a:gd name="connsiteY102" fmla="*/ 2150 h 10007"/>
                <a:gd name="connsiteX103" fmla="*/ 148 w 10000"/>
                <a:gd name="connsiteY103" fmla="*/ 2260 h 10007"/>
                <a:gd name="connsiteX104" fmla="*/ 119 w 10000"/>
                <a:gd name="connsiteY104" fmla="*/ 2365 h 10007"/>
                <a:gd name="connsiteX105" fmla="*/ 96 w 10000"/>
                <a:gd name="connsiteY105" fmla="*/ 2475 h 10007"/>
                <a:gd name="connsiteX106" fmla="*/ 74 w 10000"/>
                <a:gd name="connsiteY106" fmla="*/ 2586 h 10007"/>
                <a:gd name="connsiteX107" fmla="*/ 52 w 10000"/>
                <a:gd name="connsiteY107" fmla="*/ 2701 h 10007"/>
                <a:gd name="connsiteX108" fmla="*/ 37 w 10000"/>
                <a:gd name="connsiteY108" fmla="*/ 2811 h 10007"/>
                <a:gd name="connsiteX109" fmla="*/ 22 w 10000"/>
                <a:gd name="connsiteY109" fmla="*/ 2921 h 10007"/>
                <a:gd name="connsiteX110" fmla="*/ 15 w 10000"/>
                <a:gd name="connsiteY110" fmla="*/ 3031 h 10007"/>
                <a:gd name="connsiteX111" fmla="*/ 7 w 10000"/>
                <a:gd name="connsiteY111" fmla="*/ 3145 h 10007"/>
                <a:gd name="connsiteX112" fmla="*/ 0 w 10000"/>
                <a:gd name="connsiteY112" fmla="*/ 3256 h 10007"/>
                <a:gd name="connsiteX113" fmla="*/ 0 w 10000"/>
                <a:gd name="connsiteY113" fmla="*/ 3371 h 10007"/>
                <a:gd name="connsiteX114" fmla="*/ 7 w 10000"/>
                <a:gd name="connsiteY114" fmla="*/ 3518 h 10007"/>
                <a:gd name="connsiteX115" fmla="*/ 7 w 10000"/>
                <a:gd name="connsiteY115" fmla="*/ 3664 h 10007"/>
                <a:gd name="connsiteX116" fmla="*/ 22 w 10000"/>
                <a:gd name="connsiteY116" fmla="*/ 3802 h 10007"/>
                <a:gd name="connsiteX117" fmla="*/ 37 w 10000"/>
                <a:gd name="connsiteY117" fmla="*/ 3945 h 10007"/>
                <a:gd name="connsiteX118" fmla="*/ 59 w 10000"/>
                <a:gd name="connsiteY118" fmla="*/ 4087 h 10007"/>
                <a:gd name="connsiteX119" fmla="*/ 89 w 10000"/>
                <a:gd name="connsiteY119" fmla="*/ 4229 h 10007"/>
                <a:gd name="connsiteX120" fmla="*/ 119 w 10000"/>
                <a:gd name="connsiteY120" fmla="*/ 4371 h 10007"/>
                <a:gd name="connsiteX121" fmla="*/ 148 w 10000"/>
                <a:gd name="connsiteY121" fmla="*/ 4513 h 10007"/>
                <a:gd name="connsiteX122" fmla="*/ 193 w 10000"/>
                <a:gd name="connsiteY122" fmla="*/ 4652 h 10007"/>
                <a:gd name="connsiteX123" fmla="*/ 237 w 10000"/>
                <a:gd name="connsiteY123" fmla="*/ 4789 h 10007"/>
                <a:gd name="connsiteX124" fmla="*/ 282 w 10000"/>
                <a:gd name="connsiteY124" fmla="*/ 4927 h 10007"/>
                <a:gd name="connsiteX125" fmla="*/ 334 w 10000"/>
                <a:gd name="connsiteY125" fmla="*/ 5064 h 10007"/>
                <a:gd name="connsiteX126" fmla="*/ 393 w 10000"/>
                <a:gd name="connsiteY126" fmla="*/ 5197 h 10007"/>
                <a:gd name="connsiteX127" fmla="*/ 452 w 10000"/>
                <a:gd name="connsiteY127" fmla="*/ 5330 h 10007"/>
                <a:gd name="connsiteX128" fmla="*/ 519 w 10000"/>
                <a:gd name="connsiteY128" fmla="*/ 5464 h 10007"/>
                <a:gd name="connsiteX129" fmla="*/ 586 w 10000"/>
                <a:gd name="connsiteY129" fmla="*/ 5597 h 10007"/>
                <a:gd name="connsiteX130" fmla="*/ 660 w 10000"/>
                <a:gd name="connsiteY130" fmla="*/ 5725 h 10007"/>
                <a:gd name="connsiteX131" fmla="*/ 741 w 10000"/>
                <a:gd name="connsiteY131" fmla="*/ 5853 h 10007"/>
                <a:gd name="connsiteX132" fmla="*/ 823 w 10000"/>
                <a:gd name="connsiteY132" fmla="*/ 5986 h 10007"/>
                <a:gd name="connsiteX133" fmla="*/ 904 w 10000"/>
                <a:gd name="connsiteY133" fmla="*/ 6111 h 10007"/>
                <a:gd name="connsiteX134" fmla="*/ 993 w 10000"/>
                <a:gd name="connsiteY134" fmla="*/ 6235 h 10007"/>
                <a:gd name="connsiteX135" fmla="*/ 1090 w 10000"/>
                <a:gd name="connsiteY135" fmla="*/ 6354 h 10007"/>
                <a:gd name="connsiteX136" fmla="*/ 1186 w 10000"/>
                <a:gd name="connsiteY136" fmla="*/ 6478 h 10007"/>
                <a:gd name="connsiteX137" fmla="*/ 1290 w 10000"/>
                <a:gd name="connsiteY137" fmla="*/ 6601 h 10007"/>
                <a:gd name="connsiteX138" fmla="*/ 1386 w 10000"/>
                <a:gd name="connsiteY138" fmla="*/ 6721 h 10007"/>
                <a:gd name="connsiteX139" fmla="*/ 1497 w 10000"/>
                <a:gd name="connsiteY139" fmla="*/ 6841 h 10007"/>
                <a:gd name="connsiteX140" fmla="*/ 1609 w 10000"/>
                <a:gd name="connsiteY140" fmla="*/ 6955 h 10007"/>
                <a:gd name="connsiteX141" fmla="*/ 1727 w 10000"/>
                <a:gd name="connsiteY141" fmla="*/ 7074 h 10007"/>
                <a:gd name="connsiteX142" fmla="*/ 1846 w 10000"/>
                <a:gd name="connsiteY142" fmla="*/ 7189 h 10007"/>
                <a:gd name="connsiteX143" fmla="*/ 1964 w 10000"/>
                <a:gd name="connsiteY143" fmla="*/ 7299 h 10007"/>
                <a:gd name="connsiteX144" fmla="*/ 2090 w 10000"/>
                <a:gd name="connsiteY144" fmla="*/ 7409 h 10007"/>
                <a:gd name="connsiteX145" fmla="*/ 2224 w 10000"/>
                <a:gd name="connsiteY145" fmla="*/ 7520 h 10007"/>
                <a:gd name="connsiteX146" fmla="*/ 2350 w 10000"/>
                <a:gd name="connsiteY146" fmla="*/ 7630 h 10007"/>
                <a:gd name="connsiteX147" fmla="*/ 2491 w 10000"/>
                <a:gd name="connsiteY147" fmla="*/ 7735 h 10007"/>
                <a:gd name="connsiteX148" fmla="*/ 2617 w 10000"/>
                <a:gd name="connsiteY148" fmla="*/ 7841 h 10007"/>
                <a:gd name="connsiteX149" fmla="*/ 2765 w 10000"/>
                <a:gd name="connsiteY149" fmla="*/ 7942 h 10007"/>
                <a:gd name="connsiteX150" fmla="*/ 2906 w 10000"/>
                <a:gd name="connsiteY150" fmla="*/ 8042 h 10007"/>
                <a:gd name="connsiteX151" fmla="*/ 3054 w 10000"/>
                <a:gd name="connsiteY151" fmla="*/ 8143 h 10007"/>
                <a:gd name="connsiteX152" fmla="*/ 3210 w 10000"/>
                <a:gd name="connsiteY152" fmla="*/ 8241 h 10007"/>
                <a:gd name="connsiteX153" fmla="*/ 3358 w 10000"/>
                <a:gd name="connsiteY153" fmla="*/ 8337 h 10007"/>
                <a:gd name="connsiteX154" fmla="*/ 3514 w 10000"/>
                <a:gd name="connsiteY154" fmla="*/ 8433 h 10007"/>
                <a:gd name="connsiteX155" fmla="*/ 3677 w 10000"/>
                <a:gd name="connsiteY155" fmla="*/ 8525 h 10007"/>
                <a:gd name="connsiteX156" fmla="*/ 3840 w 10000"/>
                <a:gd name="connsiteY156" fmla="*/ 8612 h 10007"/>
                <a:gd name="connsiteX157" fmla="*/ 4010 w 10000"/>
                <a:gd name="connsiteY157" fmla="*/ 8703 h 10007"/>
                <a:gd name="connsiteX158" fmla="*/ 4181 w 10000"/>
                <a:gd name="connsiteY158" fmla="*/ 8781 h 10007"/>
                <a:gd name="connsiteX159" fmla="*/ 4351 w 10000"/>
                <a:gd name="connsiteY159" fmla="*/ 8868 h 10007"/>
                <a:gd name="connsiteX160" fmla="*/ 4522 w 10000"/>
                <a:gd name="connsiteY160" fmla="*/ 8947 h 10007"/>
                <a:gd name="connsiteX161" fmla="*/ 4700 w 10000"/>
                <a:gd name="connsiteY161" fmla="*/ 9030 h 10007"/>
                <a:gd name="connsiteX162" fmla="*/ 4878 w 10000"/>
                <a:gd name="connsiteY162" fmla="*/ 9108 h 10007"/>
                <a:gd name="connsiteX163" fmla="*/ 5063 w 10000"/>
                <a:gd name="connsiteY163" fmla="*/ 9181 h 10007"/>
                <a:gd name="connsiteX164" fmla="*/ 5248 w 10000"/>
                <a:gd name="connsiteY164" fmla="*/ 9259 h 10007"/>
                <a:gd name="connsiteX165" fmla="*/ 5426 w 10000"/>
                <a:gd name="connsiteY165" fmla="*/ 9328 h 10007"/>
                <a:gd name="connsiteX166" fmla="*/ 5619 w 10000"/>
                <a:gd name="connsiteY166" fmla="*/ 9396 h 10007"/>
                <a:gd name="connsiteX167" fmla="*/ 5812 w 10000"/>
                <a:gd name="connsiteY167" fmla="*/ 9465 h 10007"/>
                <a:gd name="connsiteX168" fmla="*/ 6004 w 10000"/>
                <a:gd name="connsiteY168" fmla="*/ 9529 h 10007"/>
                <a:gd name="connsiteX169" fmla="*/ 6205 w 10000"/>
                <a:gd name="connsiteY169" fmla="*/ 9594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58 h 10007"/>
                <a:gd name="connsiteX179" fmla="*/ 10000 w 10000"/>
                <a:gd name="connsiteY179" fmla="*/ 6143 h 10007"/>
                <a:gd name="connsiteX0" fmla="*/ 10000 w 10000"/>
                <a:gd name="connsiteY0" fmla="*/ 6143 h 10007"/>
                <a:gd name="connsiteX1" fmla="*/ 10000 w 10000"/>
                <a:gd name="connsiteY1" fmla="*/ 6143 h 10007"/>
                <a:gd name="connsiteX2" fmla="*/ 9911 w 10000"/>
                <a:gd name="connsiteY2" fmla="*/ 6129 h 10007"/>
                <a:gd name="connsiteX3" fmla="*/ 9815 w 10000"/>
                <a:gd name="connsiteY3" fmla="*/ 6111 h 10007"/>
                <a:gd name="connsiteX4" fmla="*/ 9726 w 10000"/>
                <a:gd name="connsiteY4" fmla="*/ 6093 h 10007"/>
                <a:gd name="connsiteX5" fmla="*/ 9637 w 10000"/>
                <a:gd name="connsiteY5" fmla="*/ 6069 h 10007"/>
                <a:gd name="connsiteX6" fmla="*/ 9548 w 10000"/>
                <a:gd name="connsiteY6" fmla="*/ 6050 h 10007"/>
                <a:gd name="connsiteX7" fmla="*/ 9466 w 10000"/>
                <a:gd name="connsiteY7" fmla="*/ 6028 h 10007"/>
                <a:gd name="connsiteX8" fmla="*/ 9377 w 10000"/>
                <a:gd name="connsiteY8" fmla="*/ 6005 h 10007"/>
                <a:gd name="connsiteX9" fmla="*/ 9288 w 10000"/>
                <a:gd name="connsiteY9" fmla="*/ 5982 h 10007"/>
                <a:gd name="connsiteX10" fmla="*/ 9118 w 10000"/>
                <a:gd name="connsiteY10" fmla="*/ 5931 h 10007"/>
                <a:gd name="connsiteX11" fmla="*/ 8955 w 10000"/>
                <a:gd name="connsiteY11" fmla="*/ 5876 h 10007"/>
                <a:gd name="connsiteX12" fmla="*/ 8792 w 10000"/>
                <a:gd name="connsiteY12" fmla="*/ 5817 h 10007"/>
                <a:gd name="connsiteX13" fmla="*/ 8636 w 10000"/>
                <a:gd name="connsiteY13" fmla="*/ 5753 h 10007"/>
                <a:gd name="connsiteX14" fmla="*/ 8480 w 10000"/>
                <a:gd name="connsiteY14" fmla="*/ 5688 h 10007"/>
                <a:gd name="connsiteX15" fmla="*/ 8340 w 10000"/>
                <a:gd name="connsiteY15" fmla="*/ 5620 h 10007"/>
                <a:gd name="connsiteX16" fmla="*/ 8199 w 10000"/>
                <a:gd name="connsiteY16" fmla="*/ 5546 h 10007"/>
                <a:gd name="connsiteX17" fmla="*/ 8058 w 10000"/>
                <a:gd name="connsiteY17" fmla="*/ 5468 h 10007"/>
                <a:gd name="connsiteX18" fmla="*/ 7924 w 10000"/>
                <a:gd name="connsiteY18" fmla="*/ 5386 h 10007"/>
                <a:gd name="connsiteX19" fmla="*/ 7798 w 10000"/>
                <a:gd name="connsiteY19" fmla="*/ 5302 h 10007"/>
                <a:gd name="connsiteX20" fmla="*/ 7672 w 10000"/>
                <a:gd name="connsiteY20" fmla="*/ 5215 h 10007"/>
                <a:gd name="connsiteX21" fmla="*/ 7554 w 10000"/>
                <a:gd name="connsiteY21" fmla="*/ 5128 h 10007"/>
                <a:gd name="connsiteX22" fmla="*/ 7450 w 10000"/>
                <a:gd name="connsiteY22" fmla="*/ 5032 h 10007"/>
                <a:gd name="connsiteX23" fmla="*/ 7346 w 10000"/>
                <a:gd name="connsiteY23" fmla="*/ 4936 h 10007"/>
                <a:gd name="connsiteX24" fmla="*/ 7250 w 10000"/>
                <a:gd name="connsiteY24" fmla="*/ 4840 h 10007"/>
                <a:gd name="connsiteX25" fmla="*/ 7161 w 10000"/>
                <a:gd name="connsiteY25" fmla="*/ 4739 h 10007"/>
                <a:gd name="connsiteX26" fmla="*/ 7072 w 10000"/>
                <a:gd name="connsiteY26" fmla="*/ 4637 h 10007"/>
                <a:gd name="connsiteX27" fmla="*/ 6990 w 10000"/>
                <a:gd name="connsiteY27" fmla="*/ 4527 h 10007"/>
                <a:gd name="connsiteX28" fmla="*/ 6953 w 10000"/>
                <a:gd name="connsiteY28" fmla="*/ 4477 h 10007"/>
                <a:gd name="connsiteX29" fmla="*/ 6916 w 10000"/>
                <a:gd name="connsiteY29" fmla="*/ 4422 h 10007"/>
                <a:gd name="connsiteX30" fmla="*/ 6887 w 10000"/>
                <a:gd name="connsiteY30" fmla="*/ 4367 h 10007"/>
                <a:gd name="connsiteX31" fmla="*/ 6850 w 10000"/>
                <a:gd name="connsiteY31" fmla="*/ 4312 h 10007"/>
                <a:gd name="connsiteX32" fmla="*/ 6820 w 10000"/>
                <a:gd name="connsiteY32" fmla="*/ 4257 h 10007"/>
                <a:gd name="connsiteX33" fmla="*/ 6790 w 10000"/>
                <a:gd name="connsiteY33" fmla="*/ 4202 h 10007"/>
                <a:gd name="connsiteX34" fmla="*/ 6768 w 10000"/>
                <a:gd name="connsiteY34" fmla="*/ 4142 h 10007"/>
                <a:gd name="connsiteX35" fmla="*/ 6738 w 10000"/>
                <a:gd name="connsiteY35" fmla="*/ 4087 h 10007"/>
                <a:gd name="connsiteX36" fmla="*/ 6723 w 10000"/>
                <a:gd name="connsiteY36" fmla="*/ 4027 h 10007"/>
                <a:gd name="connsiteX37" fmla="*/ 6694 w 10000"/>
                <a:gd name="connsiteY37" fmla="*/ 3972 h 10007"/>
                <a:gd name="connsiteX38" fmla="*/ 6679 w 10000"/>
                <a:gd name="connsiteY38" fmla="*/ 3912 h 10007"/>
                <a:gd name="connsiteX39" fmla="*/ 6664 w 10000"/>
                <a:gd name="connsiteY39" fmla="*/ 3852 h 10007"/>
                <a:gd name="connsiteX40" fmla="*/ 6649 w 10000"/>
                <a:gd name="connsiteY40" fmla="*/ 3793 h 10007"/>
                <a:gd name="connsiteX41" fmla="*/ 6635 w 10000"/>
                <a:gd name="connsiteY41" fmla="*/ 3738 h 10007"/>
                <a:gd name="connsiteX42" fmla="*/ 6620 w 10000"/>
                <a:gd name="connsiteY42" fmla="*/ 3678 h 10007"/>
                <a:gd name="connsiteX43" fmla="*/ 6612 w 10000"/>
                <a:gd name="connsiteY43" fmla="*/ 3619 h 10007"/>
                <a:gd name="connsiteX44" fmla="*/ 6605 w 10000"/>
                <a:gd name="connsiteY44" fmla="*/ 3559 h 10007"/>
                <a:gd name="connsiteX45" fmla="*/ 6597 w 10000"/>
                <a:gd name="connsiteY45" fmla="*/ 3495 h 10007"/>
                <a:gd name="connsiteX46" fmla="*/ 6597 w 10000"/>
                <a:gd name="connsiteY46" fmla="*/ 3435 h 10007"/>
                <a:gd name="connsiteX47" fmla="*/ 6590 w 10000"/>
                <a:gd name="connsiteY47" fmla="*/ 3371 h 10007"/>
                <a:gd name="connsiteX48" fmla="*/ 6597 w 10000"/>
                <a:gd name="connsiteY48" fmla="*/ 3311 h 10007"/>
                <a:gd name="connsiteX49" fmla="*/ 6605 w 10000"/>
                <a:gd name="connsiteY49" fmla="*/ 3243 h 10007"/>
                <a:gd name="connsiteX50" fmla="*/ 6605 w 10000"/>
                <a:gd name="connsiteY50" fmla="*/ 3178 h 10007"/>
                <a:gd name="connsiteX51" fmla="*/ 6612 w 10000"/>
                <a:gd name="connsiteY51" fmla="*/ 3113 h 10007"/>
                <a:gd name="connsiteX52" fmla="*/ 6620 w 10000"/>
                <a:gd name="connsiteY52" fmla="*/ 3049 h 10007"/>
                <a:gd name="connsiteX53" fmla="*/ 6635 w 10000"/>
                <a:gd name="connsiteY53" fmla="*/ 2990 h 10007"/>
                <a:gd name="connsiteX54" fmla="*/ 6649 w 10000"/>
                <a:gd name="connsiteY54" fmla="*/ 2926 h 10007"/>
                <a:gd name="connsiteX55" fmla="*/ 6664 w 10000"/>
                <a:gd name="connsiteY55" fmla="*/ 2866 h 10007"/>
                <a:gd name="connsiteX56" fmla="*/ 6686 w 10000"/>
                <a:gd name="connsiteY56" fmla="*/ 2802 h 10007"/>
                <a:gd name="connsiteX57" fmla="*/ 6709 w 10000"/>
                <a:gd name="connsiteY57" fmla="*/ 2742 h 10007"/>
                <a:gd name="connsiteX58" fmla="*/ 6731 w 10000"/>
                <a:gd name="connsiteY58" fmla="*/ 2683 h 10007"/>
                <a:gd name="connsiteX59" fmla="*/ 6753 w 10000"/>
                <a:gd name="connsiteY59" fmla="*/ 2618 h 10007"/>
                <a:gd name="connsiteX60" fmla="*/ 6783 w 10000"/>
                <a:gd name="connsiteY60" fmla="*/ 2563 h 10007"/>
                <a:gd name="connsiteX61" fmla="*/ 6812 w 10000"/>
                <a:gd name="connsiteY61" fmla="*/ 2503 h 10007"/>
                <a:gd name="connsiteX62" fmla="*/ 6842 w 10000"/>
                <a:gd name="connsiteY62" fmla="*/ 2443 h 10007"/>
                <a:gd name="connsiteX63" fmla="*/ 6879 w 10000"/>
                <a:gd name="connsiteY63" fmla="*/ 2384 h 10007"/>
                <a:gd name="connsiteX64" fmla="*/ 6909 w 10000"/>
                <a:gd name="connsiteY64" fmla="*/ 2329 h 10007"/>
                <a:gd name="connsiteX65" fmla="*/ 6946 w 10000"/>
                <a:gd name="connsiteY65" fmla="*/ 2269 h 10007"/>
                <a:gd name="connsiteX66" fmla="*/ 6990 w 10000"/>
                <a:gd name="connsiteY66" fmla="*/ 2214 h 10007"/>
                <a:gd name="connsiteX67" fmla="*/ 7027 w 10000"/>
                <a:gd name="connsiteY67" fmla="*/ 2159 h 10007"/>
                <a:gd name="connsiteX68" fmla="*/ 7072 w 10000"/>
                <a:gd name="connsiteY68" fmla="*/ 2104 h 10007"/>
                <a:gd name="connsiteX69" fmla="*/ 7109 w 10000"/>
                <a:gd name="connsiteY69" fmla="*/ 2049 h 10007"/>
                <a:gd name="connsiteX70" fmla="*/ 7161 w 10000"/>
                <a:gd name="connsiteY70" fmla="*/ 1999 h 10007"/>
                <a:gd name="connsiteX71" fmla="*/ 7213 w 10000"/>
                <a:gd name="connsiteY71" fmla="*/ 1944 h 10007"/>
                <a:gd name="connsiteX72" fmla="*/ 7257 w 10000"/>
                <a:gd name="connsiteY72" fmla="*/ 1889 h 10007"/>
                <a:gd name="connsiteX73" fmla="*/ 7309 w 10000"/>
                <a:gd name="connsiteY73" fmla="*/ 1838 h 10007"/>
                <a:gd name="connsiteX74" fmla="*/ 7361 w 10000"/>
                <a:gd name="connsiteY74" fmla="*/ 1787 h 10007"/>
                <a:gd name="connsiteX75" fmla="*/ 7413 w 10000"/>
                <a:gd name="connsiteY75" fmla="*/ 1737 h 10007"/>
                <a:gd name="connsiteX76" fmla="*/ 7472 w 10000"/>
                <a:gd name="connsiteY76" fmla="*/ 1686 h 10007"/>
                <a:gd name="connsiteX77" fmla="*/ 7524 w 10000"/>
                <a:gd name="connsiteY77" fmla="*/ 1640 h 10007"/>
                <a:gd name="connsiteX78" fmla="*/ 7583 w 10000"/>
                <a:gd name="connsiteY78" fmla="*/ 1594 h 10007"/>
                <a:gd name="connsiteX79" fmla="*/ 7610 w 10000"/>
                <a:gd name="connsiteY79" fmla="*/ 1565 h 10007"/>
                <a:gd name="connsiteX80" fmla="*/ 5401 w 10000"/>
                <a:gd name="connsiteY80" fmla="*/ 6 h 10007"/>
                <a:gd name="connsiteX81" fmla="*/ 1423 w 10000"/>
                <a:gd name="connsiteY81" fmla="*/ 0 h 10007"/>
                <a:gd name="connsiteX82" fmla="*/ 1305 w 10000"/>
                <a:gd name="connsiteY82" fmla="*/ 121 h 10007"/>
                <a:gd name="connsiteX83" fmla="*/ 1223 w 10000"/>
                <a:gd name="connsiteY83" fmla="*/ 213 h 10007"/>
                <a:gd name="connsiteX84" fmla="*/ 1149 w 10000"/>
                <a:gd name="connsiteY84" fmla="*/ 309 h 10007"/>
                <a:gd name="connsiteX85" fmla="*/ 1067 w 10000"/>
                <a:gd name="connsiteY85" fmla="*/ 406 h 10007"/>
                <a:gd name="connsiteX86" fmla="*/ 1001 w 10000"/>
                <a:gd name="connsiteY86" fmla="*/ 503 h 10007"/>
                <a:gd name="connsiteX87" fmla="*/ 927 w 10000"/>
                <a:gd name="connsiteY87" fmla="*/ 599 h 10007"/>
                <a:gd name="connsiteX88" fmla="*/ 860 w 10000"/>
                <a:gd name="connsiteY88" fmla="*/ 700 h 10007"/>
                <a:gd name="connsiteX89" fmla="*/ 793 w 10000"/>
                <a:gd name="connsiteY89" fmla="*/ 801 h 10007"/>
                <a:gd name="connsiteX90" fmla="*/ 734 w 10000"/>
                <a:gd name="connsiteY90" fmla="*/ 897 h 10007"/>
                <a:gd name="connsiteX91" fmla="*/ 675 w 10000"/>
                <a:gd name="connsiteY91" fmla="*/ 998 h 10007"/>
                <a:gd name="connsiteX92" fmla="*/ 615 w 10000"/>
                <a:gd name="connsiteY92" fmla="*/ 1099 h 10007"/>
                <a:gd name="connsiteX93" fmla="*/ 556 w 10000"/>
                <a:gd name="connsiteY93" fmla="*/ 1205 h 10007"/>
                <a:gd name="connsiteX94" fmla="*/ 504 w 10000"/>
                <a:gd name="connsiteY94" fmla="*/ 1301 h 10007"/>
                <a:gd name="connsiteX95" fmla="*/ 452 w 10000"/>
                <a:gd name="connsiteY95" fmla="*/ 1407 h 10007"/>
                <a:gd name="connsiteX96" fmla="*/ 408 w 10000"/>
                <a:gd name="connsiteY96" fmla="*/ 1507 h 10007"/>
                <a:gd name="connsiteX97" fmla="*/ 363 w 10000"/>
                <a:gd name="connsiteY97" fmla="*/ 1613 h 10007"/>
                <a:gd name="connsiteX98" fmla="*/ 319 w 10000"/>
                <a:gd name="connsiteY98" fmla="*/ 1718 h 10007"/>
                <a:gd name="connsiteX99" fmla="*/ 282 w 10000"/>
                <a:gd name="connsiteY99" fmla="*/ 1825 h 10007"/>
                <a:gd name="connsiteX100" fmla="*/ 237 w 10000"/>
                <a:gd name="connsiteY100" fmla="*/ 1935 h 10007"/>
                <a:gd name="connsiteX101" fmla="*/ 208 w 10000"/>
                <a:gd name="connsiteY101" fmla="*/ 2040 h 10007"/>
                <a:gd name="connsiteX102" fmla="*/ 170 w 10000"/>
                <a:gd name="connsiteY102" fmla="*/ 2150 h 10007"/>
                <a:gd name="connsiteX103" fmla="*/ 148 w 10000"/>
                <a:gd name="connsiteY103" fmla="*/ 2260 h 10007"/>
                <a:gd name="connsiteX104" fmla="*/ 119 w 10000"/>
                <a:gd name="connsiteY104" fmla="*/ 2365 h 10007"/>
                <a:gd name="connsiteX105" fmla="*/ 96 w 10000"/>
                <a:gd name="connsiteY105" fmla="*/ 2475 h 10007"/>
                <a:gd name="connsiteX106" fmla="*/ 74 w 10000"/>
                <a:gd name="connsiteY106" fmla="*/ 2586 h 10007"/>
                <a:gd name="connsiteX107" fmla="*/ 52 w 10000"/>
                <a:gd name="connsiteY107" fmla="*/ 2701 h 10007"/>
                <a:gd name="connsiteX108" fmla="*/ 37 w 10000"/>
                <a:gd name="connsiteY108" fmla="*/ 2811 h 10007"/>
                <a:gd name="connsiteX109" fmla="*/ 22 w 10000"/>
                <a:gd name="connsiteY109" fmla="*/ 2921 h 10007"/>
                <a:gd name="connsiteX110" fmla="*/ 15 w 10000"/>
                <a:gd name="connsiteY110" fmla="*/ 3031 h 10007"/>
                <a:gd name="connsiteX111" fmla="*/ 7 w 10000"/>
                <a:gd name="connsiteY111" fmla="*/ 3145 h 10007"/>
                <a:gd name="connsiteX112" fmla="*/ 0 w 10000"/>
                <a:gd name="connsiteY112" fmla="*/ 3256 h 10007"/>
                <a:gd name="connsiteX113" fmla="*/ 0 w 10000"/>
                <a:gd name="connsiteY113" fmla="*/ 3371 h 10007"/>
                <a:gd name="connsiteX114" fmla="*/ 7 w 10000"/>
                <a:gd name="connsiteY114" fmla="*/ 3518 h 10007"/>
                <a:gd name="connsiteX115" fmla="*/ 7 w 10000"/>
                <a:gd name="connsiteY115" fmla="*/ 3664 h 10007"/>
                <a:gd name="connsiteX116" fmla="*/ 22 w 10000"/>
                <a:gd name="connsiteY116" fmla="*/ 3802 h 10007"/>
                <a:gd name="connsiteX117" fmla="*/ 37 w 10000"/>
                <a:gd name="connsiteY117" fmla="*/ 3945 h 10007"/>
                <a:gd name="connsiteX118" fmla="*/ 59 w 10000"/>
                <a:gd name="connsiteY118" fmla="*/ 4087 h 10007"/>
                <a:gd name="connsiteX119" fmla="*/ 89 w 10000"/>
                <a:gd name="connsiteY119" fmla="*/ 4229 h 10007"/>
                <a:gd name="connsiteX120" fmla="*/ 119 w 10000"/>
                <a:gd name="connsiteY120" fmla="*/ 4371 h 10007"/>
                <a:gd name="connsiteX121" fmla="*/ 148 w 10000"/>
                <a:gd name="connsiteY121" fmla="*/ 4513 h 10007"/>
                <a:gd name="connsiteX122" fmla="*/ 193 w 10000"/>
                <a:gd name="connsiteY122" fmla="*/ 4652 h 10007"/>
                <a:gd name="connsiteX123" fmla="*/ 237 w 10000"/>
                <a:gd name="connsiteY123" fmla="*/ 4789 h 10007"/>
                <a:gd name="connsiteX124" fmla="*/ 282 w 10000"/>
                <a:gd name="connsiteY124" fmla="*/ 4927 h 10007"/>
                <a:gd name="connsiteX125" fmla="*/ 334 w 10000"/>
                <a:gd name="connsiteY125" fmla="*/ 5064 h 10007"/>
                <a:gd name="connsiteX126" fmla="*/ 393 w 10000"/>
                <a:gd name="connsiteY126" fmla="*/ 5197 h 10007"/>
                <a:gd name="connsiteX127" fmla="*/ 452 w 10000"/>
                <a:gd name="connsiteY127" fmla="*/ 5330 h 10007"/>
                <a:gd name="connsiteX128" fmla="*/ 519 w 10000"/>
                <a:gd name="connsiteY128" fmla="*/ 5464 h 10007"/>
                <a:gd name="connsiteX129" fmla="*/ 586 w 10000"/>
                <a:gd name="connsiteY129" fmla="*/ 5597 h 10007"/>
                <a:gd name="connsiteX130" fmla="*/ 660 w 10000"/>
                <a:gd name="connsiteY130" fmla="*/ 5725 h 10007"/>
                <a:gd name="connsiteX131" fmla="*/ 741 w 10000"/>
                <a:gd name="connsiteY131" fmla="*/ 5853 h 10007"/>
                <a:gd name="connsiteX132" fmla="*/ 823 w 10000"/>
                <a:gd name="connsiteY132" fmla="*/ 5986 h 10007"/>
                <a:gd name="connsiteX133" fmla="*/ 904 w 10000"/>
                <a:gd name="connsiteY133" fmla="*/ 6111 h 10007"/>
                <a:gd name="connsiteX134" fmla="*/ 993 w 10000"/>
                <a:gd name="connsiteY134" fmla="*/ 6235 h 10007"/>
                <a:gd name="connsiteX135" fmla="*/ 1090 w 10000"/>
                <a:gd name="connsiteY135" fmla="*/ 6354 h 10007"/>
                <a:gd name="connsiteX136" fmla="*/ 1186 w 10000"/>
                <a:gd name="connsiteY136" fmla="*/ 6478 h 10007"/>
                <a:gd name="connsiteX137" fmla="*/ 1290 w 10000"/>
                <a:gd name="connsiteY137" fmla="*/ 6601 h 10007"/>
                <a:gd name="connsiteX138" fmla="*/ 1386 w 10000"/>
                <a:gd name="connsiteY138" fmla="*/ 6721 h 10007"/>
                <a:gd name="connsiteX139" fmla="*/ 1497 w 10000"/>
                <a:gd name="connsiteY139" fmla="*/ 6841 h 10007"/>
                <a:gd name="connsiteX140" fmla="*/ 1609 w 10000"/>
                <a:gd name="connsiteY140" fmla="*/ 6955 h 10007"/>
                <a:gd name="connsiteX141" fmla="*/ 1727 w 10000"/>
                <a:gd name="connsiteY141" fmla="*/ 7074 h 10007"/>
                <a:gd name="connsiteX142" fmla="*/ 1846 w 10000"/>
                <a:gd name="connsiteY142" fmla="*/ 7189 h 10007"/>
                <a:gd name="connsiteX143" fmla="*/ 1964 w 10000"/>
                <a:gd name="connsiteY143" fmla="*/ 7299 h 10007"/>
                <a:gd name="connsiteX144" fmla="*/ 2090 w 10000"/>
                <a:gd name="connsiteY144" fmla="*/ 7409 h 10007"/>
                <a:gd name="connsiteX145" fmla="*/ 2224 w 10000"/>
                <a:gd name="connsiteY145" fmla="*/ 7520 h 10007"/>
                <a:gd name="connsiteX146" fmla="*/ 2350 w 10000"/>
                <a:gd name="connsiteY146" fmla="*/ 7630 h 10007"/>
                <a:gd name="connsiteX147" fmla="*/ 2491 w 10000"/>
                <a:gd name="connsiteY147" fmla="*/ 7735 h 10007"/>
                <a:gd name="connsiteX148" fmla="*/ 2617 w 10000"/>
                <a:gd name="connsiteY148" fmla="*/ 7841 h 10007"/>
                <a:gd name="connsiteX149" fmla="*/ 2765 w 10000"/>
                <a:gd name="connsiteY149" fmla="*/ 7942 h 10007"/>
                <a:gd name="connsiteX150" fmla="*/ 2906 w 10000"/>
                <a:gd name="connsiteY150" fmla="*/ 8042 h 10007"/>
                <a:gd name="connsiteX151" fmla="*/ 3054 w 10000"/>
                <a:gd name="connsiteY151" fmla="*/ 8143 h 10007"/>
                <a:gd name="connsiteX152" fmla="*/ 3210 w 10000"/>
                <a:gd name="connsiteY152" fmla="*/ 8241 h 10007"/>
                <a:gd name="connsiteX153" fmla="*/ 3358 w 10000"/>
                <a:gd name="connsiteY153" fmla="*/ 8337 h 10007"/>
                <a:gd name="connsiteX154" fmla="*/ 3514 w 10000"/>
                <a:gd name="connsiteY154" fmla="*/ 8433 h 10007"/>
                <a:gd name="connsiteX155" fmla="*/ 3677 w 10000"/>
                <a:gd name="connsiteY155" fmla="*/ 8525 h 10007"/>
                <a:gd name="connsiteX156" fmla="*/ 3840 w 10000"/>
                <a:gd name="connsiteY156" fmla="*/ 8612 h 10007"/>
                <a:gd name="connsiteX157" fmla="*/ 4010 w 10000"/>
                <a:gd name="connsiteY157" fmla="*/ 8703 h 10007"/>
                <a:gd name="connsiteX158" fmla="*/ 4181 w 10000"/>
                <a:gd name="connsiteY158" fmla="*/ 8781 h 10007"/>
                <a:gd name="connsiteX159" fmla="*/ 4351 w 10000"/>
                <a:gd name="connsiteY159" fmla="*/ 8868 h 10007"/>
                <a:gd name="connsiteX160" fmla="*/ 4522 w 10000"/>
                <a:gd name="connsiteY160" fmla="*/ 8947 h 10007"/>
                <a:gd name="connsiteX161" fmla="*/ 4700 w 10000"/>
                <a:gd name="connsiteY161" fmla="*/ 9030 h 10007"/>
                <a:gd name="connsiteX162" fmla="*/ 4878 w 10000"/>
                <a:gd name="connsiteY162" fmla="*/ 9108 h 10007"/>
                <a:gd name="connsiteX163" fmla="*/ 5063 w 10000"/>
                <a:gd name="connsiteY163" fmla="*/ 9181 h 10007"/>
                <a:gd name="connsiteX164" fmla="*/ 5248 w 10000"/>
                <a:gd name="connsiteY164" fmla="*/ 9259 h 10007"/>
                <a:gd name="connsiteX165" fmla="*/ 5426 w 10000"/>
                <a:gd name="connsiteY165" fmla="*/ 9328 h 10007"/>
                <a:gd name="connsiteX166" fmla="*/ 5619 w 10000"/>
                <a:gd name="connsiteY166" fmla="*/ 9396 h 10007"/>
                <a:gd name="connsiteX167" fmla="*/ 5812 w 10000"/>
                <a:gd name="connsiteY167" fmla="*/ 9465 h 10007"/>
                <a:gd name="connsiteX168" fmla="*/ 6004 w 10000"/>
                <a:gd name="connsiteY168" fmla="*/ 9529 h 10007"/>
                <a:gd name="connsiteX169" fmla="*/ 6205 w 10000"/>
                <a:gd name="connsiteY169" fmla="*/ 9594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58 h 10007"/>
                <a:gd name="connsiteX179" fmla="*/ 10000 w 10000"/>
                <a:gd name="connsiteY179" fmla="*/ 6143 h 10007"/>
                <a:gd name="connsiteX0" fmla="*/ 10000 w 10000"/>
                <a:gd name="connsiteY0" fmla="*/ 6144 h 10008"/>
                <a:gd name="connsiteX1" fmla="*/ 10000 w 10000"/>
                <a:gd name="connsiteY1" fmla="*/ 6144 h 10008"/>
                <a:gd name="connsiteX2" fmla="*/ 9911 w 10000"/>
                <a:gd name="connsiteY2" fmla="*/ 6130 h 10008"/>
                <a:gd name="connsiteX3" fmla="*/ 9815 w 10000"/>
                <a:gd name="connsiteY3" fmla="*/ 6112 h 10008"/>
                <a:gd name="connsiteX4" fmla="*/ 9726 w 10000"/>
                <a:gd name="connsiteY4" fmla="*/ 6094 h 10008"/>
                <a:gd name="connsiteX5" fmla="*/ 9637 w 10000"/>
                <a:gd name="connsiteY5" fmla="*/ 6070 h 10008"/>
                <a:gd name="connsiteX6" fmla="*/ 9548 w 10000"/>
                <a:gd name="connsiteY6" fmla="*/ 6051 h 10008"/>
                <a:gd name="connsiteX7" fmla="*/ 9466 w 10000"/>
                <a:gd name="connsiteY7" fmla="*/ 6029 h 10008"/>
                <a:gd name="connsiteX8" fmla="*/ 9377 w 10000"/>
                <a:gd name="connsiteY8" fmla="*/ 6006 h 10008"/>
                <a:gd name="connsiteX9" fmla="*/ 9288 w 10000"/>
                <a:gd name="connsiteY9" fmla="*/ 5983 h 10008"/>
                <a:gd name="connsiteX10" fmla="*/ 9118 w 10000"/>
                <a:gd name="connsiteY10" fmla="*/ 5932 h 10008"/>
                <a:gd name="connsiteX11" fmla="*/ 8955 w 10000"/>
                <a:gd name="connsiteY11" fmla="*/ 5877 h 10008"/>
                <a:gd name="connsiteX12" fmla="*/ 8792 w 10000"/>
                <a:gd name="connsiteY12" fmla="*/ 5818 h 10008"/>
                <a:gd name="connsiteX13" fmla="*/ 8636 w 10000"/>
                <a:gd name="connsiteY13" fmla="*/ 5754 h 10008"/>
                <a:gd name="connsiteX14" fmla="*/ 8480 w 10000"/>
                <a:gd name="connsiteY14" fmla="*/ 5689 h 10008"/>
                <a:gd name="connsiteX15" fmla="*/ 8340 w 10000"/>
                <a:gd name="connsiteY15" fmla="*/ 5621 h 10008"/>
                <a:gd name="connsiteX16" fmla="*/ 8199 w 10000"/>
                <a:gd name="connsiteY16" fmla="*/ 5547 h 10008"/>
                <a:gd name="connsiteX17" fmla="*/ 8058 w 10000"/>
                <a:gd name="connsiteY17" fmla="*/ 5469 h 10008"/>
                <a:gd name="connsiteX18" fmla="*/ 7924 w 10000"/>
                <a:gd name="connsiteY18" fmla="*/ 5387 h 10008"/>
                <a:gd name="connsiteX19" fmla="*/ 7798 w 10000"/>
                <a:gd name="connsiteY19" fmla="*/ 5303 h 10008"/>
                <a:gd name="connsiteX20" fmla="*/ 7672 w 10000"/>
                <a:gd name="connsiteY20" fmla="*/ 5216 h 10008"/>
                <a:gd name="connsiteX21" fmla="*/ 7554 w 10000"/>
                <a:gd name="connsiteY21" fmla="*/ 5129 h 10008"/>
                <a:gd name="connsiteX22" fmla="*/ 7450 w 10000"/>
                <a:gd name="connsiteY22" fmla="*/ 5033 h 10008"/>
                <a:gd name="connsiteX23" fmla="*/ 7346 w 10000"/>
                <a:gd name="connsiteY23" fmla="*/ 4937 h 10008"/>
                <a:gd name="connsiteX24" fmla="*/ 7250 w 10000"/>
                <a:gd name="connsiteY24" fmla="*/ 4841 h 10008"/>
                <a:gd name="connsiteX25" fmla="*/ 7161 w 10000"/>
                <a:gd name="connsiteY25" fmla="*/ 4740 h 10008"/>
                <a:gd name="connsiteX26" fmla="*/ 7072 w 10000"/>
                <a:gd name="connsiteY26" fmla="*/ 4638 h 10008"/>
                <a:gd name="connsiteX27" fmla="*/ 6990 w 10000"/>
                <a:gd name="connsiteY27" fmla="*/ 4528 h 10008"/>
                <a:gd name="connsiteX28" fmla="*/ 6953 w 10000"/>
                <a:gd name="connsiteY28" fmla="*/ 4478 h 10008"/>
                <a:gd name="connsiteX29" fmla="*/ 6916 w 10000"/>
                <a:gd name="connsiteY29" fmla="*/ 4423 h 10008"/>
                <a:gd name="connsiteX30" fmla="*/ 6887 w 10000"/>
                <a:gd name="connsiteY30" fmla="*/ 4368 h 10008"/>
                <a:gd name="connsiteX31" fmla="*/ 6850 w 10000"/>
                <a:gd name="connsiteY31" fmla="*/ 4313 h 10008"/>
                <a:gd name="connsiteX32" fmla="*/ 6820 w 10000"/>
                <a:gd name="connsiteY32" fmla="*/ 4258 h 10008"/>
                <a:gd name="connsiteX33" fmla="*/ 6790 w 10000"/>
                <a:gd name="connsiteY33" fmla="*/ 4203 h 10008"/>
                <a:gd name="connsiteX34" fmla="*/ 6768 w 10000"/>
                <a:gd name="connsiteY34" fmla="*/ 4143 h 10008"/>
                <a:gd name="connsiteX35" fmla="*/ 6738 w 10000"/>
                <a:gd name="connsiteY35" fmla="*/ 4088 h 10008"/>
                <a:gd name="connsiteX36" fmla="*/ 6723 w 10000"/>
                <a:gd name="connsiteY36" fmla="*/ 4028 h 10008"/>
                <a:gd name="connsiteX37" fmla="*/ 6694 w 10000"/>
                <a:gd name="connsiteY37" fmla="*/ 3973 h 10008"/>
                <a:gd name="connsiteX38" fmla="*/ 6679 w 10000"/>
                <a:gd name="connsiteY38" fmla="*/ 3913 h 10008"/>
                <a:gd name="connsiteX39" fmla="*/ 6664 w 10000"/>
                <a:gd name="connsiteY39" fmla="*/ 3853 h 10008"/>
                <a:gd name="connsiteX40" fmla="*/ 6649 w 10000"/>
                <a:gd name="connsiteY40" fmla="*/ 3794 h 10008"/>
                <a:gd name="connsiteX41" fmla="*/ 6635 w 10000"/>
                <a:gd name="connsiteY41" fmla="*/ 3739 h 10008"/>
                <a:gd name="connsiteX42" fmla="*/ 6620 w 10000"/>
                <a:gd name="connsiteY42" fmla="*/ 3679 h 10008"/>
                <a:gd name="connsiteX43" fmla="*/ 6612 w 10000"/>
                <a:gd name="connsiteY43" fmla="*/ 3620 h 10008"/>
                <a:gd name="connsiteX44" fmla="*/ 6605 w 10000"/>
                <a:gd name="connsiteY44" fmla="*/ 3560 h 10008"/>
                <a:gd name="connsiteX45" fmla="*/ 6597 w 10000"/>
                <a:gd name="connsiteY45" fmla="*/ 3496 h 10008"/>
                <a:gd name="connsiteX46" fmla="*/ 6597 w 10000"/>
                <a:gd name="connsiteY46" fmla="*/ 3436 h 10008"/>
                <a:gd name="connsiteX47" fmla="*/ 6590 w 10000"/>
                <a:gd name="connsiteY47" fmla="*/ 3372 h 10008"/>
                <a:gd name="connsiteX48" fmla="*/ 6597 w 10000"/>
                <a:gd name="connsiteY48" fmla="*/ 3312 h 10008"/>
                <a:gd name="connsiteX49" fmla="*/ 6605 w 10000"/>
                <a:gd name="connsiteY49" fmla="*/ 3244 h 10008"/>
                <a:gd name="connsiteX50" fmla="*/ 6605 w 10000"/>
                <a:gd name="connsiteY50" fmla="*/ 3179 h 10008"/>
                <a:gd name="connsiteX51" fmla="*/ 6612 w 10000"/>
                <a:gd name="connsiteY51" fmla="*/ 3114 h 10008"/>
                <a:gd name="connsiteX52" fmla="*/ 6620 w 10000"/>
                <a:gd name="connsiteY52" fmla="*/ 3050 h 10008"/>
                <a:gd name="connsiteX53" fmla="*/ 6635 w 10000"/>
                <a:gd name="connsiteY53" fmla="*/ 2991 h 10008"/>
                <a:gd name="connsiteX54" fmla="*/ 6649 w 10000"/>
                <a:gd name="connsiteY54" fmla="*/ 2927 h 10008"/>
                <a:gd name="connsiteX55" fmla="*/ 6664 w 10000"/>
                <a:gd name="connsiteY55" fmla="*/ 2867 h 10008"/>
                <a:gd name="connsiteX56" fmla="*/ 6686 w 10000"/>
                <a:gd name="connsiteY56" fmla="*/ 2803 h 10008"/>
                <a:gd name="connsiteX57" fmla="*/ 6709 w 10000"/>
                <a:gd name="connsiteY57" fmla="*/ 2743 h 10008"/>
                <a:gd name="connsiteX58" fmla="*/ 6731 w 10000"/>
                <a:gd name="connsiteY58" fmla="*/ 2684 h 10008"/>
                <a:gd name="connsiteX59" fmla="*/ 6753 w 10000"/>
                <a:gd name="connsiteY59" fmla="*/ 2619 h 10008"/>
                <a:gd name="connsiteX60" fmla="*/ 6783 w 10000"/>
                <a:gd name="connsiteY60" fmla="*/ 2564 h 10008"/>
                <a:gd name="connsiteX61" fmla="*/ 6812 w 10000"/>
                <a:gd name="connsiteY61" fmla="*/ 2504 h 10008"/>
                <a:gd name="connsiteX62" fmla="*/ 6842 w 10000"/>
                <a:gd name="connsiteY62" fmla="*/ 2444 h 10008"/>
                <a:gd name="connsiteX63" fmla="*/ 6879 w 10000"/>
                <a:gd name="connsiteY63" fmla="*/ 2385 h 10008"/>
                <a:gd name="connsiteX64" fmla="*/ 6909 w 10000"/>
                <a:gd name="connsiteY64" fmla="*/ 2330 h 10008"/>
                <a:gd name="connsiteX65" fmla="*/ 6946 w 10000"/>
                <a:gd name="connsiteY65" fmla="*/ 2270 h 10008"/>
                <a:gd name="connsiteX66" fmla="*/ 6990 w 10000"/>
                <a:gd name="connsiteY66" fmla="*/ 2215 h 10008"/>
                <a:gd name="connsiteX67" fmla="*/ 7027 w 10000"/>
                <a:gd name="connsiteY67" fmla="*/ 2160 h 10008"/>
                <a:gd name="connsiteX68" fmla="*/ 7072 w 10000"/>
                <a:gd name="connsiteY68" fmla="*/ 2105 h 10008"/>
                <a:gd name="connsiteX69" fmla="*/ 7109 w 10000"/>
                <a:gd name="connsiteY69" fmla="*/ 2050 h 10008"/>
                <a:gd name="connsiteX70" fmla="*/ 7161 w 10000"/>
                <a:gd name="connsiteY70" fmla="*/ 2000 h 10008"/>
                <a:gd name="connsiteX71" fmla="*/ 7213 w 10000"/>
                <a:gd name="connsiteY71" fmla="*/ 1945 h 10008"/>
                <a:gd name="connsiteX72" fmla="*/ 7257 w 10000"/>
                <a:gd name="connsiteY72" fmla="*/ 1890 h 10008"/>
                <a:gd name="connsiteX73" fmla="*/ 7309 w 10000"/>
                <a:gd name="connsiteY73" fmla="*/ 1839 h 10008"/>
                <a:gd name="connsiteX74" fmla="*/ 7361 w 10000"/>
                <a:gd name="connsiteY74" fmla="*/ 1788 h 10008"/>
                <a:gd name="connsiteX75" fmla="*/ 7413 w 10000"/>
                <a:gd name="connsiteY75" fmla="*/ 1738 h 10008"/>
                <a:gd name="connsiteX76" fmla="*/ 7472 w 10000"/>
                <a:gd name="connsiteY76" fmla="*/ 1687 h 10008"/>
                <a:gd name="connsiteX77" fmla="*/ 7524 w 10000"/>
                <a:gd name="connsiteY77" fmla="*/ 1641 h 10008"/>
                <a:gd name="connsiteX78" fmla="*/ 7583 w 10000"/>
                <a:gd name="connsiteY78" fmla="*/ 1595 h 10008"/>
                <a:gd name="connsiteX79" fmla="*/ 7610 w 10000"/>
                <a:gd name="connsiteY79" fmla="*/ 1566 h 10008"/>
                <a:gd name="connsiteX80" fmla="*/ 5412 w 10000"/>
                <a:gd name="connsiteY80" fmla="*/ 0 h 10008"/>
                <a:gd name="connsiteX81" fmla="*/ 1423 w 10000"/>
                <a:gd name="connsiteY81" fmla="*/ 1 h 10008"/>
                <a:gd name="connsiteX82" fmla="*/ 1305 w 10000"/>
                <a:gd name="connsiteY82" fmla="*/ 122 h 10008"/>
                <a:gd name="connsiteX83" fmla="*/ 1223 w 10000"/>
                <a:gd name="connsiteY83" fmla="*/ 214 h 10008"/>
                <a:gd name="connsiteX84" fmla="*/ 1149 w 10000"/>
                <a:gd name="connsiteY84" fmla="*/ 310 h 10008"/>
                <a:gd name="connsiteX85" fmla="*/ 1067 w 10000"/>
                <a:gd name="connsiteY85" fmla="*/ 407 h 10008"/>
                <a:gd name="connsiteX86" fmla="*/ 1001 w 10000"/>
                <a:gd name="connsiteY86" fmla="*/ 504 h 10008"/>
                <a:gd name="connsiteX87" fmla="*/ 927 w 10000"/>
                <a:gd name="connsiteY87" fmla="*/ 600 h 10008"/>
                <a:gd name="connsiteX88" fmla="*/ 860 w 10000"/>
                <a:gd name="connsiteY88" fmla="*/ 701 h 10008"/>
                <a:gd name="connsiteX89" fmla="*/ 793 w 10000"/>
                <a:gd name="connsiteY89" fmla="*/ 802 h 10008"/>
                <a:gd name="connsiteX90" fmla="*/ 734 w 10000"/>
                <a:gd name="connsiteY90" fmla="*/ 898 h 10008"/>
                <a:gd name="connsiteX91" fmla="*/ 675 w 10000"/>
                <a:gd name="connsiteY91" fmla="*/ 999 h 10008"/>
                <a:gd name="connsiteX92" fmla="*/ 615 w 10000"/>
                <a:gd name="connsiteY92" fmla="*/ 1100 h 10008"/>
                <a:gd name="connsiteX93" fmla="*/ 556 w 10000"/>
                <a:gd name="connsiteY93" fmla="*/ 1206 h 10008"/>
                <a:gd name="connsiteX94" fmla="*/ 504 w 10000"/>
                <a:gd name="connsiteY94" fmla="*/ 1302 h 10008"/>
                <a:gd name="connsiteX95" fmla="*/ 452 w 10000"/>
                <a:gd name="connsiteY95" fmla="*/ 1408 h 10008"/>
                <a:gd name="connsiteX96" fmla="*/ 408 w 10000"/>
                <a:gd name="connsiteY96" fmla="*/ 1508 h 10008"/>
                <a:gd name="connsiteX97" fmla="*/ 363 w 10000"/>
                <a:gd name="connsiteY97" fmla="*/ 1614 h 10008"/>
                <a:gd name="connsiteX98" fmla="*/ 319 w 10000"/>
                <a:gd name="connsiteY98" fmla="*/ 1719 h 10008"/>
                <a:gd name="connsiteX99" fmla="*/ 282 w 10000"/>
                <a:gd name="connsiteY99" fmla="*/ 1826 h 10008"/>
                <a:gd name="connsiteX100" fmla="*/ 237 w 10000"/>
                <a:gd name="connsiteY100" fmla="*/ 1936 h 10008"/>
                <a:gd name="connsiteX101" fmla="*/ 208 w 10000"/>
                <a:gd name="connsiteY101" fmla="*/ 2041 h 10008"/>
                <a:gd name="connsiteX102" fmla="*/ 170 w 10000"/>
                <a:gd name="connsiteY102" fmla="*/ 2151 h 10008"/>
                <a:gd name="connsiteX103" fmla="*/ 148 w 10000"/>
                <a:gd name="connsiteY103" fmla="*/ 2261 h 10008"/>
                <a:gd name="connsiteX104" fmla="*/ 119 w 10000"/>
                <a:gd name="connsiteY104" fmla="*/ 2366 h 10008"/>
                <a:gd name="connsiteX105" fmla="*/ 96 w 10000"/>
                <a:gd name="connsiteY105" fmla="*/ 2476 h 10008"/>
                <a:gd name="connsiteX106" fmla="*/ 74 w 10000"/>
                <a:gd name="connsiteY106" fmla="*/ 2587 h 10008"/>
                <a:gd name="connsiteX107" fmla="*/ 52 w 10000"/>
                <a:gd name="connsiteY107" fmla="*/ 2702 h 10008"/>
                <a:gd name="connsiteX108" fmla="*/ 37 w 10000"/>
                <a:gd name="connsiteY108" fmla="*/ 2812 h 10008"/>
                <a:gd name="connsiteX109" fmla="*/ 22 w 10000"/>
                <a:gd name="connsiteY109" fmla="*/ 2922 h 10008"/>
                <a:gd name="connsiteX110" fmla="*/ 15 w 10000"/>
                <a:gd name="connsiteY110" fmla="*/ 3032 h 10008"/>
                <a:gd name="connsiteX111" fmla="*/ 7 w 10000"/>
                <a:gd name="connsiteY111" fmla="*/ 3146 h 10008"/>
                <a:gd name="connsiteX112" fmla="*/ 0 w 10000"/>
                <a:gd name="connsiteY112" fmla="*/ 3257 h 10008"/>
                <a:gd name="connsiteX113" fmla="*/ 0 w 10000"/>
                <a:gd name="connsiteY113" fmla="*/ 3372 h 10008"/>
                <a:gd name="connsiteX114" fmla="*/ 7 w 10000"/>
                <a:gd name="connsiteY114" fmla="*/ 3519 h 10008"/>
                <a:gd name="connsiteX115" fmla="*/ 7 w 10000"/>
                <a:gd name="connsiteY115" fmla="*/ 3665 h 10008"/>
                <a:gd name="connsiteX116" fmla="*/ 22 w 10000"/>
                <a:gd name="connsiteY116" fmla="*/ 3803 h 10008"/>
                <a:gd name="connsiteX117" fmla="*/ 37 w 10000"/>
                <a:gd name="connsiteY117" fmla="*/ 3946 h 10008"/>
                <a:gd name="connsiteX118" fmla="*/ 59 w 10000"/>
                <a:gd name="connsiteY118" fmla="*/ 4088 h 10008"/>
                <a:gd name="connsiteX119" fmla="*/ 89 w 10000"/>
                <a:gd name="connsiteY119" fmla="*/ 4230 h 10008"/>
                <a:gd name="connsiteX120" fmla="*/ 119 w 10000"/>
                <a:gd name="connsiteY120" fmla="*/ 4372 h 10008"/>
                <a:gd name="connsiteX121" fmla="*/ 148 w 10000"/>
                <a:gd name="connsiteY121" fmla="*/ 4514 h 10008"/>
                <a:gd name="connsiteX122" fmla="*/ 193 w 10000"/>
                <a:gd name="connsiteY122" fmla="*/ 4653 h 10008"/>
                <a:gd name="connsiteX123" fmla="*/ 237 w 10000"/>
                <a:gd name="connsiteY123" fmla="*/ 4790 h 10008"/>
                <a:gd name="connsiteX124" fmla="*/ 282 w 10000"/>
                <a:gd name="connsiteY124" fmla="*/ 4928 h 10008"/>
                <a:gd name="connsiteX125" fmla="*/ 334 w 10000"/>
                <a:gd name="connsiteY125" fmla="*/ 5065 h 10008"/>
                <a:gd name="connsiteX126" fmla="*/ 393 w 10000"/>
                <a:gd name="connsiteY126" fmla="*/ 5198 h 10008"/>
                <a:gd name="connsiteX127" fmla="*/ 452 w 10000"/>
                <a:gd name="connsiteY127" fmla="*/ 5331 h 10008"/>
                <a:gd name="connsiteX128" fmla="*/ 519 w 10000"/>
                <a:gd name="connsiteY128" fmla="*/ 5465 h 10008"/>
                <a:gd name="connsiteX129" fmla="*/ 586 w 10000"/>
                <a:gd name="connsiteY129" fmla="*/ 5598 h 10008"/>
                <a:gd name="connsiteX130" fmla="*/ 660 w 10000"/>
                <a:gd name="connsiteY130" fmla="*/ 5726 h 10008"/>
                <a:gd name="connsiteX131" fmla="*/ 741 w 10000"/>
                <a:gd name="connsiteY131" fmla="*/ 5854 h 10008"/>
                <a:gd name="connsiteX132" fmla="*/ 823 w 10000"/>
                <a:gd name="connsiteY132" fmla="*/ 5987 h 10008"/>
                <a:gd name="connsiteX133" fmla="*/ 904 w 10000"/>
                <a:gd name="connsiteY133" fmla="*/ 6112 h 10008"/>
                <a:gd name="connsiteX134" fmla="*/ 993 w 10000"/>
                <a:gd name="connsiteY134" fmla="*/ 6236 h 10008"/>
                <a:gd name="connsiteX135" fmla="*/ 1090 w 10000"/>
                <a:gd name="connsiteY135" fmla="*/ 6355 h 10008"/>
                <a:gd name="connsiteX136" fmla="*/ 1186 w 10000"/>
                <a:gd name="connsiteY136" fmla="*/ 6479 h 10008"/>
                <a:gd name="connsiteX137" fmla="*/ 1290 w 10000"/>
                <a:gd name="connsiteY137" fmla="*/ 6602 h 10008"/>
                <a:gd name="connsiteX138" fmla="*/ 1386 w 10000"/>
                <a:gd name="connsiteY138" fmla="*/ 6722 h 10008"/>
                <a:gd name="connsiteX139" fmla="*/ 1497 w 10000"/>
                <a:gd name="connsiteY139" fmla="*/ 6842 h 10008"/>
                <a:gd name="connsiteX140" fmla="*/ 1609 w 10000"/>
                <a:gd name="connsiteY140" fmla="*/ 6956 h 10008"/>
                <a:gd name="connsiteX141" fmla="*/ 1727 w 10000"/>
                <a:gd name="connsiteY141" fmla="*/ 7075 h 10008"/>
                <a:gd name="connsiteX142" fmla="*/ 1846 w 10000"/>
                <a:gd name="connsiteY142" fmla="*/ 7190 h 10008"/>
                <a:gd name="connsiteX143" fmla="*/ 1964 w 10000"/>
                <a:gd name="connsiteY143" fmla="*/ 7300 h 10008"/>
                <a:gd name="connsiteX144" fmla="*/ 2090 w 10000"/>
                <a:gd name="connsiteY144" fmla="*/ 7410 h 10008"/>
                <a:gd name="connsiteX145" fmla="*/ 2224 w 10000"/>
                <a:gd name="connsiteY145" fmla="*/ 7521 h 10008"/>
                <a:gd name="connsiteX146" fmla="*/ 2350 w 10000"/>
                <a:gd name="connsiteY146" fmla="*/ 7631 h 10008"/>
                <a:gd name="connsiteX147" fmla="*/ 2491 w 10000"/>
                <a:gd name="connsiteY147" fmla="*/ 7736 h 10008"/>
                <a:gd name="connsiteX148" fmla="*/ 2617 w 10000"/>
                <a:gd name="connsiteY148" fmla="*/ 7842 h 10008"/>
                <a:gd name="connsiteX149" fmla="*/ 2765 w 10000"/>
                <a:gd name="connsiteY149" fmla="*/ 7943 h 10008"/>
                <a:gd name="connsiteX150" fmla="*/ 2906 w 10000"/>
                <a:gd name="connsiteY150" fmla="*/ 8043 h 10008"/>
                <a:gd name="connsiteX151" fmla="*/ 3054 w 10000"/>
                <a:gd name="connsiteY151" fmla="*/ 8144 h 10008"/>
                <a:gd name="connsiteX152" fmla="*/ 3210 w 10000"/>
                <a:gd name="connsiteY152" fmla="*/ 8242 h 10008"/>
                <a:gd name="connsiteX153" fmla="*/ 3358 w 10000"/>
                <a:gd name="connsiteY153" fmla="*/ 8338 h 10008"/>
                <a:gd name="connsiteX154" fmla="*/ 3514 w 10000"/>
                <a:gd name="connsiteY154" fmla="*/ 8434 h 10008"/>
                <a:gd name="connsiteX155" fmla="*/ 3677 w 10000"/>
                <a:gd name="connsiteY155" fmla="*/ 8526 h 10008"/>
                <a:gd name="connsiteX156" fmla="*/ 3840 w 10000"/>
                <a:gd name="connsiteY156" fmla="*/ 8613 h 10008"/>
                <a:gd name="connsiteX157" fmla="*/ 4010 w 10000"/>
                <a:gd name="connsiteY157" fmla="*/ 8704 h 10008"/>
                <a:gd name="connsiteX158" fmla="*/ 4181 w 10000"/>
                <a:gd name="connsiteY158" fmla="*/ 8782 h 10008"/>
                <a:gd name="connsiteX159" fmla="*/ 4351 w 10000"/>
                <a:gd name="connsiteY159" fmla="*/ 8869 h 10008"/>
                <a:gd name="connsiteX160" fmla="*/ 4522 w 10000"/>
                <a:gd name="connsiteY160" fmla="*/ 8948 h 10008"/>
                <a:gd name="connsiteX161" fmla="*/ 4700 w 10000"/>
                <a:gd name="connsiteY161" fmla="*/ 9031 h 10008"/>
                <a:gd name="connsiteX162" fmla="*/ 4878 w 10000"/>
                <a:gd name="connsiteY162" fmla="*/ 9109 h 10008"/>
                <a:gd name="connsiteX163" fmla="*/ 5063 w 10000"/>
                <a:gd name="connsiteY163" fmla="*/ 9182 h 10008"/>
                <a:gd name="connsiteX164" fmla="*/ 5248 w 10000"/>
                <a:gd name="connsiteY164" fmla="*/ 9260 h 10008"/>
                <a:gd name="connsiteX165" fmla="*/ 5426 w 10000"/>
                <a:gd name="connsiteY165" fmla="*/ 9329 h 10008"/>
                <a:gd name="connsiteX166" fmla="*/ 5619 w 10000"/>
                <a:gd name="connsiteY166" fmla="*/ 9397 h 10008"/>
                <a:gd name="connsiteX167" fmla="*/ 5812 w 10000"/>
                <a:gd name="connsiteY167" fmla="*/ 9466 h 10008"/>
                <a:gd name="connsiteX168" fmla="*/ 6004 w 10000"/>
                <a:gd name="connsiteY168" fmla="*/ 9530 h 10008"/>
                <a:gd name="connsiteX169" fmla="*/ 6205 w 10000"/>
                <a:gd name="connsiteY169" fmla="*/ 9595 h 10008"/>
                <a:gd name="connsiteX170" fmla="*/ 6397 w 10000"/>
                <a:gd name="connsiteY170" fmla="*/ 9655 h 10008"/>
                <a:gd name="connsiteX171" fmla="*/ 6605 w 10000"/>
                <a:gd name="connsiteY171" fmla="*/ 9710 h 10008"/>
                <a:gd name="connsiteX172" fmla="*/ 6805 w 10000"/>
                <a:gd name="connsiteY172" fmla="*/ 9765 h 10008"/>
                <a:gd name="connsiteX173" fmla="*/ 7005 w 10000"/>
                <a:gd name="connsiteY173" fmla="*/ 9820 h 10008"/>
                <a:gd name="connsiteX174" fmla="*/ 7213 w 10000"/>
                <a:gd name="connsiteY174" fmla="*/ 9871 h 10008"/>
                <a:gd name="connsiteX175" fmla="*/ 7420 w 10000"/>
                <a:gd name="connsiteY175" fmla="*/ 9916 h 10008"/>
                <a:gd name="connsiteX176" fmla="*/ 7628 w 10000"/>
                <a:gd name="connsiteY176" fmla="*/ 9962 h 10008"/>
                <a:gd name="connsiteX177" fmla="*/ 7835 w 10000"/>
                <a:gd name="connsiteY177" fmla="*/ 10008 h 10008"/>
                <a:gd name="connsiteX178" fmla="*/ 7539 w 10000"/>
                <a:gd name="connsiteY178" fmla="*/ 7759 h 10008"/>
                <a:gd name="connsiteX179" fmla="*/ 10000 w 10000"/>
                <a:gd name="connsiteY179" fmla="*/ 6144 h 10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10000" h="10008">
                  <a:moveTo>
                    <a:pt x="10000" y="6144"/>
                  </a:moveTo>
                  <a:lnTo>
                    <a:pt x="10000" y="6144"/>
                  </a:lnTo>
                  <a:lnTo>
                    <a:pt x="9911" y="6130"/>
                  </a:lnTo>
                  <a:lnTo>
                    <a:pt x="9815" y="6112"/>
                  </a:lnTo>
                  <a:lnTo>
                    <a:pt x="9726" y="6094"/>
                  </a:lnTo>
                  <a:lnTo>
                    <a:pt x="9637" y="6070"/>
                  </a:lnTo>
                  <a:cubicBezTo>
                    <a:pt x="9607" y="6064"/>
                    <a:pt x="9578" y="6057"/>
                    <a:pt x="9548" y="6051"/>
                  </a:cubicBezTo>
                  <a:lnTo>
                    <a:pt x="9466" y="6029"/>
                  </a:lnTo>
                  <a:lnTo>
                    <a:pt x="9377" y="6006"/>
                  </a:lnTo>
                  <a:lnTo>
                    <a:pt x="9288" y="5983"/>
                  </a:lnTo>
                  <a:lnTo>
                    <a:pt x="9118" y="5932"/>
                  </a:lnTo>
                  <a:lnTo>
                    <a:pt x="8955" y="5877"/>
                  </a:lnTo>
                  <a:lnTo>
                    <a:pt x="8792" y="5818"/>
                  </a:lnTo>
                  <a:lnTo>
                    <a:pt x="8636" y="5754"/>
                  </a:lnTo>
                  <a:lnTo>
                    <a:pt x="8480" y="5689"/>
                  </a:lnTo>
                  <a:lnTo>
                    <a:pt x="8340" y="5621"/>
                  </a:lnTo>
                  <a:lnTo>
                    <a:pt x="8199" y="5547"/>
                  </a:lnTo>
                  <a:lnTo>
                    <a:pt x="8058" y="5469"/>
                  </a:lnTo>
                  <a:cubicBezTo>
                    <a:pt x="8013" y="5442"/>
                    <a:pt x="7969" y="5414"/>
                    <a:pt x="7924" y="5387"/>
                  </a:cubicBezTo>
                  <a:lnTo>
                    <a:pt x="7798" y="5303"/>
                  </a:lnTo>
                  <a:lnTo>
                    <a:pt x="7672" y="5216"/>
                  </a:lnTo>
                  <a:lnTo>
                    <a:pt x="7554" y="5129"/>
                  </a:lnTo>
                  <a:lnTo>
                    <a:pt x="7450" y="5033"/>
                  </a:lnTo>
                  <a:lnTo>
                    <a:pt x="7346" y="4937"/>
                  </a:lnTo>
                  <a:lnTo>
                    <a:pt x="7250" y="4841"/>
                  </a:lnTo>
                  <a:lnTo>
                    <a:pt x="7161" y="4740"/>
                  </a:lnTo>
                  <a:cubicBezTo>
                    <a:pt x="7131" y="4706"/>
                    <a:pt x="7102" y="4672"/>
                    <a:pt x="7072" y="4638"/>
                  </a:cubicBezTo>
                  <a:cubicBezTo>
                    <a:pt x="7045" y="4601"/>
                    <a:pt x="7017" y="4565"/>
                    <a:pt x="6990" y="4528"/>
                  </a:cubicBezTo>
                  <a:cubicBezTo>
                    <a:pt x="6978" y="4511"/>
                    <a:pt x="6965" y="4495"/>
                    <a:pt x="6953" y="4478"/>
                  </a:cubicBezTo>
                  <a:cubicBezTo>
                    <a:pt x="6941" y="4460"/>
                    <a:pt x="6928" y="4441"/>
                    <a:pt x="6916" y="4423"/>
                  </a:cubicBezTo>
                  <a:cubicBezTo>
                    <a:pt x="6906" y="4405"/>
                    <a:pt x="6897" y="4386"/>
                    <a:pt x="6887" y="4368"/>
                  </a:cubicBezTo>
                  <a:cubicBezTo>
                    <a:pt x="6875" y="4350"/>
                    <a:pt x="6862" y="4331"/>
                    <a:pt x="6850" y="4313"/>
                  </a:cubicBezTo>
                  <a:cubicBezTo>
                    <a:pt x="6840" y="4295"/>
                    <a:pt x="6830" y="4276"/>
                    <a:pt x="6820" y="4258"/>
                  </a:cubicBezTo>
                  <a:cubicBezTo>
                    <a:pt x="6810" y="4240"/>
                    <a:pt x="6800" y="4221"/>
                    <a:pt x="6790" y="4203"/>
                  </a:cubicBezTo>
                  <a:cubicBezTo>
                    <a:pt x="6783" y="4183"/>
                    <a:pt x="6775" y="4163"/>
                    <a:pt x="6768" y="4143"/>
                  </a:cubicBezTo>
                  <a:cubicBezTo>
                    <a:pt x="6758" y="4125"/>
                    <a:pt x="6748" y="4106"/>
                    <a:pt x="6738" y="4088"/>
                  </a:cubicBezTo>
                  <a:lnTo>
                    <a:pt x="6723" y="4028"/>
                  </a:lnTo>
                  <a:cubicBezTo>
                    <a:pt x="6713" y="4010"/>
                    <a:pt x="6704" y="3991"/>
                    <a:pt x="6694" y="3973"/>
                  </a:cubicBezTo>
                  <a:lnTo>
                    <a:pt x="6679" y="3913"/>
                  </a:lnTo>
                  <a:lnTo>
                    <a:pt x="6664" y="3853"/>
                  </a:lnTo>
                  <a:cubicBezTo>
                    <a:pt x="6659" y="3833"/>
                    <a:pt x="6654" y="3814"/>
                    <a:pt x="6649" y="3794"/>
                  </a:cubicBezTo>
                  <a:cubicBezTo>
                    <a:pt x="6644" y="3776"/>
                    <a:pt x="6640" y="3757"/>
                    <a:pt x="6635" y="3739"/>
                  </a:cubicBezTo>
                  <a:lnTo>
                    <a:pt x="6620" y="3679"/>
                  </a:lnTo>
                  <a:cubicBezTo>
                    <a:pt x="6617" y="3659"/>
                    <a:pt x="6615" y="3640"/>
                    <a:pt x="6612" y="3620"/>
                  </a:cubicBezTo>
                  <a:cubicBezTo>
                    <a:pt x="6610" y="3600"/>
                    <a:pt x="6607" y="3580"/>
                    <a:pt x="6605" y="3560"/>
                  </a:cubicBezTo>
                  <a:cubicBezTo>
                    <a:pt x="6602" y="3539"/>
                    <a:pt x="6600" y="3517"/>
                    <a:pt x="6597" y="3496"/>
                  </a:cubicBezTo>
                  <a:lnTo>
                    <a:pt x="6597" y="3436"/>
                  </a:lnTo>
                  <a:cubicBezTo>
                    <a:pt x="6595" y="3415"/>
                    <a:pt x="6592" y="3393"/>
                    <a:pt x="6590" y="3372"/>
                  </a:cubicBezTo>
                  <a:cubicBezTo>
                    <a:pt x="6592" y="3352"/>
                    <a:pt x="6595" y="3332"/>
                    <a:pt x="6597" y="3312"/>
                  </a:cubicBezTo>
                  <a:cubicBezTo>
                    <a:pt x="6600" y="3289"/>
                    <a:pt x="6602" y="3267"/>
                    <a:pt x="6605" y="3244"/>
                  </a:cubicBezTo>
                  <a:lnTo>
                    <a:pt x="6605" y="3179"/>
                  </a:lnTo>
                  <a:cubicBezTo>
                    <a:pt x="6607" y="3157"/>
                    <a:pt x="6610" y="3136"/>
                    <a:pt x="6612" y="3114"/>
                  </a:cubicBezTo>
                  <a:cubicBezTo>
                    <a:pt x="6615" y="3093"/>
                    <a:pt x="6617" y="3071"/>
                    <a:pt x="6620" y="3050"/>
                  </a:cubicBezTo>
                  <a:cubicBezTo>
                    <a:pt x="6625" y="3030"/>
                    <a:pt x="6630" y="3011"/>
                    <a:pt x="6635" y="2991"/>
                  </a:cubicBezTo>
                  <a:cubicBezTo>
                    <a:pt x="6640" y="2970"/>
                    <a:pt x="6644" y="2948"/>
                    <a:pt x="6649" y="2927"/>
                  </a:cubicBezTo>
                  <a:lnTo>
                    <a:pt x="6664" y="2867"/>
                  </a:lnTo>
                  <a:cubicBezTo>
                    <a:pt x="6671" y="2846"/>
                    <a:pt x="6679" y="2824"/>
                    <a:pt x="6686" y="2803"/>
                  </a:cubicBezTo>
                  <a:cubicBezTo>
                    <a:pt x="6694" y="2783"/>
                    <a:pt x="6701" y="2763"/>
                    <a:pt x="6709" y="2743"/>
                  </a:cubicBezTo>
                  <a:cubicBezTo>
                    <a:pt x="6716" y="2723"/>
                    <a:pt x="6724" y="2704"/>
                    <a:pt x="6731" y="2684"/>
                  </a:cubicBezTo>
                  <a:cubicBezTo>
                    <a:pt x="6738" y="2662"/>
                    <a:pt x="6746" y="2641"/>
                    <a:pt x="6753" y="2619"/>
                  </a:cubicBezTo>
                  <a:cubicBezTo>
                    <a:pt x="6763" y="2601"/>
                    <a:pt x="6773" y="2582"/>
                    <a:pt x="6783" y="2564"/>
                  </a:cubicBezTo>
                  <a:cubicBezTo>
                    <a:pt x="6793" y="2544"/>
                    <a:pt x="6802" y="2525"/>
                    <a:pt x="6812" y="2504"/>
                  </a:cubicBezTo>
                  <a:lnTo>
                    <a:pt x="6842" y="2444"/>
                  </a:lnTo>
                  <a:cubicBezTo>
                    <a:pt x="6854" y="2424"/>
                    <a:pt x="6867" y="2405"/>
                    <a:pt x="6879" y="2385"/>
                  </a:cubicBezTo>
                  <a:cubicBezTo>
                    <a:pt x="6889" y="2367"/>
                    <a:pt x="6899" y="2348"/>
                    <a:pt x="6909" y="2330"/>
                  </a:cubicBezTo>
                  <a:cubicBezTo>
                    <a:pt x="6921" y="2310"/>
                    <a:pt x="6934" y="2290"/>
                    <a:pt x="6946" y="2270"/>
                  </a:cubicBezTo>
                  <a:cubicBezTo>
                    <a:pt x="6961" y="2252"/>
                    <a:pt x="6975" y="2233"/>
                    <a:pt x="6990" y="2215"/>
                  </a:cubicBezTo>
                  <a:cubicBezTo>
                    <a:pt x="7002" y="2197"/>
                    <a:pt x="7015" y="2178"/>
                    <a:pt x="7027" y="2160"/>
                  </a:cubicBezTo>
                  <a:cubicBezTo>
                    <a:pt x="7042" y="2142"/>
                    <a:pt x="7057" y="2123"/>
                    <a:pt x="7072" y="2105"/>
                  </a:cubicBezTo>
                  <a:cubicBezTo>
                    <a:pt x="7084" y="2087"/>
                    <a:pt x="7097" y="2068"/>
                    <a:pt x="7109" y="2050"/>
                  </a:cubicBezTo>
                  <a:cubicBezTo>
                    <a:pt x="7126" y="2033"/>
                    <a:pt x="7144" y="2017"/>
                    <a:pt x="7161" y="2000"/>
                  </a:cubicBezTo>
                  <a:lnTo>
                    <a:pt x="7213" y="1945"/>
                  </a:lnTo>
                  <a:cubicBezTo>
                    <a:pt x="7228" y="1927"/>
                    <a:pt x="7242" y="1908"/>
                    <a:pt x="7257" y="1890"/>
                  </a:cubicBezTo>
                  <a:cubicBezTo>
                    <a:pt x="7274" y="1873"/>
                    <a:pt x="7292" y="1856"/>
                    <a:pt x="7309" y="1839"/>
                  </a:cubicBezTo>
                  <a:cubicBezTo>
                    <a:pt x="7326" y="1822"/>
                    <a:pt x="7344" y="1806"/>
                    <a:pt x="7361" y="1788"/>
                  </a:cubicBezTo>
                  <a:cubicBezTo>
                    <a:pt x="7378" y="1771"/>
                    <a:pt x="7396" y="1755"/>
                    <a:pt x="7413" y="1738"/>
                  </a:cubicBezTo>
                  <a:cubicBezTo>
                    <a:pt x="7433" y="1721"/>
                    <a:pt x="7452" y="1704"/>
                    <a:pt x="7472" y="1687"/>
                  </a:cubicBezTo>
                  <a:lnTo>
                    <a:pt x="7524" y="1641"/>
                  </a:lnTo>
                  <a:cubicBezTo>
                    <a:pt x="7544" y="1626"/>
                    <a:pt x="7563" y="1610"/>
                    <a:pt x="7583" y="1595"/>
                  </a:cubicBezTo>
                  <a:cubicBezTo>
                    <a:pt x="7603" y="1578"/>
                    <a:pt x="7590" y="1583"/>
                    <a:pt x="7610" y="1566"/>
                  </a:cubicBezTo>
                  <a:lnTo>
                    <a:pt x="5412" y="0"/>
                  </a:lnTo>
                  <a:lnTo>
                    <a:pt x="1423" y="1"/>
                  </a:lnTo>
                  <a:cubicBezTo>
                    <a:pt x="1391" y="44"/>
                    <a:pt x="1337" y="79"/>
                    <a:pt x="1305" y="122"/>
                  </a:cubicBezTo>
                  <a:cubicBezTo>
                    <a:pt x="1278" y="153"/>
                    <a:pt x="1250" y="183"/>
                    <a:pt x="1223" y="214"/>
                  </a:cubicBezTo>
                  <a:cubicBezTo>
                    <a:pt x="1198" y="246"/>
                    <a:pt x="1174" y="278"/>
                    <a:pt x="1149" y="310"/>
                  </a:cubicBezTo>
                  <a:lnTo>
                    <a:pt x="1067" y="407"/>
                  </a:lnTo>
                  <a:cubicBezTo>
                    <a:pt x="1045" y="439"/>
                    <a:pt x="1023" y="472"/>
                    <a:pt x="1001" y="504"/>
                  </a:cubicBezTo>
                  <a:cubicBezTo>
                    <a:pt x="976" y="536"/>
                    <a:pt x="952" y="568"/>
                    <a:pt x="927" y="600"/>
                  </a:cubicBezTo>
                  <a:cubicBezTo>
                    <a:pt x="905" y="634"/>
                    <a:pt x="882" y="667"/>
                    <a:pt x="860" y="701"/>
                  </a:cubicBezTo>
                  <a:cubicBezTo>
                    <a:pt x="838" y="735"/>
                    <a:pt x="815" y="768"/>
                    <a:pt x="793" y="802"/>
                  </a:cubicBezTo>
                  <a:cubicBezTo>
                    <a:pt x="773" y="834"/>
                    <a:pt x="754" y="866"/>
                    <a:pt x="734" y="898"/>
                  </a:cubicBezTo>
                  <a:cubicBezTo>
                    <a:pt x="714" y="932"/>
                    <a:pt x="695" y="965"/>
                    <a:pt x="675" y="999"/>
                  </a:cubicBezTo>
                  <a:cubicBezTo>
                    <a:pt x="655" y="1032"/>
                    <a:pt x="635" y="1066"/>
                    <a:pt x="615" y="1100"/>
                  </a:cubicBezTo>
                  <a:cubicBezTo>
                    <a:pt x="595" y="1135"/>
                    <a:pt x="576" y="1171"/>
                    <a:pt x="556" y="1206"/>
                  </a:cubicBezTo>
                  <a:cubicBezTo>
                    <a:pt x="539" y="1238"/>
                    <a:pt x="521" y="1270"/>
                    <a:pt x="504" y="1302"/>
                  </a:cubicBezTo>
                  <a:cubicBezTo>
                    <a:pt x="487" y="1337"/>
                    <a:pt x="469" y="1373"/>
                    <a:pt x="452" y="1408"/>
                  </a:cubicBezTo>
                  <a:cubicBezTo>
                    <a:pt x="437" y="1441"/>
                    <a:pt x="423" y="1475"/>
                    <a:pt x="408" y="1508"/>
                  </a:cubicBezTo>
                  <a:cubicBezTo>
                    <a:pt x="393" y="1543"/>
                    <a:pt x="378" y="1579"/>
                    <a:pt x="363" y="1614"/>
                  </a:cubicBezTo>
                  <a:cubicBezTo>
                    <a:pt x="348" y="1649"/>
                    <a:pt x="334" y="1684"/>
                    <a:pt x="319" y="1719"/>
                  </a:cubicBezTo>
                  <a:cubicBezTo>
                    <a:pt x="307" y="1754"/>
                    <a:pt x="294" y="1790"/>
                    <a:pt x="282" y="1826"/>
                  </a:cubicBezTo>
                  <a:cubicBezTo>
                    <a:pt x="267" y="1863"/>
                    <a:pt x="252" y="1899"/>
                    <a:pt x="237" y="1936"/>
                  </a:cubicBezTo>
                  <a:cubicBezTo>
                    <a:pt x="227" y="1971"/>
                    <a:pt x="218" y="2006"/>
                    <a:pt x="208" y="2041"/>
                  </a:cubicBezTo>
                  <a:cubicBezTo>
                    <a:pt x="195" y="2078"/>
                    <a:pt x="183" y="2114"/>
                    <a:pt x="170" y="2151"/>
                  </a:cubicBezTo>
                  <a:cubicBezTo>
                    <a:pt x="163" y="2188"/>
                    <a:pt x="155" y="2224"/>
                    <a:pt x="148" y="2261"/>
                  </a:cubicBezTo>
                  <a:cubicBezTo>
                    <a:pt x="138" y="2296"/>
                    <a:pt x="129" y="2331"/>
                    <a:pt x="119" y="2366"/>
                  </a:cubicBezTo>
                  <a:cubicBezTo>
                    <a:pt x="111" y="2403"/>
                    <a:pt x="104" y="2439"/>
                    <a:pt x="96" y="2476"/>
                  </a:cubicBezTo>
                  <a:cubicBezTo>
                    <a:pt x="89" y="2514"/>
                    <a:pt x="81" y="2550"/>
                    <a:pt x="74" y="2587"/>
                  </a:cubicBezTo>
                  <a:cubicBezTo>
                    <a:pt x="67" y="2625"/>
                    <a:pt x="59" y="2664"/>
                    <a:pt x="52" y="2702"/>
                  </a:cubicBezTo>
                  <a:cubicBezTo>
                    <a:pt x="47" y="2739"/>
                    <a:pt x="42" y="2775"/>
                    <a:pt x="37" y="2812"/>
                  </a:cubicBezTo>
                  <a:cubicBezTo>
                    <a:pt x="32" y="2849"/>
                    <a:pt x="27" y="2885"/>
                    <a:pt x="22" y="2922"/>
                  </a:cubicBezTo>
                  <a:cubicBezTo>
                    <a:pt x="20" y="2959"/>
                    <a:pt x="17" y="2995"/>
                    <a:pt x="15" y="3032"/>
                  </a:cubicBezTo>
                  <a:cubicBezTo>
                    <a:pt x="12" y="3070"/>
                    <a:pt x="10" y="3108"/>
                    <a:pt x="7" y="3146"/>
                  </a:cubicBezTo>
                  <a:cubicBezTo>
                    <a:pt x="5" y="3183"/>
                    <a:pt x="2" y="3219"/>
                    <a:pt x="0" y="3257"/>
                  </a:cubicBezTo>
                  <a:lnTo>
                    <a:pt x="0" y="3372"/>
                  </a:lnTo>
                  <a:cubicBezTo>
                    <a:pt x="2" y="3421"/>
                    <a:pt x="5" y="3470"/>
                    <a:pt x="7" y="3519"/>
                  </a:cubicBezTo>
                  <a:lnTo>
                    <a:pt x="7" y="3665"/>
                  </a:lnTo>
                  <a:lnTo>
                    <a:pt x="22" y="3803"/>
                  </a:lnTo>
                  <a:cubicBezTo>
                    <a:pt x="27" y="3850"/>
                    <a:pt x="32" y="3898"/>
                    <a:pt x="37" y="3946"/>
                  </a:cubicBezTo>
                  <a:cubicBezTo>
                    <a:pt x="44" y="3993"/>
                    <a:pt x="52" y="4041"/>
                    <a:pt x="59" y="4088"/>
                  </a:cubicBezTo>
                  <a:cubicBezTo>
                    <a:pt x="69" y="4135"/>
                    <a:pt x="79" y="4183"/>
                    <a:pt x="89" y="4230"/>
                  </a:cubicBezTo>
                  <a:cubicBezTo>
                    <a:pt x="99" y="4277"/>
                    <a:pt x="109" y="4325"/>
                    <a:pt x="119" y="4372"/>
                  </a:cubicBezTo>
                  <a:cubicBezTo>
                    <a:pt x="129" y="4419"/>
                    <a:pt x="138" y="4467"/>
                    <a:pt x="148" y="4514"/>
                  </a:cubicBezTo>
                  <a:cubicBezTo>
                    <a:pt x="163" y="4560"/>
                    <a:pt x="178" y="4607"/>
                    <a:pt x="193" y="4653"/>
                  </a:cubicBezTo>
                  <a:cubicBezTo>
                    <a:pt x="208" y="4699"/>
                    <a:pt x="222" y="4744"/>
                    <a:pt x="237" y="4790"/>
                  </a:cubicBezTo>
                  <a:lnTo>
                    <a:pt x="282" y="4928"/>
                  </a:lnTo>
                  <a:cubicBezTo>
                    <a:pt x="299" y="4974"/>
                    <a:pt x="317" y="5019"/>
                    <a:pt x="334" y="5065"/>
                  </a:cubicBezTo>
                  <a:cubicBezTo>
                    <a:pt x="354" y="5109"/>
                    <a:pt x="373" y="5154"/>
                    <a:pt x="393" y="5198"/>
                  </a:cubicBezTo>
                  <a:cubicBezTo>
                    <a:pt x="413" y="5242"/>
                    <a:pt x="432" y="5287"/>
                    <a:pt x="452" y="5331"/>
                  </a:cubicBezTo>
                  <a:cubicBezTo>
                    <a:pt x="474" y="5376"/>
                    <a:pt x="497" y="5421"/>
                    <a:pt x="519" y="5465"/>
                  </a:cubicBezTo>
                  <a:cubicBezTo>
                    <a:pt x="541" y="5509"/>
                    <a:pt x="564" y="5554"/>
                    <a:pt x="586" y="5598"/>
                  </a:cubicBezTo>
                  <a:lnTo>
                    <a:pt x="660" y="5726"/>
                  </a:lnTo>
                  <a:cubicBezTo>
                    <a:pt x="687" y="5769"/>
                    <a:pt x="714" y="5811"/>
                    <a:pt x="741" y="5854"/>
                  </a:cubicBezTo>
                  <a:lnTo>
                    <a:pt x="823" y="5987"/>
                  </a:lnTo>
                  <a:cubicBezTo>
                    <a:pt x="850" y="6028"/>
                    <a:pt x="877" y="6070"/>
                    <a:pt x="904" y="6112"/>
                  </a:cubicBezTo>
                  <a:cubicBezTo>
                    <a:pt x="934" y="6153"/>
                    <a:pt x="963" y="6195"/>
                    <a:pt x="993" y="6236"/>
                  </a:cubicBezTo>
                  <a:cubicBezTo>
                    <a:pt x="1025" y="6276"/>
                    <a:pt x="1058" y="6315"/>
                    <a:pt x="1090" y="6355"/>
                  </a:cubicBezTo>
                  <a:cubicBezTo>
                    <a:pt x="1122" y="6396"/>
                    <a:pt x="1154" y="6438"/>
                    <a:pt x="1186" y="6479"/>
                  </a:cubicBezTo>
                  <a:cubicBezTo>
                    <a:pt x="1221" y="6520"/>
                    <a:pt x="1255" y="6561"/>
                    <a:pt x="1290" y="6602"/>
                  </a:cubicBezTo>
                  <a:lnTo>
                    <a:pt x="1386" y="6722"/>
                  </a:lnTo>
                  <a:lnTo>
                    <a:pt x="1497" y="6842"/>
                  </a:lnTo>
                  <a:lnTo>
                    <a:pt x="1609" y="6956"/>
                  </a:lnTo>
                  <a:cubicBezTo>
                    <a:pt x="1648" y="6996"/>
                    <a:pt x="1688" y="7035"/>
                    <a:pt x="1727" y="7075"/>
                  </a:cubicBezTo>
                  <a:cubicBezTo>
                    <a:pt x="1767" y="7113"/>
                    <a:pt x="1806" y="7152"/>
                    <a:pt x="1846" y="7190"/>
                  </a:cubicBezTo>
                  <a:cubicBezTo>
                    <a:pt x="1885" y="7227"/>
                    <a:pt x="1925" y="7263"/>
                    <a:pt x="1964" y="7300"/>
                  </a:cubicBezTo>
                  <a:lnTo>
                    <a:pt x="2090" y="7410"/>
                  </a:lnTo>
                  <a:lnTo>
                    <a:pt x="2224" y="7521"/>
                  </a:lnTo>
                  <a:lnTo>
                    <a:pt x="2350" y="7631"/>
                  </a:lnTo>
                  <a:lnTo>
                    <a:pt x="2491" y="7736"/>
                  </a:lnTo>
                  <a:lnTo>
                    <a:pt x="2617" y="7842"/>
                  </a:lnTo>
                  <a:cubicBezTo>
                    <a:pt x="2666" y="7876"/>
                    <a:pt x="2716" y="7909"/>
                    <a:pt x="2765" y="7943"/>
                  </a:cubicBezTo>
                  <a:lnTo>
                    <a:pt x="2906" y="8043"/>
                  </a:lnTo>
                  <a:cubicBezTo>
                    <a:pt x="2955" y="8077"/>
                    <a:pt x="3005" y="8110"/>
                    <a:pt x="3054" y="8144"/>
                  </a:cubicBezTo>
                  <a:lnTo>
                    <a:pt x="3210" y="8242"/>
                  </a:lnTo>
                  <a:lnTo>
                    <a:pt x="3358" y="8338"/>
                  </a:lnTo>
                  <a:lnTo>
                    <a:pt x="3514" y="8434"/>
                  </a:lnTo>
                  <a:lnTo>
                    <a:pt x="3677" y="8526"/>
                  </a:lnTo>
                  <a:lnTo>
                    <a:pt x="3840" y="8613"/>
                  </a:lnTo>
                  <a:lnTo>
                    <a:pt x="4010" y="8704"/>
                  </a:lnTo>
                  <a:lnTo>
                    <a:pt x="4181" y="8782"/>
                  </a:lnTo>
                  <a:lnTo>
                    <a:pt x="4351" y="8869"/>
                  </a:lnTo>
                  <a:lnTo>
                    <a:pt x="4522" y="8948"/>
                  </a:lnTo>
                  <a:lnTo>
                    <a:pt x="4700" y="9031"/>
                  </a:lnTo>
                  <a:lnTo>
                    <a:pt x="4878" y="9109"/>
                  </a:lnTo>
                  <a:lnTo>
                    <a:pt x="5063" y="9182"/>
                  </a:lnTo>
                  <a:lnTo>
                    <a:pt x="5248" y="9260"/>
                  </a:lnTo>
                  <a:lnTo>
                    <a:pt x="5426" y="9329"/>
                  </a:lnTo>
                  <a:lnTo>
                    <a:pt x="5619" y="9397"/>
                  </a:lnTo>
                  <a:lnTo>
                    <a:pt x="5812" y="9466"/>
                  </a:lnTo>
                  <a:lnTo>
                    <a:pt x="6004" y="9530"/>
                  </a:lnTo>
                  <a:lnTo>
                    <a:pt x="6205" y="9595"/>
                  </a:lnTo>
                  <a:lnTo>
                    <a:pt x="6397" y="9655"/>
                  </a:lnTo>
                  <a:lnTo>
                    <a:pt x="6605" y="9710"/>
                  </a:lnTo>
                  <a:lnTo>
                    <a:pt x="6805" y="9765"/>
                  </a:lnTo>
                  <a:lnTo>
                    <a:pt x="7005" y="9820"/>
                  </a:lnTo>
                  <a:lnTo>
                    <a:pt x="7213" y="9871"/>
                  </a:lnTo>
                  <a:lnTo>
                    <a:pt x="7420" y="9916"/>
                  </a:lnTo>
                  <a:lnTo>
                    <a:pt x="7628" y="9962"/>
                  </a:lnTo>
                  <a:lnTo>
                    <a:pt x="7835" y="10008"/>
                  </a:lnTo>
                  <a:cubicBezTo>
                    <a:pt x="7736" y="9258"/>
                    <a:pt x="7638" y="8509"/>
                    <a:pt x="7539" y="7759"/>
                  </a:cubicBezTo>
                  <a:lnTo>
                    <a:pt x="10000" y="6144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/>
            </a:p>
          </p:txBody>
        </p:sp>
        <p:sp>
          <p:nvSpPr>
            <p:cNvPr id="66" name="Freeform 6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-53453586" y="-1173127"/>
              <a:ext cx="60999224" cy="43890433"/>
            </a:xfrm>
            <a:custGeom>
              <a:avLst/>
              <a:gdLst>
                <a:gd name="T0" fmla="*/ 2147483647 w 5608"/>
                <a:gd name="T1" fmla="*/ 2147483647 h 4036"/>
                <a:gd name="T2" fmla="*/ 2147483647 w 5608"/>
                <a:gd name="T3" fmla="*/ 2147483647 h 4036"/>
                <a:gd name="T4" fmla="*/ 2147483647 w 5608"/>
                <a:gd name="T5" fmla="*/ 2147483647 h 4036"/>
                <a:gd name="T6" fmla="*/ 2147483647 w 5608"/>
                <a:gd name="T7" fmla="*/ 2147483647 h 4036"/>
                <a:gd name="T8" fmla="*/ 2147483647 w 5608"/>
                <a:gd name="T9" fmla="*/ 2147483647 h 4036"/>
                <a:gd name="T10" fmla="*/ 2147483647 w 5608"/>
                <a:gd name="T11" fmla="*/ 2147483647 h 4036"/>
                <a:gd name="T12" fmla="*/ 2147483647 w 5608"/>
                <a:gd name="T13" fmla="*/ 2147483647 h 4036"/>
                <a:gd name="T14" fmla="*/ 2147483647 w 5608"/>
                <a:gd name="T15" fmla="*/ 2147483647 h 4036"/>
                <a:gd name="T16" fmla="*/ 2147483647 w 5608"/>
                <a:gd name="T17" fmla="*/ 2147483647 h 4036"/>
                <a:gd name="T18" fmla="*/ 2147483647 w 5608"/>
                <a:gd name="T19" fmla="*/ 2147483647 h 4036"/>
                <a:gd name="T20" fmla="*/ 2147483647 w 5608"/>
                <a:gd name="T21" fmla="*/ 2147483647 h 4036"/>
                <a:gd name="T22" fmla="*/ 2147483647 w 5608"/>
                <a:gd name="T23" fmla="*/ 2147483647 h 4036"/>
                <a:gd name="T24" fmla="*/ 2147483647 w 5608"/>
                <a:gd name="T25" fmla="*/ 2147483647 h 4036"/>
                <a:gd name="T26" fmla="*/ 2147483647 w 5608"/>
                <a:gd name="T27" fmla="*/ 2147483647 h 4036"/>
                <a:gd name="T28" fmla="*/ 2147483647 w 5608"/>
                <a:gd name="T29" fmla="*/ 2147483647 h 4036"/>
                <a:gd name="T30" fmla="*/ 2147483647 w 5608"/>
                <a:gd name="T31" fmla="*/ 2147483647 h 4036"/>
                <a:gd name="T32" fmla="*/ 2147483647 w 5608"/>
                <a:gd name="T33" fmla="*/ 2147483647 h 4036"/>
                <a:gd name="T34" fmla="*/ 2147483647 w 5608"/>
                <a:gd name="T35" fmla="*/ 2147483647 h 4036"/>
                <a:gd name="T36" fmla="*/ 2147483647 w 5608"/>
                <a:gd name="T37" fmla="*/ 2147483647 h 4036"/>
                <a:gd name="T38" fmla="*/ 2147483647 w 5608"/>
                <a:gd name="T39" fmla="*/ 2147483647 h 4036"/>
                <a:gd name="T40" fmla="*/ 2147483647 w 5608"/>
                <a:gd name="T41" fmla="*/ 2147483647 h 4036"/>
                <a:gd name="T42" fmla="*/ 2147483647 w 5608"/>
                <a:gd name="T43" fmla="*/ 2147483647 h 4036"/>
                <a:gd name="T44" fmla="*/ 2147483647 w 5608"/>
                <a:gd name="T45" fmla="*/ 2147483647 h 4036"/>
                <a:gd name="T46" fmla="*/ 2147483647 w 5608"/>
                <a:gd name="T47" fmla="*/ 2147483647 h 4036"/>
                <a:gd name="T48" fmla="*/ 2147483647 w 5608"/>
                <a:gd name="T49" fmla="*/ 2147483647 h 4036"/>
                <a:gd name="T50" fmla="*/ 2147483647 w 5608"/>
                <a:gd name="T51" fmla="*/ 2147483647 h 4036"/>
                <a:gd name="T52" fmla="*/ 2147483647 w 5608"/>
                <a:gd name="T53" fmla="*/ 2147483647 h 4036"/>
                <a:gd name="T54" fmla="*/ 2147483647 w 5608"/>
                <a:gd name="T55" fmla="*/ 2147483647 h 4036"/>
                <a:gd name="T56" fmla="*/ 2147483647 w 5608"/>
                <a:gd name="T57" fmla="*/ 2147483647 h 4036"/>
                <a:gd name="T58" fmla="*/ 2147483647 w 5608"/>
                <a:gd name="T59" fmla="*/ 2147483647 h 4036"/>
                <a:gd name="T60" fmla="*/ 2147483647 w 5608"/>
                <a:gd name="T61" fmla="*/ 2147483647 h 4036"/>
                <a:gd name="T62" fmla="*/ 2147483647 w 5608"/>
                <a:gd name="T63" fmla="*/ 2147483647 h 4036"/>
                <a:gd name="T64" fmla="*/ 2147483647 w 5608"/>
                <a:gd name="T65" fmla="*/ 2147483647 h 4036"/>
                <a:gd name="T66" fmla="*/ 2147483647 w 5608"/>
                <a:gd name="T67" fmla="*/ 2147483647 h 4036"/>
                <a:gd name="T68" fmla="*/ 2147483647 w 5608"/>
                <a:gd name="T69" fmla="*/ 2147483647 h 4036"/>
                <a:gd name="T70" fmla="*/ 2147483647 w 5608"/>
                <a:gd name="T71" fmla="*/ 2147483647 h 4036"/>
                <a:gd name="T72" fmla="*/ 2147483647 w 5608"/>
                <a:gd name="T73" fmla="*/ 2147483647 h 4036"/>
                <a:gd name="T74" fmla="*/ 2147483647 w 5608"/>
                <a:gd name="T75" fmla="*/ 2147483647 h 4036"/>
                <a:gd name="T76" fmla="*/ 2147483647 w 5608"/>
                <a:gd name="T77" fmla="*/ 2147483647 h 4036"/>
                <a:gd name="T78" fmla="*/ 2147483647 w 5608"/>
                <a:gd name="T79" fmla="*/ 2147483647 h 4036"/>
                <a:gd name="T80" fmla="*/ 2147483647 w 5608"/>
                <a:gd name="T81" fmla="*/ 2147483647 h 4036"/>
                <a:gd name="T82" fmla="*/ 2147483647 w 5608"/>
                <a:gd name="T83" fmla="*/ 2147483647 h 4036"/>
                <a:gd name="T84" fmla="*/ 2147483647 w 5608"/>
                <a:gd name="T85" fmla="*/ 2147483647 h 4036"/>
                <a:gd name="T86" fmla="*/ 2147483647 w 5608"/>
                <a:gd name="T87" fmla="*/ 2147483647 h 4036"/>
                <a:gd name="T88" fmla="*/ 2147483647 w 5608"/>
                <a:gd name="T89" fmla="*/ 2147483647 h 4036"/>
                <a:gd name="T90" fmla="*/ 2147483647 w 5608"/>
                <a:gd name="T91" fmla="*/ 2147483647 h 4036"/>
                <a:gd name="T92" fmla="*/ 2147483647 w 5608"/>
                <a:gd name="T93" fmla="*/ 2147483647 h 4036"/>
                <a:gd name="T94" fmla="*/ 2147483647 w 5608"/>
                <a:gd name="T95" fmla="*/ 2147483647 h 4036"/>
                <a:gd name="T96" fmla="*/ 2147483647 w 5608"/>
                <a:gd name="T97" fmla="*/ 2147483647 h 4036"/>
                <a:gd name="T98" fmla="*/ 2147483647 w 5608"/>
                <a:gd name="T99" fmla="*/ 2147483647 h 4036"/>
                <a:gd name="T100" fmla="*/ 2147483647 w 5608"/>
                <a:gd name="T101" fmla="*/ 2147483647 h 4036"/>
                <a:gd name="T102" fmla="*/ 2147483647 w 5608"/>
                <a:gd name="T103" fmla="*/ 2147483647 h 4036"/>
                <a:gd name="T104" fmla="*/ 2147483647 w 5608"/>
                <a:gd name="T105" fmla="*/ 2147483647 h 40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608"/>
                <a:gd name="T160" fmla="*/ 0 h 4036"/>
                <a:gd name="T161" fmla="*/ 5608 w 5608"/>
                <a:gd name="T162" fmla="*/ 4036 h 4036"/>
                <a:gd name="connsiteX0" fmla="*/ 5615 w 9995"/>
                <a:gd name="connsiteY0" fmla="*/ 0 h 10000"/>
                <a:gd name="connsiteX1" fmla="*/ 5615 w 9995"/>
                <a:gd name="connsiteY1" fmla="*/ 0 h 10000"/>
                <a:gd name="connsiteX2" fmla="*/ 5606 w 9995"/>
                <a:gd name="connsiteY2" fmla="*/ 99 h 10000"/>
                <a:gd name="connsiteX3" fmla="*/ 5592 w 9995"/>
                <a:gd name="connsiteY3" fmla="*/ 201 h 10000"/>
                <a:gd name="connsiteX4" fmla="*/ 5580 w 9995"/>
                <a:gd name="connsiteY4" fmla="*/ 300 h 10000"/>
                <a:gd name="connsiteX5" fmla="*/ 5565 w 9995"/>
                <a:gd name="connsiteY5" fmla="*/ 394 h 10000"/>
                <a:gd name="connsiteX6" fmla="*/ 5547 w 9995"/>
                <a:gd name="connsiteY6" fmla="*/ 491 h 10000"/>
                <a:gd name="connsiteX7" fmla="*/ 5528 w 9995"/>
                <a:gd name="connsiteY7" fmla="*/ 587 h 10000"/>
                <a:gd name="connsiteX8" fmla="*/ 5508 w 9995"/>
                <a:gd name="connsiteY8" fmla="*/ 684 h 10000"/>
                <a:gd name="connsiteX9" fmla="*/ 5487 w 9995"/>
                <a:gd name="connsiteY9" fmla="*/ 778 h 10000"/>
                <a:gd name="connsiteX10" fmla="*/ 5465 w 9995"/>
                <a:gd name="connsiteY10" fmla="*/ 870 h 10000"/>
                <a:gd name="connsiteX11" fmla="*/ 5439 w 9995"/>
                <a:gd name="connsiteY11" fmla="*/ 961 h 10000"/>
                <a:gd name="connsiteX12" fmla="*/ 5415 w 9995"/>
                <a:gd name="connsiteY12" fmla="*/ 1053 h 10000"/>
                <a:gd name="connsiteX13" fmla="*/ 5387 w 9995"/>
                <a:gd name="connsiteY13" fmla="*/ 1145 h 10000"/>
                <a:gd name="connsiteX14" fmla="*/ 5358 w 9995"/>
                <a:gd name="connsiteY14" fmla="*/ 1231 h 10000"/>
                <a:gd name="connsiteX15" fmla="*/ 5328 w 9995"/>
                <a:gd name="connsiteY15" fmla="*/ 1318 h 10000"/>
                <a:gd name="connsiteX16" fmla="*/ 5298 w 9995"/>
                <a:gd name="connsiteY16" fmla="*/ 1405 h 10000"/>
                <a:gd name="connsiteX17" fmla="*/ 5266 w 9995"/>
                <a:gd name="connsiteY17" fmla="*/ 1494 h 10000"/>
                <a:gd name="connsiteX18" fmla="*/ 5232 w 9995"/>
                <a:gd name="connsiteY18" fmla="*/ 1578 h 10000"/>
                <a:gd name="connsiteX19" fmla="*/ 5196 w 9995"/>
                <a:gd name="connsiteY19" fmla="*/ 1663 h 10000"/>
                <a:gd name="connsiteX20" fmla="*/ 5160 w 9995"/>
                <a:gd name="connsiteY20" fmla="*/ 1742 h 10000"/>
                <a:gd name="connsiteX21" fmla="*/ 5121 w 9995"/>
                <a:gd name="connsiteY21" fmla="*/ 1824 h 10000"/>
                <a:gd name="connsiteX22" fmla="*/ 5082 w 9995"/>
                <a:gd name="connsiteY22" fmla="*/ 1903 h 10000"/>
                <a:gd name="connsiteX23" fmla="*/ 5043 w 9995"/>
                <a:gd name="connsiteY23" fmla="*/ 1985 h 10000"/>
                <a:gd name="connsiteX24" fmla="*/ 5002 w 9995"/>
                <a:gd name="connsiteY24" fmla="*/ 2059 h 10000"/>
                <a:gd name="connsiteX25" fmla="*/ 4959 w 9995"/>
                <a:gd name="connsiteY25" fmla="*/ 2133 h 10000"/>
                <a:gd name="connsiteX26" fmla="*/ 4914 w 9995"/>
                <a:gd name="connsiteY26" fmla="*/ 2210 h 10000"/>
                <a:gd name="connsiteX27" fmla="*/ 4870 w 9995"/>
                <a:gd name="connsiteY27" fmla="*/ 2282 h 10000"/>
                <a:gd name="connsiteX28" fmla="*/ 4823 w 9995"/>
                <a:gd name="connsiteY28" fmla="*/ 2354 h 10000"/>
                <a:gd name="connsiteX29" fmla="*/ 4777 w 9995"/>
                <a:gd name="connsiteY29" fmla="*/ 2426 h 10000"/>
                <a:gd name="connsiteX30" fmla="*/ 4729 w 9995"/>
                <a:gd name="connsiteY30" fmla="*/ 2495 h 10000"/>
                <a:gd name="connsiteX31" fmla="*/ 4679 w 9995"/>
                <a:gd name="connsiteY31" fmla="*/ 2562 h 10000"/>
                <a:gd name="connsiteX32" fmla="*/ 4629 w 9995"/>
                <a:gd name="connsiteY32" fmla="*/ 2626 h 10000"/>
                <a:gd name="connsiteX33" fmla="*/ 4577 w 9995"/>
                <a:gd name="connsiteY33" fmla="*/ 2691 h 10000"/>
                <a:gd name="connsiteX34" fmla="*/ 4526 w 9995"/>
                <a:gd name="connsiteY34" fmla="*/ 2753 h 10000"/>
                <a:gd name="connsiteX35" fmla="*/ 4470 w 9995"/>
                <a:gd name="connsiteY35" fmla="*/ 2817 h 10000"/>
                <a:gd name="connsiteX36" fmla="*/ 4417 w 9995"/>
                <a:gd name="connsiteY36" fmla="*/ 2874 h 10000"/>
                <a:gd name="connsiteX37" fmla="*/ 4362 w 9995"/>
                <a:gd name="connsiteY37" fmla="*/ 2934 h 10000"/>
                <a:gd name="connsiteX38" fmla="*/ 4305 w 9995"/>
                <a:gd name="connsiteY38" fmla="*/ 2988 h 10000"/>
                <a:gd name="connsiteX39" fmla="*/ 4248 w 9995"/>
                <a:gd name="connsiteY39" fmla="*/ 3043 h 10000"/>
                <a:gd name="connsiteX40" fmla="*/ 4190 w 9995"/>
                <a:gd name="connsiteY40" fmla="*/ 3097 h 10000"/>
                <a:gd name="connsiteX41" fmla="*/ 4132 w 9995"/>
                <a:gd name="connsiteY41" fmla="*/ 3149 h 10000"/>
                <a:gd name="connsiteX42" fmla="*/ 4071 w 9995"/>
                <a:gd name="connsiteY42" fmla="*/ 3196 h 10000"/>
                <a:gd name="connsiteX43" fmla="*/ 4010 w 9995"/>
                <a:gd name="connsiteY43" fmla="*/ 3243 h 10000"/>
                <a:gd name="connsiteX44" fmla="*/ 3950 w 9995"/>
                <a:gd name="connsiteY44" fmla="*/ 3290 h 10000"/>
                <a:gd name="connsiteX45" fmla="*/ 3887 w 9995"/>
                <a:gd name="connsiteY45" fmla="*/ 3335 h 10000"/>
                <a:gd name="connsiteX46" fmla="*/ 3823 w 9995"/>
                <a:gd name="connsiteY46" fmla="*/ 3377 h 10000"/>
                <a:gd name="connsiteX47" fmla="*/ 3759 w 9995"/>
                <a:gd name="connsiteY47" fmla="*/ 3417 h 10000"/>
                <a:gd name="connsiteX48" fmla="*/ 3695 w 9995"/>
                <a:gd name="connsiteY48" fmla="*/ 3454 h 10000"/>
                <a:gd name="connsiteX49" fmla="*/ 3629 w 9995"/>
                <a:gd name="connsiteY49" fmla="*/ 3491 h 10000"/>
                <a:gd name="connsiteX50" fmla="*/ 3565 w 9995"/>
                <a:gd name="connsiteY50" fmla="*/ 3523 h 10000"/>
                <a:gd name="connsiteX51" fmla="*/ 3497 w 9995"/>
                <a:gd name="connsiteY51" fmla="*/ 3558 h 10000"/>
                <a:gd name="connsiteX52" fmla="*/ 3429 w 9995"/>
                <a:gd name="connsiteY52" fmla="*/ 3588 h 10000"/>
                <a:gd name="connsiteX53" fmla="*/ 3361 w 9995"/>
                <a:gd name="connsiteY53" fmla="*/ 3615 h 10000"/>
                <a:gd name="connsiteX54" fmla="*/ 3292 w 9995"/>
                <a:gd name="connsiteY54" fmla="*/ 3642 h 10000"/>
                <a:gd name="connsiteX55" fmla="*/ 3222 w 9995"/>
                <a:gd name="connsiteY55" fmla="*/ 3665 h 10000"/>
                <a:gd name="connsiteX56" fmla="*/ 3153 w 9995"/>
                <a:gd name="connsiteY56" fmla="*/ 3687 h 10000"/>
                <a:gd name="connsiteX57" fmla="*/ 3081 w 9995"/>
                <a:gd name="connsiteY57" fmla="*/ 3707 h 10000"/>
                <a:gd name="connsiteX58" fmla="*/ 3012 w 9995"/>
                <a:gd name="connsiteY58" fmla="*/ 3724 h 10000"/>
                <a:gd name="connsiteX59" fmla="*/ 2940 w 9995"/>
                <a:gd name="connsiteY59" fmla="*/ 3739 h 10000"/>
                <a:gd name="connsiteX60" fmla="*/ 2867 w 9995"/>
                <a:gd name="connsiteY60" fmla="*/ 3754 h 10000"/>
                <a:gd name="connsiteX61" fmla="*/ 2796 w 9995"/>
                <a:gd name="connsiteY61" fmla="*/ 3761 h 10000"/>
                <a:gd name="connsiteX62" fmla="*/ 2721 w 9995"/>
                <a:gd name="connsiteY62" fmla="*/ 3771 h 10000"/>
                <a:gd name="connsiteX63" fmla="*/ 2648 w 9995"/>
                <a:gd name="connsiteY63" fmla="*/ 3776 h 10000"/>
                <a:gd name="connsiteX64" fmla="*/ 2575 w 9995"/>
                <a:gd name="connsiteY64" fmla="*/ 3781 h 10000"/>
                <a:gd name="connsiteX65" fmla="*/ 2498 w 9995"/>
                <a:gd name="connsiteY65" fmla="*/ 3781 h 10000"/>
                <a:gd name="connsiteX66" fmla="*/ 2393 w 9995"/>
                <a:gd name="connsiteY66" fmla="*/ 3781 h 10000"/>
                <a:gd name="connsiteX67" fmla="*/ 2284 w 9995"/>
                <a:gd name="connsiteY67" fmla="*/ 3771 h 10000"/>
                <a:gd name="connsiteX68" fmla="*/ 2179 w 9995"/>
                <a:gd name="connsiteY68" fmla="*/ 3759 h 10000"/>
                <a:gd name="connsiteX69" fmla="*/ 2074 w 9995"/>
                <a:gd name="connsiteY69" fmla="*/ 3741 h 10000"/>
                <a:gd name="connsiteX70" fmla="*/ 1970 w 9995"/>
                <a:gd name="connsiteY70" fmla="*/ 3719 h 10000"/>
                <a:gd name="connsiteX71" fmla="*/ 1867 w 9995"/>
                <a:gd name="connsiteY71" fmla="*/ 3692 h 10000"/>
                <a:gd name="connsiteX72" fmla="*/ 1765 w 9995"/>
                <a:gd name="connsiteY72" fmla="*/ 3662 h 10000"/>
                <a:gd name="connsiteX73" fmla="*/ 1665 w 9995"/>
                <a:gd name="connsiteY73" fmla="*/ 3627 h 10000"/>
                <a:gd name="connsiteX74" fmla="*/ 0 w 9995"/>
                <a:gd name="connsiteY74" fmla="*/ 6085 h 10000"/>
                <a:gd name="connsiteX75" fmla="*/ 209 w 9995"/>
                <a:gd name="connsiteY75" fmla="*/ 9512 h 10000"/>
                <a:gd name="connsiteX76" fmla="*/ 344 w 9995"/>
                <a:gd name="connsiteY76" fmla="*/ 9569 h 10000"/>
                <a:gd name="connsiteX77" fmla="*/ 481 w 9995"/>
                <a:gd name="connsiteY77" fmla="*/ 9623 h 10000"/>
                <a:gd name="connsiteX78" fmla="*/ 621 w 9995"/>
                <a:gd name="connsiteY78" fmla="*/ 9673 h 10000"/>
                <a:gd name="connsiteX79" fmla="*/ 758 w 9995"/>
                <a:gd name="connsiteY79" fmla="*/ 9720 h 10000"/>
                <a:gd name="connsiteX80" fmla="*/ 899 w 9995"/>
                <a:gd name="connsiteY80" fmla="*/ 9765 h 10000"/>
                <a:gd name="connsiteX81" fmla="*/ 1040 w 9995"/>
                <a:gd name="connsiteY81" fmla="*/ 9804 h 10000"/>
                <a:gd name="connsiteX82" fmla="*/ 1182 w 9995"/>
                <a:gd name="connsiteY82" fmla="*/ 9839 h 10000"/>
                <a:gd name="connsiteX83" fmla="*/ 1325 w 9995"/>
                <a:gd name="connsiteY83" fmla="*/ 9874 h 10000"/>
                <a:gd name="connsiteX84" fmla="*/ 1471 w 9995"/>
                <a:gd name="connsiteY84" fmla="*/ 9903 h 10000"/>
                <a:gd name="connsiteX85" fmla="*/ 1614 w 9995"/>
                <a:gd name="connsiteY85" fmla="*/ 9926 h 10000"/>
                <a:gd name="connsiteX86" fmla="*/ 1760 w 9995"/>
                <a:gd name="connsiteY86" fmla="*/ 9948 h 10000"/>
                <a:gd name="connsiteX87" fmla="*/ 1906 w 9995"/>
                <a:gd name="connsiteY87" fmla="*/ 9965 h 10000"/>
                <a:gd name="connsiteX88" fmla="*/ 2052 w 9995"/>
                <a:gd name="connsiteY88" fmla="*/ 9980 h 10000"/>
                <a:gd name="connsiteX89" fmla="*/ 2202 w 9995"/>
                <a:gd name="connsiteY89" fmla="*/ 9990 h 10000"/>
                <a:gd name="connsiteX90" fmla="*/ 2350 w 9995"/>
                <a:gd name="connsiteY90" fmla="*/ 9995 h 10000"/>
                <a:gd name="connsiteX91" fmla="*/ 2498 w 9995"/>
                <a:gd name="connsiteY91" fmla="*/ 10000 h 10000"/>
                <a:gd name="connsiteX92" fmla="*/ 2677 w 9995"/>
                <a:gd name="connsiteY92" fmla="*/ 9995 h 10000"/>
                <a:gd name="connsiteX93" fmla="*/ 2850 w 9995"/>
                <a:gd name="connsiteY93" fmla="*/ 9988 h 10000"/>
                <a:gd name="connsiteX94" fmla="*/ 3024 w 9995"/>
                <a:gd name="connsiteY94" fmla="*/ 9975 h 10000"/>
                <a:gd name="connsiteX95" fmla="*/ 3195 w 9995"/>
                <a:gd name="connsiteY95" fmla="*/ 9953 h 10000"/>
                <a:gd name="connsiteX96" fmla="*/ 3368 w 9995"/>
                <a:gd name="connsiteY96" fmla="*/ 9931 h 10000"/>
                <a:gd name="connsiteX97" fmla="*/ 3538 w 9995"/>
                <a:gd name="connsiteY97" fmla="*/ 9898 h 10000"/>
                <a:gd name="connsiteX98" fmla="*/ 3709 w 9995"/>
                <a:gd name="connsiteY98" fmla="*/ 9866 h 10000"/>
                <a:gd name="connsiteX99" fmla="*/ 3877 w 9995"/>
                <a:gd name="connsiteY99" fmla="*/ 9824 h 10000"/>
                <a:gd name="connsiteX100" fmla="*/ 4042 w 9995"/>
                <a:gd name="connsiteY100" fmla="*/ 9779 h 10000"/>
                <a:gd name="connsiteX101" fmla="*/ 4210 w 9995"/>
                <a:gd name="connsiteY101" fmla="*/ 9730 h 10000"/>
                <a:gd name="connsiteX102" fmla="*/ 4372 w 9995"/>
                <a:gd name="connsiteY102" fmla="*/ 9673 h 10000"/>
                <a:gd name="connsiteX103" fmla="*/ 4536 w 9995"/>
                <a:gd name="connsiteY103" fmla="*/ 9616 h 10000"/>
                <a:gd name="connsiteX104" fmla="*/ 4697 w 9995"/>
                <a:gd name="connsiteY104" fmla="*/ 9552 h 10000"/>
                <a:gd name="connsiteX105" fmla="*/ 4857 w 9995"/>
                <a:gd name="connsiteY105" fmla="*/ 9482 h 10000"/>
                <a:gd name="connsiteX106" fmla="*/ 5014 w 9995"/>
                <a:gd name="connsiteY106" fmla="*/ 9405 h 10000"/>
                <a:gd name="connsiteX107" fmla="*/ 5171 w 9995"/>
                <a:gd name="connsiteY107" fmla="*/ 9329 h 10000"/>
                <a:gd name="connsiteX108" fmla="*/ 5326 w 9995"/>
                <a:gd name="connsiteY108" fmla="*/ 9244 h 10000"/>
                <a:gd name="connsiteX109" fmla="*/ 5480 w 9995"/>
                <a:gd name="connsiteY109" fmla="*/ 9158 h 10000"/>
                <a:gd name="connsiteX110" fmla="*/ 5631 w 9995"/>
                <a:gd name="connsiteY110" fmla="*/ 9063 h 10000"/>
                <a:gd name="connsiteX111" fmla="*/ 5781 w 9995"/>
                <a:gd name="connsiteY111" fmla="*/ 8967 h 10000"/>
                <a:gd name="connsiteX112" fmla="*/ 5931 w 9995"/>
                <a:gd name="connsiteY112" fmla="*/ 8865 h 10000"/>
                <a:gd name="connsiteX113" fmla="*/ 6075 w 9995"/>
                <a:gd name="connsiteY113" fmla="*/ 8759 h 10000"/>
                <a:gd name="connsiteX114" fmla="*/ 6221 w 9995"/>
                <a:gd name="connsiteY114" fmla="*/ 8652 h 10000"/>
                <a:gd name="connsiteX115" fmla="*/ 6364 w 9995"/>
                <a:gd name="connsiteY115" fmla="*/ 8536 h 10000"/>
                <a:gd name="connsiteX116" fmla="*/ 6505 w 9995"/>
                <a:gd name="connsiteY116" fmla="*/ 8417 h 10000"/>
                <a:gd name="connsiteX117" fmla="*/ 6642 w 9995"/>
                <a:gd name="connsiteY117" fmla="*/ 8295 h 10000"/>
                <a:gd name="connsiteX118" fmla="*/ 6780 w 9995"/>
                <a:gd name="connsiteY118" fmla="*/ 8169 h 10000"/>
                <a:gd name="connsiteX119" fmla="*/ 6913 w 9995"/>
                <a:gd name="connsiteY119" fmla="*/ 8040 h 10000"/>
                <a:gd name="connsiteX120" fmla="*/ 7045 w 9995"/>
                <a:gd name="connsiteY120" fmla="*/ 7904 h 10000"/>
                <a:gd name="connsiteX121" fmla="*/ 7175 w 9995"/>
                <a:gd name="connsiteY121" fmla="*/ 7768 h 10000"/>
                <a:gd name="connsiteX122" fmla="*/ 7304 w 9995"/>
                <a:gd name="connsiteY122" fmla="*/ 7624 h 10000"/>
                <a:gd name="connsiteX123" fmla="*/ 7429 w 9995"/>
                <a:gd name="connsiteY123" fmla="*/ 7480 h 10000"/>
                <a:gd name="connsiteX124" fmla="*/ 7552 w 9995"/>
                <a:gd name="connsiteY124" fmla="*/ 7329 h 10000"/>
                <a:gd name="connsiteX125" fmla="*/ 7673 w 9995"/>
                <a:gd name="connsiteY125" fmla="*/ 7178 h 10000"/>
                <a:gd name="connsiteX126" fmla="*/ 7792 w 9995"/>
                <a:gd name="connsiteY126" fmla="*/ 7024 h 10000"/>
                <a:gd name="connsiteX127" fmla="*/ 7907 w 9995"/>
                <a:gd name="connsiteY127" fmla="*/ 6861 h 10000"/>
                <a:gd name="connsiteX128" fmla="*/ 8022 w 9995"/>
                <a:gd name="connsiteY128" fmla="*/ 6697 h 10000"/>
                <a:gd name="connsiteX129" fmla="*/ 8133 w 9995"/>
                <a:gd name="connsiteY129" fmla="*/ 6534 h 10000"/>
                <a:gd name="connsiteX130" fmla="*/ 8240 w 9995"/>
                <a:gd name="connsiteY130" fmla="*/ 6365 h 10000"/>
                <a:gd name="connsiteX131" fmla="*/ 8347 w 9995"/>
                <a:gd name="connsiteY131" fmla="*/ 6189 h 10000"/>
                <a:gd name="connsiteX132" fmla="*/ 8450 w 9995"/>
                <a:gd name="connsiteY132" fmla="*/ 6016 h 10000"/>
                <a:gd name="connsiteX133" fmla="*/ 8552 w 9995"/>
                <a:gd name="connsiteY133" fmla="*/ 5835 h 10000"/>
                <a:gd name="connsiteX134" fmla="*/ 8650 w 9995"/>
                <a:gd name="connsiteY134" fmla="*/ 5652 h 10000"/>
                <a:gd name="connsiteX135" fmla="*/ 8745 w 9995"/>
                <a:gd name="connsiteY135" fmla="*/ 5468 h 10000"/>
                <a:gd name="connsiteX136" fmla="*/ 8837 w 9995"/>
                <a:gd name="connsiteY136" fmla="*/ 5278 h 10000"/>
                <a:gd name="connsiteX137" fmla="*/ 8927 w 9995"/>
                <a:gd name="connsiteY137" fmla="*/ 5089 h 10000"/>
                <a:gd name="connsiteX138" fmla="*/ 9014 w 9995"/>
                <a:gd name="connsiteY138" fmla="*/ 4893 h 10000"/>
                <a:gd name="connsiteX139" fmla="*/ 9098 w 9995"/>
                <a:gd name="connsiteY139" fmla="*/ 4698 h 10000"/>
                <a:gd name="connsiteX140" fmla="*/ 9178 w 9995"/>
                <a:gd name="connsiteY140" fmla="*/ 4500 h 10000"/>
                <a:gd name="connsiteX141" fmla="*/ 9256 w 9995"/>
                <a:gd name="connsiteY141" fmla="*/ 4294 h 10000"/>
                <a:gd name="connsiteX142" fmla="*/ 9330 w 9995"/>
                <a:gd name="connsiteY142" fmla="*/ 4091 h 10000"/>
                <a:gd name="connsiteX143" fmla="*/ 9401 w 9995"/>
                <a:gd name="connsiteY143" fmla="*/ 3885 h 10000"/>
                <a:gd name="connsiteX144" fmla="*/ 9470 w 9995"/>
                <a:gd name="connsiteY144" fmla="*/ 3674 h 10000"/>
                <a:gd name="connsiteX145" fmla="*/ 9535 w 9995"/>
                <a:gd name="connsiteY145" fmla="*/ 3464 h 10000"/>
                <a:gd name="connsiteX146" fmla="*/ 9599 w 9995"/>
                <a:gd name="connsiteY146" fmla="*/ 3248 h 10000"/>
                <a:gd name="connsiteX147" fmla="*/ 9656 w 9995"/>
                <a:gd name="connsiteY147" fmla="*/ 3030 h 10000"/>
                <a:gd name="connsiteX148" fmla="*/ 9711 w 9995"/>
                <a:gd name="connsiteY148" fmla="*/ 2815 h 10000"/>
                <a:gd name="connsiteX149" fmla="*/ 9763 w 9995"/>
                <a:gd name="connsiteY149" fmla="*/ 2592 h 10000"/>
                <a:gd name="connsiteX150" fmla="*/ 9813 w 9995"/>
                <a:gd name="connsiteY150" fmla="*/ 2369 h 10000"/>
                <a:gd name="connsiteX151" fmla="*/ 9856 w 9995"/>
                <a:gd name="connsiteY151" fmla="*/ 2143 h 10000"/>
                <a:gd name="connsiteX152" fmla="*/ 9898 w 9995"/>
                <a:gd name="connsiteY152" fmla="*/ 1918 h 10000"/>
                <a:gd name="connsiteX153" fmla="*/ 9936 w 9995"/>
                <a:gd name="connsiteY153" fmla="*/ 1690 h 10000"/>
                <a:gd name="connsiteX154" fmla="*/ 9970 w 9995"/>
                <a:gd name="connsiteY154" fmla="*/ 1457 h 10000"/>
                <a:gd name="connsiteX155" fmla="*/ 9995 w 9995"/>
                <a:gd name="connsiteY155" fmla="*/ 1217 h 10000"/>
                <a:gd name="connsiteX156" fmla="*/ 7611 w 9995"/>
                <a:gd name="connsiteY156" fmla="*/ 1876 h 10000"/>
                <a:gd name="connsiteX157" fmla="*/ 5615 w 9995"/>
                <a:gd name="connsiteY157" fmla="*/ 0 h 10000"/>
                <a:gd name="connsiteX0" fmla="*/ 5618 w 10002"/>
                <a:gd name="connsiteY0" fmla="*/ 0 h 10000"/>
                <a:gd name="connsiteX1" fmla="*/ 5618 w 10002"/>
                <a:gd name="connsiteY1" fmla="*/ 0 h 10000"/>
                <a:gd name="connsiteX2" fmla="*/ 5609 w 10002"/>
                <a:gd name="connsiteY2" fmla="*/ 99 h 10000"/>
                <a:gd name="connsiteX3" fmla="*/ 5595 w 10002"/>
                <a:gd name="connsiteY3" fmla="*/ 201 h 10000"/>
                <a:gd name="connsiteX4" fmla="*/ 5583 w 10002"/>
                <a:gd name="connsiteY4" fmla="*/ 300 h 10000"/>
                <a:gd name="connsiteX5" fmla="*/ 5568 w 10002"/>
                <a:gd name="connsiteY5" fmla="*/ 394 h 10000"/>
                <a:gd name="connsiteX6" fmla="*/ 5550 w 10002"/>
                <a:gd name="connsiteY6" fmla="*/ 491 h 10000"/>
                <a:gd name="connsiteX7" fmla="*/ 5531 w 10002"/>
                <a:gd name="connsiteY7" fmla="*/ 587 h 10000"/>
                <a:gd name="connsiteX8" fmla="*/ 5511 w 10002"/>
                <a:gd name="connsiteY8" fmla="*/ 684 h 10000"/>
                <a:gd name="connsiteX9" fmla="*/ 5490 w 10002"/>
                <a:gd name="connsiteY9" fmla="*/ 778 h 10000"/>
                <a:gd name="connsiteX10" fmla="*/ 5468 w 10002"/>
                <a:gd name="connsiteY10" fmla="*/ 870 h 10000"/>
                <a:gd name="connsiteX11" fmla="*/ 5442 w 10002"/>
                <a:gd name="connsiteY11" fmla="*/ 961 h 10000"/>
                <a:gd name="connsiteX12" fmla="*/ 5418 w 10002"/>
                <a:gd name="connsiteY12" fmla="*/ 1053 h 10000"/>
                <a:gd name="connsiteX13" fmla="*/ 5390 w 10002"/>
                <a:gd name="connsiteY13" fmla="*/ 1145 h 10000"/>
                <a:gd name="connsiteX14" fmla="*/ 5361 w 10002"/>
                <a:gd name="connsiteY14" fmla="*/ 1231 h 10000"/>
                <a:gd name="connsiteX15" fmla="*/ 5331 w 10002"/>
                <a:gd name="connsiteY15" fmla="*/ 1318 h 10000"/>
                <a:gd name="connsiteX16" fmla="*/ 5301 w 10002"/>
                <a:gd name="connsiteY16" fmla="*/ 1405 h 10000"/>
                <a:gd name="connsiteX17" fmla="*/ 5269 w 10002"/>
                <a:gd name="connsiteY17" fmla="*/ 1494 h 10000"/>
                <a:gd name="connsiteX18" fmla="*/ 5235 w 10002"/>
                <a:gd name="connsiteY18" fmla="*/ 1578 h 10000"/>
                <a:gd name="connsiteX19" fmla="*/ 5199 w 10002"/>
                <a:gd name="connsiteY19" fmla="*/ 1663 h 10000"/>
                <a:gd name="connsiteX20" fmla="*/ 5163 w 10002"/>
                <a:gd name="connsiteY20" fmla="*/ 1742 h 10000"/>
                <a:gd name="connsiteX21" fmla="*/ 5124 w 10002"/>
                <a:gd name="connsiteY21" fmla="*/ 1824 h 10000"/>
                <a:gd name="connsiteX22" fmla="*/ 5085 w 10002"/>
                <a:gd name="connsiteY22" fmla="*/ 1903 h 10000"/>
                <a:gd name="connsiteX23" fmla="*/ 5046 w 10002"/>
                <a:gd name="connsiteY23" fmla="*/ 1985 h 10000"/>
                <a:gd name="connsiteX24" fmla="*/ 5005 w 10002"/>
                <a:gd name="connsiteY24" fmla="*/ 2059 h 10000"/>
                <a:gd name="connsiteX25" fmla="*/ 4961 w 10002"/>
                <a:gd name="connsiteY25" fmla="*/ 2133 h 10000"/>
                <a:gd name="connsiteX26" fmla="*/ 4916 w 10002"/>
                <a:gd name="connsiteY26" fmla="*/ 2210 h 10000"/>
                <a:gd name="connsiteX27" fmla="*/ 4872 w 10002"/>
                <a:gd name="connsiteY27" fmla="*/ 2282 h 10000"/>
                <a:gd name="connsiteX28" fmla="*/ 4825 w 10002"/>
                <a:gd name="connsiteY28" fmla="*/ 2354 h 10000"/>
                <a:gd name="connsiteX29" fmla="*/ 4779 w 10002"/>
                <a:gd name="connsiteY29" fmla="*/ 2426 h 10000"/>
                <a:gd name="connsiteX30" fmla="*/ 4731 w 10002"/>
                <a:gd name="connsiteY30" fmla="*/ 2495 h 10000"/>
                <a:gd name="connsiteX31" fmla="*/ 4681 w 10002"/>
                <a:gd name="connsiteY31" fmla="*/ 2562 h 10000"/>
                <a:gd name="connsiteX32" fmla="*/ 4631 w 10002"/>
                <a:gd name="connsiteY32" fmla="*/ 2626 h 10000"/>
                <a:gd name="connsiteX33" fmla="*/ 4579 w 10002"/>
                <a:gd name="connsiteY33" fmla="*/ 2691 h 10000"/>
                <a:gd name="connsiteX34" fmla="*/ 4528 w 10002"/>
                <a:gd name="connsiteY34" fmla="*/ 2753 h 10000"/>
                <a:gd name="connsiteX35" fmla="*/ 4472 w 10002"/>
                <a:gd name="connsiteY35" fmla="*/ 2817 h 10000"/>
                <a:gd name="connsiteX36" fmla="*/ 4419 w 10002"/>
                <a:gd name="connsiteY36" fmla="*/ 2874 h 10000"/>
                <a:gd name="connsiteX37" fmla="*/ 4364 w 10002"/>
                <a:gd name="connsiteY37" fmla="*/ 2934 h 10000"/>
                <a:gd name="connsiteX38" fmla="*/ 4307 w 10002"/>
                <a:gd name="connsiteY38" fmla="*/ 2988 h 10000"/>
                <a:gd name="connsiteX39" fmla="*/ 4250 w 10002"/>
                <a:gd name="connsiteY39" fmla="*/ 3043 h 10000"/>
                <a:gd name="connsiteX40" fmla="*/ 4192 w 10002"/>
                <a:gd name="connsiteY40" fmla="*/ 3097 h 10000"/>
                <a:gd name="connsiteX41" fmla="*/ 4134 w 10002"/>
                <a:gd name="connsiteY41" fmla="*/ 3149 h 10000"/>
                <a:gd name="connsiteX42" fmla="*/ 4073 w 10002"/>
                <a:gd name="connsiteY42" fmla="*/ 3196 h 10000"/>
                <a:gd name="connsiteX43" fmla="*/ 4012 w 10002"/>
                <a:gd name="connsiteY43" fmla="*/ 3243 h 10000"/>
                <a:gd name="connsiteX44" fmla="*/ 3952 w 10002"/>
                <a:gd name="connsiteY44" fmla="*/ 3290 h 10000"/>
                <a:gd name="connsiteX45" fmla="*/ 3889 w 10002"/>
                <a:gd name="connsiteY45" fmla="*/ 3335 h 10000"/>
                <a:gd name="connsiteX46" fmla="*/ 3825 w 10002"/>
                <a:gd name="connsiteY46" fmla="*/ 3377 h 10000"/>
                <a:gd name="connsiteX47" fmla="*/ 3761 w 10002"/>
                <a:gd name="connsiteY47" fmla="*/ 3417 h 10000"/>
                <a:gd name="connsiteX48" fmla="*/ 3697 w 10002"/>
                <a:gd name="connsiteY48" fmla="*/ 3454 h 10000"/>
                <a:gd name="connsiteX49" fmla="*/ 3631 w 10002"/>
                <a:gd name="connsiteY49" fmla="*/ 3491 h 10000"/>
                <a:gd name="connsiteX50" fmla="*/ 3567 w 10002"/>
                <a:gd name="connsiteY50" fmla="*/ 3523 h 10000"/>
                <a:gd name="connsiteX51" fmla="*/ 3499 w 10002"/>
                <a:gd name="connsiteY51" fmla="*/ 3558 h 10000"/>
                <a:gd name="connsiteX52" fmla="*/ 3431 w 10002"/>
                <a:gd name="connsiteY52" fmla="*/ 3588 h 10000"/>
                <a:gd name="connsiteX53" fmla="*/ 3363 w 10002"/>
                <a:gd name="connsiteY53" fmla="*/ 3615 h 10000"/>
                <a:gd name="connsiteX54" fmla="*/ 3294 w 10002"/>
                <a:gd name="connsiteY54" fmla="*/ 3642 h 10000"/>
                <a:gd name="connsiteX55" fmla="*/ 3224 w 10002"/>
                <a:gd name="connsiteY55" fmla="*/ 3665 h 10000"/>
                <a:gd name="connsiteX56" fmla="*/ 3155 w 10002"/>
                <a:gd name="connsiteY56" fmla="*/ 3687 h 10000"/>
                <a:gd name="connsiteX57" fmla="*/ 3083 w 10002"/>
                <a:gd name="connsiteY57" fmla="*/ 3707 h 10000"/>
                <a:gd name="connsiteX58" fmla="*/ 3014 w 10002"/>
                <a:gd name="connsiteY58" fmla="*/ 3724 h 10000"/>
                <a:gd name="connsiteX59" fmla="*/ 2941 w 10002"/>
                <a:gd name="connsiteY59" fmla="*/ 3739 h 10000"/>
                <a:gd name="connsiteX60" fmla="*/ 2868 w 10002"/>
                <a:gd name="connsiteY60" fmla="*/ 3754 h 10000"/>
                <a:gd name="connsiteX61" fmla="*/ 2797 w 10002"/>
                <a:gd name="connsiteY61" fmla="*/ 3761 h 10000"/>
                <a:gd name="connsiteX62" fmla="*/ 2722 w 10002"/>
                <a:gd name="connsiteY62" fmla="*/ 3771 h 10000"/>
                <a:gd name="connsiteX63" fmla="*/ 2649 w 10002"/>
                <a:gd name="connsiteY63" fmla="*/ 3776 h 10000"/>
                <a:gd name="connsiteX64" fmla="*/ 2576 w 10002"/>
                <a:gd name="connsiteY64" fmla="*/ 3781 h 10000"/>
                <a:gd name="connsiteX65" fmla="*/ 2499 w 10002"/>
                <a:gd name="connsiteY65" fmla="*/ 3781 h 10000"/>
                <a:gd name="connsiteX66" fmla="*/ 2394 w 10002"/>
                <a:gd name="connsiteY66" fmla="*/ 3781 h 10000"/>
                <a:gd name="connsiteX67" fmla="*/ 2285 w 10002"/>
                <a:gd name="connsiteY67" fmla="*/ 3771 h 10000"/>
                <a:gd name="connsiteX68" fmla="*/ 2180 w 10002"/>
                <a:gd name="connsiteY68" fmla="*/ 3759 h 10000"/>
                <a:gd name="connsiteX69" fmla="*/ 2075 w 10002"/>
                <a:gd name="connsiteY69" fmla="*/ 3741 h 10000"/>
                <a:gd name="connsiteX70" fmla="*/ 1971 w 10002"/>
                <a:gd name="connsiteY70" fmla="*/ 3719 h 10000"/>
                <a:gd name="connsiteX71" fmla="*/ 1868 w 10002"/>
                <a:gd name="connsiteY71" fmla="*/ 3692 h 10000"/>
                <a:gd name="connsiteX72" fmla="*/ 1766 w 10002"/>
                <a:gd name="connsiteY72" fmla="*/ 3662 h 10000"/>
                <a:gd name="connsiteX73" fmla="*/ 1666 w 10002"/>
                <a:gd name="connsiteY73" fmla="*/ 3627 h 10000"/>
                <a:gd name="connsiteX74" fmla="*/ 0 w 10002"/>
                <a:gd name="connsiteY74" fmla="*/ 6085 h 10000"/>
                <a:gd name="connsiteX75" fmla="*/ 209 w 10002"/>
                <a:gd name="connsiteY75" fmla="*/ 9512 h 10000"/>
                <a:gd name="connsiteX76" fmla="*/ 344 w 10002"/>
                <a:gd name="connsiteY76" fmla="*/ 9569 h 10000"/>
                <a:gd name="connsiteX77" fmla="*/ 481 w 10002"/>
                <a:gd name="connsiteY77" fmla="*/ 9623 h 10000"/>
                <a:gd name="connsiteX78" fmla="*/ 621 w 10002"/>
                <a:gd name="connsiteY78" fmla="*/ 9673 h 10000"/>
                <a:gd name="connsiteX79" fmla="*/ 758 w 10002"/>
                <a:gd name="connsiteY79" fmla="*/ 9720 h 10000"/>
                <a:gd name="connsiteX80" fmla="*/ 899 w 10002"/>
                <a:gd name="connsiteY80" fmla="*/ 9765 h 10000"/>
                <a:gd name="connsiteX81" fmla="*/ 1041 w 10002"/>
                <a:gd name="connsiteY81" fmla="*/ 9804 h 10000"/>
                <a:gd name="connsiteX82" fmla="*/ 1183 w 10002"/>
                <a:gd name="connsiteY82" fmla="*/ 9839 h 10000"/>
                <a:gd name="connsiteX83" fmla="*/ 1326 w 10002"/>
                <a:gd name="connsiteY83" fmla="*/ 9874 h 10000"/>
                <a:gd name="connsiteX84" fmla="*/ 1472 w 10002"/>
                <a:gd name="connsiteY84" fmla="*/ 9903 h 10000"/>
                <a:gd name="connsiteX85" fmla="*/ 1615 w 10002"/>
                <a:gd name="connsiteY85" fmla="*/ 9926 h 10000"/>
                <a:gd name="connsiteX86" fmla="*/ 1761 w 10002"/>
                <a:gd name="connsiteY86" fmla="*/ 9948 h 10000"/>
                <a:gd name="connsiteX87" fmla="*/ 1907 w 10002"/>
                <a:gd name="connsiteY87" fmla="*/ 9965 h 10000"/>
                <a:gd name="connsiteX88" fmla="*/ 2053 w 10002"/>
                <a:gd name="connsiteY88" fmla="*/ 9980 h 10000"/>
                <a:gd name="connsiteX89" fmla="*/ 2203 w 10002"/>
                <a:gd name="connsiteY89" fmla="*/ 9990 h 10000"/>
                <a:gd name="connsiteX90" fmla="*/ 2351 w 10002"/>
                <a:gd name="connsiteY90" fmla="*/ 9995 h 10000"/>
                <a:gd name="connsiteX91" fmla="*/ 2499 w 10002"/>
                <a:gd name="connsiteY91" fmla="*/ 10000 h 10000"/>
                <a:gd name="connsiteX92" fmla="*/ 2678 w 10002"/>
                <a:gd name="connsiteY92" fmla="*/ 9995 h 10000"/>
                <a:gd name="connsiteX93" fmla="*/ 2851 w 10002"/>
                <a:gd name="connsiteY93" fmla="*/ 9988 h 10000"/>
                <a:gd name="connsiteX94" fmla="*/ 3026 w 10002"/>
                <a:gd name="connsiteY94" fmla="*/ 9975 h 10000"/>
                <a:gd name="connsiteX95" fmla="*/ 3197 w 10002"/>
                <a:gd name="connsiteY95" fmla="*/ 9953 h 10000"/>
                <a:gd name="connsiteX96" fmla="*/ 3370 w 10002"/>
                <a:gd name="connsiteY96" fmla="*/ 9931 h 10000"/>
                <a:gd name="connsiteX97" fmla="*/ 3540 w 10002"/>
                <a:gd name="connsiteY97" fmla="*/ 9898 h 10000"/>
                <a:gd name="connsiteX98" fmla="*/ 3711 w 10002"/>
                <a:gd name="connsiteY98" fmla="*/ 9866 h 10000"/>
                <a:gd name="connsiteX99" fmla="*/ 3879 w 10002"/>
                <a:gd name="connsiteY99" fmla="*/ 9824 h 10000"/>
                <a:gd name="connsiteX100" fmla="*/ 4044 w 10002"/>
                <a:gd name="connsiteY100" fmla="*/ 9779 h 10000"/>
                <a:gd name="connsiteX101" fmla="*/ 4212 w 10002"/>
                <a:gd name="connsiteY101" fmla="*/ 9730 h 10000"/>
                <a:gd name="connsiteX102" fmla="*/ 4374 w 10002"/>
                <a:gd name="connsiteY102" fmla="*/ 9673 h 10000"/>
                <a:gd name="connsiteX103" fmla="*/ 4538 w 10002"/>
                <a:gd name="connsiteY103" fmla="*/ 9616 h 10000"/>
                <a:gd name="connsiteX104" fmla="*/ 4699 w 10002"/>
                <a:gd name="connsiteY104" fmla="*/ 9552 h 10000"/>
                <a:gd name="connsiteX105" fmla="*/ 4859 w 10002"/>
                <a:gd name="connsiteY105" fmla="*/ 9482 h 10000"/>
                <a:gd name="connsiteX106" fmla="*/ 5017 w 10002"/>
                <a:gd name="connsiteY106" fmla="*/ 9405 h 10000"/>
                <a:gd name="connsiteX107" fmla="*/ 5174 w 10002"/>
                <a:gd name="connsiteY107" fmla="*/ 9329 h 10000"/>
                <a:gd name="connsiteX108" fmla="*/ 5329 w 10002"/>
                <a:gd name="connsiteY108" fmla="*/ 9244 h 10000"/>
                <a:gd name="connsiteX109" fmla="*/ 5483 w 10002"/>
                <a:gd name="connsiteY109" fmla="*/ 9158 h 10000"/>
                <a:gd name="connsiteX110" fmla="*/ 5634 w 10002"/>
                <a:gd name="connsiteY110" fmla="*/ 9063 h 10000"/>
                <a:gd name="connsiteX111" fmla="*/ 5784 w 10002"/>
                <a:gd name="connsiteY111" fmla="*/ 8967 h 10000"/>
                <a:gd name="connsiteX112" fmla="*/ 5934 w 10002"/>
                <a:gd name="connsiteY112" fmla="*/ 8865 h 10000"/>
                <a:gd name="connsiteX113" fmla="*/ 6078 w 10002"/>
                <a:gd name="connsiteY113" fmla="*/ 8759 h 10000"/>
                <a:gd name="connsiteX114" fmla="*/ 6224 w 10002"/>
                <a:gd name="connsiteY114" fmla="*/ 8652 h 10000"/>
                <a:gd name="connsiteX115" fmla="*/ 6367 w 10002"/>
                <a:gd name="connsiteY115" fmla="*/ 8536 h 10000"/>
                <a:gd name="connsiteX116" fmla="*/ 6508 w 10002"/>
                <a:gd name="connsiteY116" fmla="*/ 8417 h 10000"/>
                <a:gd name="connsiteX117" fmla="*/ 6645 w 10002"/>
                <a:gd name="connsiteY117" fmla="*/ 8295 h 10000"/>
                <a:gd name="connsiteX118" fmla="*/ 6783 w 10002"/>
                <a:gd name="connsiteY118" fmla="*/ 8169 h 10000"/>
                <a:gd name="connsiteX119" fmla="*/ 6916 w 10002"/>
                <a:gd name="connsiteY119" fmla="*/ 8040 h 10000"/>
                <a:gd name="connsiteX120" fmla="*/ 7049 w 10002"/>
                <a:gd name="connsiteY120" fmla="*/ 7904 h 10000"/>
                <a:gd name="connsiteX121" fmla="*/ 7179 w 10002"/>
                <a:gd name="connsiteY121" fmla="*/ 7768 h 10000"/>
                <a:gd name="connsiteX122" fmla="*/ 7308 w 10002"/>
                <a:gd name="connsiteY122" fmla="*/ 7624 h 10000"/>
                <a:gd name="connsiteX123" fmla="*/ 7433 w 10002"/>
                <a:gd name="connsiteY123" fmla="*/ 7480 h 10000"/>
                <a:gd name="connsiteX124" fmla="*/ 7556 w 10002"/>
                <a:gd name="connsiteY124" fmla="*/ 7329 h 10000"/>
                <a:gd name="connsiteX125" fmla="*/ 7677 w 10002"/>
                <a:gd name="connsiteY125" fmla="*/ 7178 h 10000"/>
                <a:gd name="connsiteX126" fmla="*/ 7796 w 10002"/>
                <a:gd name="connsiteY126" fmla="*/ 7024 h 10000"/>
                <a:gd name="connsiteX127" fmla="*/ 7911 w 10002"/>
                <a:gd name="connsiteY127" fmla="*/ 6861 h 10000"/>
                <a:gd name="connsiteX128" fmla="*/ 8026 w 10002"/>
                <a:gd name="connsiteY128" fmla="*/ 6697 h 10000"/>
                <a:gd name="connsiteX129" fmla="*/ 8137 w 10002"/>
                <a:gd name="connsiteY129" fmla="*/ 6534 h 10000"/>
                <a:gd name="connsiteX130" fmla="*/ 8244 w 10002"/>
                <a:gd name="connsiteY130" fmla="*/ 6365 h 10000"/>
                <a:gd name="connsiteX131" fmla="*/ 8351 w 10002"/>
                <a:gd name="connsiteY131" fmla="*/ 6189 h 10000"/>
                <a:gd name="connsiteX132" fmla="*/ 8454 w 10002"/>
                <a:gd name="connsiteY132" fmla="*/ 6016 h 10000"/>
                <a:gd name="connsiteX133" fmla="*/ 8556 w 10002"/>
                <a:gd name="connsiteY133" fmla="*/ 5835 h 10000"/>
                <a:gd name="connsiteX134" fmla="*/ 8654 w 10002"/>
                <a:gd name="connsiteY134" fmla="*/ 5652 h 10000"/>
                <a:gd name="connsiteX135" fmla="*/ 8749 w 10002"/>
                <a:gd name="connsiteY135" fmla="*/ 5468 h 10000"/>
                <a:gd name="connsiteX136" fmla="*/ 8841 w 10002"/>
                <a:gd name="connsiteY136" fmla="*/ 5278 h 10000"/>
                <a:gd name="connsiteX137" fmla="*/ 8931 w 10002"/>
                <a:gd name="connsiteY137" fmla="*/ 5089 h 10000"/>
                <a:gd name="connsiteX138" fmla="*/ 9019 w 10002"/>
                <a:gd name="connsiteY138" fmla="*/ 4893 h 10000"/>
                <a:gd name="connsiteX139" fmla="*/ 9103 w 10002"/>
                <a:gd name="connsiteY139" fmla="*/ 4698 h 10000"/>
                <a:gd name="connsiteX140" fmla="*/ 9183 w 10002"/>
                <a:gd name="connsiteY140" fmla="*/ 4500 h 10000"/>
                <a:gd name="connsiteX141" fmla="*/ 9261 w 10002"/>
                <a:gd name="connsiteY141" fmla="*/ 4294 h 10000"/>
                <a:gd name="connsiteX142" fmla="*/ 9335 w 10002"/>
                <a:gd name="connsiteY142" fmla="*/ 4091 h 10000"/>
                <a:gd name="connsiteX143" fmla="*/ 9406 w 10002"/>
                <a:gd name="connsiteY143" fmla="*/ 3885 h 10000"/>
                <a:gd name="connsiteX144" fmla="*/ 9475 w 10002"/>
                <a:gd name="connsiteY144" fmla="*/ 3674 h 10000"/>
                <a:gd name="connsiteX145" fmla="*/ 9540 w 10002"/>
                <a:gd name="connsiteY145" fmla="*/ 3464 h 10000"/>
                <a:gd name="connsiteX146" fmla="*/ 9604 w 10002"/>
                <a:gd name="connsiteY146" fmla="*/ 3248 h 10000"/>
                <a:gd name="connsiteX147" fmla="*/ 9661 w 10002"/>
                <a:gd name="connsiteY147" fmla="*/ 3030 h 10000"/>
                <a:gd name="connsiteX148" fmla="*/ 9716 w 10002"/>
                <a:gd name="connsiteY148" fmla="*/ 2815 h 10000"/>
                <a:gd name="connsiteX149" fmla="*/ 9768 w 10002"/>
                <a:gd name="connsiteY149" fmla="*/ 2592 h 10000"/>
                <a:gd name="connsiteX150" fmla="*/ 9818 w 10002"/>
                <a:gd name="connsiteY150" fmla="*/ 2369 h 10000"/>
                <a:gd name="connsiteX151" fmla="*/ 9861 w 10002"/>
                <a:gd name="connsiteY151" fmla="*/ 2143 h 10000"/>
                <a:gd name="connsiteX152" fmla="*/ 9903 w 10002"/>
                <a:gd name="connsiteY152" fmla="*/ 1918 h 10000"/>
                <a:gd name="connsiteX153" fmla="*/ 9941 w 10002"/>
                <a:gd name="connsiteY153" fmla="*/ 1690 h 10000"/>
                <a:gd name="connsiteX154" fmla="*/ 9975 w 10002"/>
                <a:gd name="connsiteY154" fmla="*/ 1457 h 10000"/>
                <a:gd name="connsiteX155" fmla="*/ 10002 w 10002"/>
                <a:gd name="connsiteY155" fmla="*/ 1216 h 10000"/>
                <a:gd name="connsiteX156" fmla="*/ 7615 w 10002"/>
                <a:gd name="connsiteY156" fmla="*/ 1876 h 10000"/>
                <a:gd name="connsiteX157" fmla="*/ 5618 w 10002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9 w 10001"/>
                <a:gd name="connsiteY75" fmla="*/ 9512 h 10000"/>
                <a:gd name="connsiteX76" fmla="*/ 344 w 10001"/>
                <a:gd name="connsiteY76" fmla="*/ 9569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9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6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6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6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</a:cxnLst>
              <a:rect l="l" t="t" r="r" b="b"/>
              <a:pathLst>
                <a:path w="10001" h="10000">
                  <a:moveTo>
                    <a:pt x="5618" y="0"/>
                  </a:moveTo>
                  <a:lnTo>
                    <a:pt x="5618" y="0"/>
                  </a:lnTo>
                  <a:lnTo>
                    <a:pt x="5609" y="99"/>
                  </a:lnTo>
                  <a:cubicBezTo>
                    <a:pt x="5604" y="133"/>
                    <a:pt x="5600" y="167"/>
                    <a:pt x="5595" y="201"/>
                  </a:cubicBezTo>
                  <a:lnTo>
                    <a:pt x="5583" y="300"/>
                  </a:lnTo>
                  <a:cubicBezTo>
                    <a:pt x="5578" y="331"/>
                    <a:pt x="5573" y="363"/>
                    <a:pt x="5568" y="394"/>
                  </a:cubicBezTo>
                  <a:cubicBezTo>
                    <a:pt x="5562" y="426"/>
                    <a:pt x="5556" y="459"/>
                    <a:pt x="5550" y="491"/>
                  </a:cubicBezTo>
                  <a:cubicBezTo>
                    <a:pt x="5544" y="523"/>
                    <a:pt x="5537" y="555"/>
                    <a:pt x="5531" y="587"/>
                  </a:cubicBezTo>
                  <a:cubicBezTo>
                    <a:pt x="5524" y="619"/>
                    <a:pt x="5518" y="652"/>
                    <a:pt x="5511" y="684"/>
                  </a:cubicBezTo>
                  <a:cubicBezTo>
                    <a:pt x="5504" y="715"/>
                    <a:pt x="5497" y="747"/>
                    <a:pt x="5490" y="778"/>
                  </a:cubicBezTo>
                  <a:cubicBezTo>
                    <a:pt x="5483" y="809"/>
                    <a:pt x="5475" y="839"/>
                    <a:pt x="5468" y="870"/>
                  </a:cubicBezTo>
                  <a:cubicBezTo>
                    <a:pt x="5459" y="900"/>
                    <a:pt x="5451" y="931"/>
                    <a:pt x="5442" y="961"/>
                  </a:cubicBezTo>
                  <a:cubicBezTo>
                    <a:pt x="5434" y="992"/>
                    <a:pt x="5426" y="1022"/>
                    <a:pt x="5418" y="1053"/>
                  </a:cubicBezTo>
                  <a:cubicBezTo>
                    <a:pt x="5409" y="1084"/>
                    <a:pt x="5399" y="1114"/>
                    <a:pt x="5390" y="1145"/>
                  </a:cubicBezTo>
                  <a:cubicBezTo>
                    <a:pt x="5380" y="1174"/>
                    <a:pt x="5371" y="1202"/>
                    <a:pt x="5361" y="1231"/>
                  </a:cubicBezTo>
                  <a:lnTo>
                    <a:pt x="5331" y="1318"/>
                  </a:lnTo>
                  <a:lnTo>
                    <a:pt x="5301" y="1405"/>
                  </a:lnTo>
                  <a:cubicBezTo>
                    <a:pt x="5290" y="1435"/>
                    <a:pt x="5280" y="1464"/>
                    <a:pt x="5269" y="1494"/>
                  </a:cubicBezTo>
                  <a:cubicBezTo>
                    <a:pt x="5258" y="1522"/>
                    <a:pt x="5246" y="1550"/>
                    <a:pt x="5235" y="1578"/>
                  </a:cubicBezTo>
                  <a:cubicBezTo>
                    <a:pt x="5223" y="1606"/>
                    <a:pt x="5211" y="1635"/>
                    <a:pt x="5199" y="1663"/>
                  </a:cubicBezTo>
                  <a:cubicBezTo>
                    <a:pt x="5187" y="1689"/>
                    <a:pt x="5175" y="1716"/>
                    <a:pt x="5163" y="1742"/>
                  </a:cubicBezTo>
                  <a:cubicBezTo>
                    <a:pt x="5150" y="1769"/>
                    <a:pt x="5137" y="1797"/>
                    <a:pt x="5124" y="1824"/>
                  </a:cubicBezTo>
                  <a:cubicBezTo>
                    <a:pt x="5111" y="1850"/>
                    <a:pt x="5098" y="1877"/>
                    <a:pt x="5085" y="1903"/>
                  </a:cubicBezTo>
                  <a:cubicBezTo>
                    <a:pt x="5072" y="1930"/>
                    <a:pt x="5059" y="1958"/>
                    <a:pt x="5046" y="1985"/>
                  </a:cubicBezTo>
                  <a:cubicBezTo>
                    <a:pt x="5032" y="2010"/>
                    <a:pt x="5019" y="2034"/>
                    <a:pt x="5005" y="2059"/>
                  </a:cubicBezTo>
                  <a:cubicBezTo>
                    <a:pt x="4990" y="2084"/>
                    <a:pt x="4975" y="2108"/>
                    <a:pt x="4961" y="2133"/>
                  </a:cubicBezTo>
                  <a:cubicBezTo>
                    <a:pt x="4946" y="2159"/>
                    <a:pt x="4931" y="2184"/>
                    <a:pt x="4916" y="2210"/>
                  </a:cubicBezTo>
                  <a:cubicBezTo>
                    <a:pt x="4901" y="2234"/>
                    <a:pt x="4887" y="2258"/>
                    <a:pt x="4872" y="2282"/>
                  </a:cubicBezTo>
                  <a:cubicBezTo>
                    <a:pt x="4856" y="2306"/>
                    <a:pt x="4841" y="2330"/>
                    <a:pt x="4825" y="2354"/>
                  </a:cubicBezTo>
                  <a:cubicBezTo>
                    <a:pt x="4810" y="2378"/>
                    <a:pt x="4794" y="2402"/>
                    <a:pt x="4779" y="2426"/>
                  </a:cubicBezTo>
                  <a:lnTo>
                    <a:pt x="4731" y="2495"/>
                  </a:lnTo>
                  <a:cubicBezTo>
                    <a:pt x="4714" y="2517"/>
                    <a:pt x="4698" y="2540"/>
                    <a:pt x="4681" y="2562"/>
                  </a:cubicBezTo>
                  <a:cubicBezTo>
                    <a:pt x="4664" y="2583"/>
                    <a:pt x="4648" y="2605"/>
                    <a:pt x="4631" y="2626"/>
                  </a:cubicBezTo>
                  <a:cubicBezTo>
                    <a:pt x="4614" y="2648"/>
                    <a:pt x="4596" y="2669"/>
                    <a:pt x="4579" y="2691"/>
                  </a:cubicBezTo>
                  <a:cubicBezTo>
                    <a:pt x="4562" y="2712"/>
                    <a:pt x="4545" y="2732"/>
                    <a:pt x="4528" y="2753"/>
                  </a:cubicBezTo>
                  <a:cubicBezTo>
                    <a:pt x="4509" y="2774"/>
                    <a:pt x="4491" y="2796"/>
                    <a:pt x="4472" y="2817"/>
                  </a:cubicBezTo>
                  <a:cubicBezTo>
                    <a:pt x="4454" y="2836"/>
                    <a:pt x="4437" y="2855"/>
                    <a:pt x="4419" y="2874"/>
                  </a:cubicBezTo>
                  <a:cubicBezTo>
                    <a:pt x="4401" y="2894"/>
                    <a:pt x="4382" y="2914"/>
                    <a:pt x="4364" y="2934"/>
                  </a:cubicBezTo>
                  <a:lnTo>
                    <a:pt x="4307" y="2988"/>
                  </a:lnTo>
                  <a:cubicBezTo>
                    <a:pt x="4288" y="3006"/>
                    <a:pt x="4269" y="3025"/>
                    <a:pt x="4250" y="3043"/>
                  </a:cubicBezTo>
                  <a:cubicBezTo>
                    <a:pt x="4231" y="3061"/>
                    <a:pt x="4211" y="3079"/>
                    <a:pt x="4192" y="3097"/>
                  </a:cubicBezTo>
                  <a:lnTo>
                    <a:pt x="4134" y="3149"/>
                  </a:lnTo>
                  <a:cubicBezTo>
                    <a:pt x="4114" y="3165"/>
                    <a:pt x="4093" y="3180"/>
                    <a:pt x="4073" y="3196"/>
                  </a:cubicBezTo>
                  <a:cubicBezTo>
                    <a:pt x="4053" y="3212"/>
                    <a:pt x="4032" y="3227"/>
                    <a:pt x="4012" y="3243"/>
                  </a:cubicBezTo>
                  <a:cubicBezTo>
                    <a:pt x="3992" y="3259"/>
                    <a:pt x="3972" y="3274"/>
                    <a:pt x="3952" y="3290"/>
                  </a:cubicBezTo>
                  <a:lnTo>
                    <a:pt x="3889" y="3335"/>
                  </a:lnTo>
                  <a:cubicBezTo>
                    <a:pt x="3868" y="3349"/>
                    <a:pt x="3846" y="3363"/>
                    <a:pt x="3825" y="3377"/>
                  </a:cubicBezTo>
                  <a:lnTo>
                    <a:pt x="3761" y="3417"/>
                  </a:lnTo>
                  <a:lnTo>
                    <a:pt x="3697" y="3454"/>
                  </a:lnTo>
                  <a:cubicBezTo>
                    <a:pt x="3675" y="3466"/>
                    <a:pt x="3653" y="3479"/>
                    <a:pt x="3631" y="3491"/>
                  </a:cubicBezTo>
                  <a:cubicBezTo>
                    <a:pt x="3610" y="3502"/>
                    <a:pt x="3588" y="3512"/>
                    <a:pt x="3567" y="3523"/>
                  </a:cubicBezTo>
                  <a:lnTo>
                    <a:pt x="3499" y="3558"/>
                  </a:lnTo>
                  <a:lnTo>
                    <a:pt x="3431" y="3588"/>
                  </a:lnTo>
                  <a:lnTo>
                    <a:pt x="3363" y="3615"/>
                  </a:lnTo>
                  <a:lnTo>
                    <a:pt x="3294" y="3642"/>
                  </a:lnTo>
                  <a:cubicBezTo>
                    <a:pt x="3271" y="3650"/>
                    <a:pt x="3247" y="3657"/>
                    <a:pt x="3224" y="3665"/>
                  </a:cubicBezTo>
                  <a:cubicBezTo>
                    <a:pt x="3201" y="3672"/>
                    <a:pt x="3178" y="3680"/>
                    <a:pt x="3155" y="3687"/>
                  </a:cubicBezTo>
                  <a:cubicBezTo>
                    <a:pt x="3131" y="3694"/>
                    <a:pt x="3107" y="3700"/>
                    <a:pt x="3083" y="3707"/>
                  </a:cubicBezTo>
                  <a:cubicBezTo>
                    <a:pt x="3060" y="3713"/>
                    <a:pt x="3037" y="3718"/>
                    <a:pt x="3014" y="3724"/>
                  </a:cubicBezTo>
                  <a:lnTo>
                    <a:pt x="2941" y="3739"/>
                  </a:lnTo>
                  <a:lnTo>
                    <a:pt x="2868" y="3754"/>
                  </a:lnTo>
                  <a:cubicBezTo>
                    <a:pt x="2844" y="3756"/>
                    <a:pt x="2821" y="3759"/>
                    <a:pt x="2797" y="3761"/>
                  </a:cubicBezTo>
                  <a:cubicBezTo>
                    <a:pt x="2772" y="3764"/>
                    <a:pt x="2747" y="3768"/>
                    <a:pt x="2722" y="3771"/>
                  </a:cubicBezTo>
                  <a:cubicBezTo>
                    <a:pt x="2698" y="3773"/>
                    <a:pt x="2673" y="3774"/>
                    <a:pt x="2649" y="3776"/>
                  </a:cubicBezTo>
                  <a:cubicBezTo>
                    <a:pt x="2625" y="3778"/>
                    <a:pt x="2600" y="3779"/>
                    <a:pt x="2576" y="3781"/>
                  </a:cubicBezTo>
                  <a:lnTo>
                    <a:pt x="2499" y="3781"/>
                  </a:lnTo>
                  <a:lnTo>
                    <a:pt x="2394" y="3781"/>
                  </a:lnTo>
                  <a:lnTo>
                    <a:pt x="2285" y="3771"/>
                  </a:lnTo>
                  <a:lnTo>
                    <a:pt x="2180" y="3759"/>
                  </a:lnTo>
                  <a:lnTo>
                    <a:pt x="2075" y="3741"/>
                  </a:lnTo>
                  <a:cubicBezTo>
                    <a:pt x="2040" y="3734"/>
                    <a:pt x="2006" y="3726"/>
                    <a:pt x="1971" y="3719"/>
                  </a:cubicBezTo>
                  <a:lnTo>
                    <a:pt x="1868" y="3692"/>
                  </a:lnTo>
                  <a:lnTo>
                    <a:pt x="1766" y="3662"/>
                  </a:lnTo>
                  <a:cubicBezTo>
                    <a:pt x="1733" y="3650"/>
                    <a:pt x="1699" y="3639"/>
                    <a:pt x="1666" y="3627"/>
                  </a:cubicBezTo>
                  <a:lnTo>
                    <a:pt x="0" y="6085"/>
                  </a:lnTo>
                  <a:cubicBezTo>
                    <a:pt x="70" y="7227"/>
                    <a:pt x="138" y="8352"/>
                    <a:pt x="208" y="9494"/>
                  </a:cubicBezTo>
                  <a:cubicBezTo>
                    <a:pt x="253" y="9518"/>
                    <a:pt x="259" y="9522"/>
                    <a:pt x="345" y="9563"/>
                  </a:cubicBezTo>
                  <a:cubicBezTo>
                    <a:pt x="390" y="9583"/>
                    <a:pt x="411" y="9593"/>
                    <a:pt x="481" y="9623"/>
                  </a:cubicBezTo>
                  <a:lnTo>
                    <a:pt x="621" y="9673"/>
                  </a:lnTo>
                  <a:lnTo>
                    <a:pt x="758" y="9720"/>
                  </a:lnTo>
                  <a:lnTo>
                    <a:pt x="899" y="9765"/>
                  </a:lnTo>
                  <a:lnTo>
                    <a:pt x="1041" y="9804"/>
                  </a:lnTo>
                  <a:lnTo>
                    <a:pt x="1183" y="9839"/>
                  </a:lnTo>
                  <a:lnTo>
                    <a:pt x="1326" y="9874"/>
                  </a:lnTo>
                  <a:lnTo>
                    <a:pt x="1472" y="9903"/>
                  </a:lnTo>
                  <a:lnTo>
                    <a:pt x="1615" y="9926"/>
                  </a:lnTo>
                  <a:lnTo>
                    <a:pt x="1761" y="9948"/>
                  </a:lnTo>
                  <a:lnTo>
                    <a:pt x="1907" y="9965"/>
                  </a:lnTo>
                  <a:lnTo>
                    <a:pt x="2053" y="9980"/>
                  </a:lnTo>
                  <a:lnTo>
                    <a:pt x="2203" y="9990"/>
                  </a:lnTo>
                  <a:lnTo>
                    <a:pt x="2351" y="9995"/>
                  </a:lnTo>
                  <a:lnTo>
                    <a:pt x="2499" y="10000"/>
                  </a:lnTo>
                  <a:lnTo>
                    <a:pt x="2678" y="9995"/>
                  </a:lnTo>
                  <a:lnTo>
                    <a:pt x="2851" y="9988"/>
                  </a:lnTo>
                  <a:lnTo>
                    <a:pt x="3026" y="9975"/>
                  </a:lnTo>
                  <a:lnTo>
                    <a:pt x="3197" y="9953"/>
                  </a:lnTo>
                  <a:lnTo>
                    <a:pt x="3370" y="9931"/>
                  </a:lnTo>
                  <a:lnTo>
                    <a:pt x="3540" y="9898"/>
                  </a:lnTo>
                  <a:lnTo>
                    <a:pt x="3711" y="9866"/>
                  </a:lnTo>
                  <a:lnTo>
                    <a:pt x="3879" y="9824"/>
                  </a:lnTo>
                  <a:lnTo>
                    <a:pt x="4044" y="9779"/>
                  </a:lnTo>
                  <a:lnTo>
                    <a:pt x="4212" y="9730"/>
                  </a:lnTo>
                  <a:lnTo>
                    <a:pt x="4374" y="9673"/>
                  </a:lnTo>
                  <a:lnTo>
                    <a:pt x="4538" y="9616"/>
                  </a:lnTo>
                  <a:lnTo>
                    <a:pt x="4699" y="9552"/>
                  </a:lnTo>
                  <a:lnTo>
                    <a:pt x="4859" y="9482"/>
                  </a:lnTo>
                  <a:lnTo>
                    <a:pt x="5017" y="9405"/>
                  </a:lnTo>
                  <a:lnTo>
                    <a:pt x="5174" y="9329"/>
                  </a:lnTo>
                  <a:lnTo>
                    <a:pt x="5329" y="9244"/>
                  </a:lnTo>
                  <a:cubicBezTo>
                    <a:pt x="5380" y="9215"/>
                    <a:pt x="5432" y="9187"/>
                    <a:pt x="5483" y="9158"/>
                  </a:cubicBezTo>
                  <a:cubicBezTo>
                    <a:pt x="5533" y="9126"/>
                    <a:pt x="5584" y="9095"/>
                    <a:pt x="5634" y="9063"/>
                  </a:cubicBezTo>
                  <a:lnTo>
                    <a:pt x="5784" y="8967"/>
                  </a:lnTo>
                  <a:lnTo>
                    <a:pt x="5934" y="8865"/>
                  </a:lnTo>
                  <a:lnTo>
                    <a:pt x="6078" y="8759"/>
                  </a:lnTo>
                  <a:lnTo>
                    <a:pt x="6224" y="8652"/>
                  </a:lnTo>
                  <a:lnTo>
                    <a:pt x="6367" y="8536"/>
                  </a:lnTo>
                  <a:lnTo>
                    <a:pt x="6508" y="8417"/>
                  </a:lnTo>
                  <a:lnTo>
                    <a:pt x="6645" y="8295"/>
                  </a:lnTo>
                  <a:lnTo>
                    <a:pt x="6783" y="8169"/>
                  </a:lnTo>
                  <a:lnTo>
                    <a:pt x="6916" y="8040"/>
                  </a:lnTo>
                  <a:lnTo>
                    <a:pt x="7049" y="7904"/>
                  </a:lnTo>
                  <a:lnTo>
                    <a:pt x="7179" y="7768"/>
                  </a:lnTo>
                  <a:lnTo>
                    <a:pt x="7308" y="7624"/>
                  </a:lnTo>
                  <a:lnTo>
                    <a:pt x="7433" y="7480"/>
                  </a:lnTo>
                  <a:lnTo>
                    <a:pt x="7556" y="7329"/>
                  </a:lnTo>
                  <a:lnTo>
                    <a:pt x="7677" y="7178"/>
                  </a:lnTo>
                  <a:cubicBezTo>
                    <a:pt x="7717" y="7127"/>
                    <a:pt x="7756" y="7075"/>
                    <a:pt x="7796" y="7024"/>
                  </a:cubicBezTo>
                  <a:lnTo>
                    <a:pt x="7911" y="6861"/>
                  </a:lnTo>
                  <a:cubicBezTo>
                    <a:pt x="7949" y="6806"/>
                    <a:pt x="7988" y="6752"/>
                    <a:pt x="8026" y="6697"/>
                  </a:cubicBezTo>
                  <a:lnTo>
                    <a:pt x="8137" y="6534"/>
                  </a:lnTo>
                  <a:cubicBezTo>
                    <a:pt x="8173" y="6478"/>
                    <a:pt x="8208" y="6421"/>
                    <a:pt x="8244" y="6365"/>
                  </a:cubicBezTo>
                  <a:lnTo>
                    <a:pt x="8351" y="6189"/>
                  </a:lnTo>
                  <a:cubicBezTo>
                    <a:pt x="8385" y="6131"/>
                    <a:pt x="8420" y="6074"/>
                    <a:pt x="8454" y="6016"/>
                  </a:cubicBezTo>
                  <a:lnTo>
                    <a:pt x="8556" y="5835"/>
                  </a:lnTo>
                  <a:cubicBezTo>
                    <a:pt x="8589" y="5774"/>
                    <a:pt x="8621" y="5713"/>
                    <a:pt x="8654" y="5652"/>
                  </a:cubicBezTo>
                  <a:cubicBezTo>
                    <a:pt x="8686" y="5591"/>
                    <a:pt x="8717" y="5529"/>
                    <a:pt x="8749" y="5468"/>
                  </a:cubicBezTo>
                  <a:cubicBezTo>
                    <a:pt x="8780" y="5405"/>
                    <a:pt x="8810" y="5341"/>
                    <a:pt x="8841" y="5278"/>
                  </a:cubicBezTo>
                  <a:lnTo>
                    <a:pt x="8931" y="5089"/>
                  </a:lnTo>
                  <a:cubicBezTo>
                    <a:pt x="8960" y="5024"/>
                    <a:pt x="8989" y="4958"/>
                    <a:pt x="9019" y="4893"/>
                  </a:cubicBezTo>
                  <a:lnTo>
                    <a:pt x="9103" y="4698"/>
                  </a:lnTo>
                  <a:cubicBezTo>
                    <a:pt x="9130" y="4632"/>
                    <a:pt x="9156" y="4566"/>
                    <a:pt x="9183" y="4500"/>
                  </a:cubicBezTo>
                  <a:cubicBezTo>
                    <a:pt x="9209" y="4431"/>
                    <a:pt x="9235" y="4363"/>
                    <a:pt x="9261" y="4294"/>
                  </a:cubicBezTo>
                  <a:cubicBezTo>
                    <a:pt x="9286" y="4226"/>
                    <a:pt x="9310" y="4159"/>
                    <a:pt x="9335" y="4091"/>
                  </a:cubicBezTo>
                  <a:cubicBezTo>
                    <a:pt x="9359" y="4022"/>
                    <a:pt x="9382" y="3954"/>
                    <a:pt x="9406" y="3885"/>
                  </a:cubicBezTo>
                  <a:cubicBezTo>
                    <a:pt x="9429" y="3815"/>
                    <a:pt x="9452" y="3744"/>
                    <a:pt x="9475" y="3674"/>
                  </a:cubicBezTo>
                  <a:cubicBezTo>
                    <a:pt x="9497" y="3604"/>
                    <a:pt x="9518" y="3534"/>
                    <a:pt x="9540" y="3464"/>
                  </a:cubicBezTo>
                  <a:cubicBezTo>
                    <a:pt x="9561" y="3392"/>
                    <a:pt x="9583" y="3320"/>
                    <a:pt x="9604" y="3248"/>
                  </a:cubicBezTo>
                  <a:cubicBezTo>
                    <a:pt x="9623" y="3175"/>
                    <a:pt x="9642" y="3103"/>
                    <a:pt x="9661" y="3030"/>
                  </a:cubicBezTo>
                  <a:cubicBezTo>
                    <a:pt x="9679" y="2958"/>
                    <a:pt x="9698" y="2887"/>
                    <a:pt x="9716" y="2815"/>
                  </a:cubicBezTo>
                  <a:cubicBezTo>
                    <a:pt x="9733" y="2741"/>
                    <a:pt x="9751" y="2666"/>
                    <a:pt x="9768" y="2592"/>
                  </a:cubicBezTo>
                  <a:cubicBezTo>
                    <a:pt x="9785" y="2518"/>
                    <a:pt x="9801" y="2443"/>
                    <a:pt x="9818" y="2369"/>
                  </a:cubicBezTo>
                  <a:cubicBezTo>
                    <a:pt x="9832" y="2294"/>
                    <a:pt x="9847" y="2218"/>
                    <a:pt x="9861" y="2143"/>
                  </a:cubicBezTo>
                  <a:lnTo>
                    <a:pt x="9903" y="1918"/>
                  </a:lnTo>
                  <a:cubicBezTo>
                    <a:pt x="9916" y="1842"/>
                    <a:pt x="9928" y="1766"/>
                    <a:pt x="9941" y="1690"/>
                  </a:cubicBezTo>
                  <a:cubicBezTo>
                    <a:pt x="9952" y="1612"/>
                    <a:pt x="9964" y="1535"/>
                    <a:pt x="9975" y="1457"/>
                  </a:cubicBezTo>
                  <a:cubicBezTo>
                    <a:pt x="9983" y="1377"/>
                    <a:pt x="9993" y="1295"/>
                    <a:pt x="10001" y="1215"/>
                  </a:cubicBezTo>
                  <a:lnTo>
                    <a:pt x="7615" y="1876"/>
                  </a:lnTo>
                  <a:lnTo>
                    <a:pt x="5618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70596" y="234864"/>
            <a:ext cx="8794113" cy="659459"/>
          </a:xfrm>
        </p:spPr>
        <p:txBody>
          <a:bodyPr/>
          <a:lstStyle/>
          <a:p>
            <a:r>
              <a:rPr lang="en-US" dirty="0"/>
              <a:t>Compass would share demand and availability forecasting across a network of small suppliers, enabling direct farm sourcing of produce</a:t>
            </a:r>
          </a:p>
        </p:txBody>
      </p:sp>
      <p:sp>
        <p:nvSpPr>
          <p:cNvPr id="56" name="Rounded Rectangle 55"/>
          <p:cNvSpPr/>
          <p:nvPr/>
        </p:nvSpPr>
        <p:spPr bwMode="gray">
          <a:xfrm>
            <a:off x="302438" y="2988963"/>
            <a:ext cx="839725" cy="83967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b="1" baseline="30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Right Arrow 56"/>
          <p:cNvSpPr/>
          <p:nvPr/>
        </p:nvSpPr>
        <p:spPr bwMode="gray">
          <a:xfrm rot="10800000">
            <a:off x="5049534" y="1909166"/>
            <a:ext cx="1400985" cy="276167"/>
          </a:xfrm>
          <a:prstGeom prst="rightArrow">
            <a:avLst/>
          </a:prstGeom>
          <a:solidFill>
            <a:srgbClr val="27AAE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8" name="Right Arrow 57"/>
          <p:cNvSpPr/>
          <p:nvPr/>
        </p:nvSpPr>
        <p:spPr bwMode="gray">
          <a:xfrm rot="10800000">
            <a:off x="2590644" y="1909165"/>
            <a:ext cx="1400985" cy="276167"/>
          </a:xfrm>
          <a:prstGeom prst="rightArrow">
            <a:avLst/>
          </a:prstGeom>
          <a:solidFill>
            <a:srgbClr val="27AAE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9" name="Right Arrow 58"/>
          <p:cNvSpPr/>
          <p:nvPr/>
        </p:nvSpPr>
        <p:spPr bwMode="gray">
          <a:xfrm>
            <a:off x="4969755" y="1523359"/>
            <a:ext cx="1400985" cy="276167"/>
          </a:xfrm>
          <a:prstGeom prst="rightArrow">
            <a:avLst/>
          </a:prstGeom>
          <a:solidFill>
            <a:srgbClr val="E4CA0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0" name="Right Arrow 59"/>
          <p:cNvSpPr/>
          <p:nvPr/>
        </p:nvSpPr>
        <p:spPr bwMode="gray">
          <a:xfrm>
            <a:off x="2468710" y="1523359"/>
            <a:ext cx="1286457" cy="276167"/>
          </a:xfrm>
          <a:prstGeom prst="rightArrow">
            <a:avLst/>
          </a:prstGeom>
          <a:solidFill>
            <a:srgbClr val="E4CA0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1" name="Right Arrow 60"/>
          <p:cNvSpPr/>
          <p:nvPr/>
        </p:nvSpPr>
        <p:spPr bwMode="gray">
          <a:xfrm rot="4262365">
            <a:off x="6496843" y="2470554"/>
            <a:ext cx="1286382" cy="276183"/>
          </a:xfrm>
          <a:prstGeom prst="rightArrow">
            <a:avLst/>
          </a:prstGeom>
          <a:solidFill>
            <a:srgbClr val="E4CA0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77" name="Right Arrow 76"/>
          <p:cNvSpPr/>
          <p:nvPr/>
        </p:nvSpPr>
        <p:spPr bwMode="gray">
          <a:xfrm rot="15037137">
            <a:off x="6913462" y="3201304"/>
            <a:ext cx="1646341" cy="276183"/>
          </a:xfrm>
          <a:prstGeom prst="rightArrow">
            <a:avLst/>
          </a:prstGeom>
          <a:solidFill>
            <a:srgbClr val="27AAE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78" name="Legend2"/>
          <p:cNvSpPr>
            <a:spLocks noChangeArrowheads="1"/>
          </p:cNvSpPr>
          <p:nvPr/>
        </p:nvSpPr>
        <p:spPr bwMode="gray">
          <a:xfrm>
            <a:off x="1226676" y="2987547"/>
            <a:ext cx="1722741" cy="6806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en-US" b="1" dirty="0" smtClean="0">
                <a:latin typeface="+mn-lt"/>
              </a:rPr>
              <a:t>Compass</a:t>
            </a:r>
          </a:p>
          <a:p>
            <a:pPr defTabSz="913526">
              <a:buClr>
                <a:schemeClr val="tx2"/>
              </a:buClr>
            </a:pPr>
            <a:r>
              <a:rPr lang="en-US" i="1" dirty="0"/>
              <a:t>Supply chain </a:t>
            </a:r>
            <a:r>
              <a:rPr lang="en-US" i="1" dirty="0" smtClean="0"/>
              <a:t>planning </a:t>
            </a:r>
            <a:r>
              <a:rPr lang="en-US" i="1" dirty="0"/>
              <a:t>and coordination</a:t>
            </a:r>
          </a:p>
          <a:p>
            <a:pPr defTabSz="913526">
              <a:buClr>
                <a:schemeClr val="tx2"/>
              </a:buClr>
            </a:pPr>
            <a:endParaRPr lang="en-US" b="1" dirty="0">
              <a:latin typeface="+mn-lt"/>
            </a:endParaRPr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gray">
          <a:xfrm>
            <a:off x="306274" y="3131179"/>
            <a:ext cx="813704" cy="620531"/>
          </a:xfrm>
          <a:prstGeom prst="rect">
            <a:avLst/>
          </a:prstGeom>
        </p:spPr>
      </p:pic>
      <p:sp>
        <p:nvSpPr>
          <p:cNvPr id="80" name="Rectangle 6174"/>
          <p:cNvSpPr txBox="1"/>
          <p:nvPr/>
        </p:nvSpPr>
        <p:spPr bwMode="gray">
          <a:xfrm>
            <a:off x="359626" y="4105766"/>
            <a:ext cx="2420278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Transparent sharing of long-term produce needs and yield projections, enabling direct farmer relationships</a:t>
            </a:r>
          </a:p>
        </p:txBody>
      </p:sp>
      <p:sp>
        <p:nvSpPr>
          <p:cNvPr id="81" name="McK 1. On-page tracker"/>
          <p:cNvSpPr>
            <a:spLocks noChangeArrowheads="1"/>
          </p:cNvSpPr>
          <p:nvPr/>
        </p:nvSpPr>
        <p:spPr bwMode="gray">
          <a:xfrm>
            <a:off x="121488" y="27537"/>
            <a:ext cx="9335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dirty="0" smtClean="0">
                <a:solidFill>
                  <a:srgbClr val="808080"/>
                </a:solidFill>
                <a:latin typeface="Arial Narrow" pitchFamily="34" charset="0"/>
                <a:ea typeface="+mj-ea"/>
              </a:rPr>
              <a:t>COMPASS</a:t>
            </a:r>
            <a:endParaRPr lang="en-US" b="1" baseline="0" noProof="0" dirty="0">
              <a:solidFill>
                <a:srgbClr val="FF0000"/>
              </a:solidFill>
              <a:latin typeface="Arial Narrow" pitchFamily="34" charset="0"/>
              <a:ea typeface="+mj-ea"/>
            </a:endParaRPr>
          </a:p>
        </p:txBody>
      </p:sp>
      <p:grpSp>
        <p:nvGrpSpPr>
          <p:cNvPr id="4" name="Group 81"/>
          <p:cNvGrpSpPr/>
          <p:nvPr/>
        </p:nvGrpSpPr>
        <p:grpSpPr bwMode="gray">
          <a:xfrm>
            <a:off x="483091" y="5420175"/>
            <a:ext cx="1949189" cy="276999"/>
            <a:chOff x="473445" y="3865477"/>
            <a:chExt cx="1910273" cy="271485"/>
          </a:xfrm>
        </p:grpSpPr>
        <p:sp>
          <p:nvSpPr>
            <p:cNvPr id="83" name="RectangleLegend1"/>
            <p:cNvSpPr>
              <a:spLocks noChangeArrowheads="1"/>
            </p:cNvSpPr>
            <p:nvPr/>
          </p:nvSpPr>
          <p:spPr bwMode="gray">
            <a:xfrm>
              <a:off x="473445" y="3893030"/>
              <a:ext cx="165100" cy="160338"/>
            </a:xfrm>
            <a:prstGeom prst="rect">
              <a:avLst/>
            </a:prstGeom>
            <a:solidFill>
              <a:srgbClr val="27AAE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84" name="Legend1"/>
            <p:cNvSpPr>
              <a:spLocks noChangeArrowheads="1"/>
            </p:cNvSpPr>
            <p:nvPr/>
          </p:nvSpPr>
          <p:spPr bwMode="gray">
            <a:xfrm>
              <a:off x="727445" y="3865477"/>
              <a:ext cx="1656273" cy="2714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dirty="0" smtClean="0">
                  <a:latin typeface="+mn-lt"/>
                </a:rPr>
                <a:t>Demand forecasts</a:t>
              </a:r>
              <a:endParaRPr lang="en-US" dirty="0">
                <a:latin typeface="+mn-lt"/>
              </a:endParaRPr>
            </a:p>
          </p:txBody>
        </p:sp>
      </p:grpSp>
      <p:grpSp>
        <p:nvGrpSpPr>
          <p:cNvPr id="5" name="Group 86"/>
          <p:cNvGrpSpPr/>
          <p:nvPr/>
        </p:nvGrpSpPr>
        <p:grpSpPr bwMode="gray">
          <a:xfrm>
            <a:off x="488286" y="5799188"/>
            <a:ext cx="2114619" cy="276999"/>
            <a:chOff x="478537" y="4167660"/>
            <a:chExt cx="2072400" cy="271485"/>
          </a:xfrm>
        </p:grpSpPr>
        <p:sp>
          <p:nvSpPr>
            <p:cNvPr id="88" name="RectangleLegend1"/>
            <p:cNvSpPr>
              <a:spLocks noChangeArrowheads="1"/>
            </p:cNvSpPr>
            <p:nvPr/>
          </p:nvSpPr>
          <p:spPr bwMode="gray">
            <a:xfrm>
              <a:off x="478537" y="4178773"/>
              <a:ext cx="165100" cy="160338"/>
            </a:xfrm>
            <a:prstGeom prst="rect">
              <a:avLst/>
            </a:prstGeom>
            <a:solidFill>
              <a:srgbClr val="E4CA0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89" name="Legend1"/>
            <p:cNvSpPr>
              <a:spLocks noChangeArrowheads="1"/>
            </p:cNvSpPr>
            <p:nvPr/>
          </p:nvSpPr>
          <p:spPr bwMode="gray">
            <a:xfrm>
              <a:off x="732537" y="4167660"/>
              <a:ext cx="1818400" cy="2714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dirty="0" smtClean="0">
                  <a:latin typeface="+mn-lt"/>
                </a:rPr>
                <a:t>Production capacity</a:t>
              </a:r>
              <a:endParaRPr lang="en-US" dirty="0">
                <a:latin typeface="+mn-lt"/>
              </a:endParaRPr>
            </a:p>
          </p:txBody>
        </p:sp>
      </p:grpSp>
      <p:sp>
        <p:nvSpPr>
          <p:cNvPr id="22" name="Oval 21"/>
          <p:cNvSpPr/>
          <p:nvPr/>
        </p:nvSpPr>
        <p:spPr bwMode="gray">
          <a:xfrm>
            <a:off x="5200122" y="3136431"/>
            <a:ext cx="1363310" cy="94911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48" tIns="46648" rIns="46648" bIns="46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Work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1290025" y="1099333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Raw materials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3733035" y="1096978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ier 2/3 suppliers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6338549" y="1240249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ier 1 suppliers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5236251" y="4744931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tores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7130169" y="3209933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uyer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3312100" y="3209933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nsumers</a:t>
            </a:r>
          </a:p>
        </p:txBody>
      </p:sp>
    </p:spTree>
    <p:extLst>
      <p:ext uri="{BB962C8B-B14F-4D97-AF65-F5344CB8AC3E}">
        <p14:creationId xmlns:p14="http://schemas.microsoft.com/office/powerpoint/2010/main" val="2664613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5994244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8" name="Rounded Rectangle 97"/>
          <p:cNvSpPr/>
          <p:nvPr/>
        </p:nvSpPr>
        <p:spPr bwMode="gray">
          <a:xfrm>
            <a:off x="224311" y="2907172"/>
            <a:ext cx="2627764" cy="3312178"/>
          </a:xfrm>
          <a:prstGeom prst="roundRect">
            <a:avLst>
              <a:gd name="adj" fmla="val 8274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0" name="Rounded Rectangle 39"/>
          <p:cNvSpPr/>
          <p:nvPr/>
        </p:nvSpPr>
        <p:spPr bwMode="gray">
          <a:xfrm>
            <a:off x="302438" y="2988963"/>
            <a:ext cx="839725" cy="83967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b="1" baseline="30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Freeform 3"/>
          <p:cNvSpPr>
            <a:spLocks/>
          </p:cNvSpPr>
          <p:nvPr/>
        </p:nvSpPr>
        <p:spPr bwMode="gray">
          <a:xfrm>
            <a:off x="1117462" y="990403"/>
            <a:ext cx="5020369" cy="1542024"/>
          </a:xfrm>
          <a:custGeom>
            <a:avLst/>
            <a:gdLst>
              <a:gd name="T0" fmla="*/ 0 w 2554"/>
              <a:gd name="T1" fmla="*/ 0 h 890"/>
              <a:gd name="T2" fmla="*/ 2147483647 w 2554"/>
              <a:gd name="T3" fmla="*/ 0 h 890"/>
              <a:gd name="T4" fmla="*/ 2147483647 w 2554"/>
              <a:gd name="T5" fmla="*/ 2147483647 h 890"/>
              <a:gd name="T6" fmla="*/ 2147483647 w 2554"/>
              <a:gd name="T7" fmla="*/ 2147483647 h 890"/>
              <a:gd name="T8" fmla="*/ 0 w 2554"/>
              <a:gd name="T9" fmla="*/ 2147483647 h 890"/>
              <a:gd name="T10" fmla="*/ 0 w 2554"/>
              <a:gd name="T11" fmla="*/ 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554"/>
              <a:gd name="T19" fmla="*/ 0 h 890"/>
              <a:gd name="T20" fmla="*/ 2554 w 2554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554" h="890">
                <a:moveTo>
                  <a:pt x="0" y="0"/>
                </a:moveTo>
                <a:lnTo>
                  <a:pt x="2368" y="0"/>
                </a:lnTo>
                <a:lnTo>
                  <a:pt x="2554" y="457"/>
                </a:lnTo>
                <a:lnTo>
                  <a:pt x="2370" y="889"/>
                </a:lnTo>
                <a:lnTo>
                  <a:pt x="0" y="89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3296" tIns="46648" rIns="93296" bIns="46648">
            <a:noAutofit/>
          </a:bodyPr>
          <a:lstStyle/>
          <a:p>
            <a:endParaRPr lang="en-US" dirty="0"/>
          </a:p>
        </p:txBody>
      </p:sp>
      <p:grpSp>
        <p:nvGrpSpPr>
          <p:cNvPr id="3" name="Group 49"/>
          <p:cNvGrpSpPr>
            <a:grpSpLocks/>
          </p:cNvGrpSpPr>
          <p:nvPr/>
        </p:nvGrpSpPr>
        <p:grpSpPr bwMode="gray">
          <a:xfrm>
            <a:off x="3094956" y="986835"/>
            <a:ext cx="5611479" cy="5252515"/>
            <a:chOff x="-84370714" y="-50229900"/>
            <a:chExt cx="92615078" cy="92947206"/>
          </a:xfrm>
          <a:solidFill>
            <a:schemeClr val="bg2">
              <a:lumMod val="9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64" name="Freeform 5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-38375416" y="-50229900"/>
              <a:ext cx="46619780" cy="57270904"/>
            </a:xfrm>
            <a:custGeom>
              <a:avLst/>
              <a:gdLst>
                <a:gd name="T0" fmla="*/ 2147483647 w 1530"/>
                <a:gd name="T1" fmla="*/ 2147483647 h 1871"/>
                <a:gd name="T2" fmla="*/ 2147483647 w 1530"/>
                <a:gd name="T3" fmla="*/ 2147483647 h 1871"/>
                <a:gd name="T4" fmla="*/ 2147483647 w 1530"/>
                <a:gd name="T5" fmla="*/ 2147483647 h 1871"/>
                <a:gd name="T6" fmla="*/ 2147483647 w 1530"/>
                <a:gd name="T7" fmla="*/ 2147483647 h 1871"/>
                <a:gd name="T8" fmla="*/ 2147483647 w 1530"/>
                <a:gd name="T9" fmla="*/ 2147483647 h 1871"/>
                <a:gd name="T10" fmla="*/ 2147483647 w 1530"/>
                <a:gd name="T11" fmla="*/ 2147483647 h 1871"/>
                <a:gd name="T12" fmla="*/ 2147483647 w 1530"/>
                <a:gd name="T13" fmla="*/ 2147483647 h 1871"/>
                <a:gd name="T14" fmla="*/ 2147483647 w 1530"/>
                <a:gd name="T15" fmla="*/ 2147483647 h 1871"/>
                <a:gd name="T16" fmla="*/ 2147483647 w 1530"/>
                <a:gd name="T17" fmla="*/ 2147483647 h 1871"/>
                <a:gd name="T18" fmla="*/ 2147483647 w 1530"/>
                <a:gd name="T19" fmla="*/ 2147483647 h 1871"/>
                <a:gd name="T20" fmla="*/ 2147483647 w 1530"/>
                <a:gd name="T21" fmla="*/ 2147483647 h 1871"/>
                <a:gd name="T22" fmla="*/ 2147483647 w 1530"/>
                <a:gd name="T23" fmla="*/ 2147483647 h 1871"/>
                <a:gd name="T24" fmla="*/ 2147483647 w 1530"/>
                <a:gd name="T25" fmla="*/ 2147483647 h 1871"/>
                <a:gd name="T26" fmla="*/ 2147483647 w 1530"/>
                <a:gd name="T27" fmla="*/ 2147483647 h 1871"/>
                <a:gd name="T28" fmla="*/ 2147483647 w 1530"/>
                <a:gd name="T29" fmla="*/ 2147483647 h 1871"/>
                <a:gd name="T30" fmla="*/ 2147483647 w 1530"/>
                <a:gd name="T31" fmla="*/ 2147483647 h 1871"/>
                <a:gd name="T32" fmla="*/ 2147483647 w 1530"/>
                <a:gd name="T33" fmla="*/ 2147483647 h 1871"/>
                <a:gd name="T34" fmla="*/ 2147483647 w 1530"/>
                <a:gd name="T35" fmla="*/ 2147483647 h 1871"/>
                <a:gd name="T36" fmla="*/ 2147483647 w 1530"/>
                <a:gd name="T37" fmla="*/ 2147483647 h 1871"/>
                <a:gd name="T38" fmla="*/ 2147483647 w 1530"/>
                <a:gd name="T39" fmla="*/ 2147483647 h 1871"/>
                <a:gd name="T40" fmla="*/ 2147483647 w 1530"/>
                <a:gd name="T41" fmla="*/ 2147483647 h 1871"/>
                <a:gd name="T42" fmla="*/ 2147483647 w 1530"/>
                <a:gd name="T43" fmla="*/ 2147483647 h 1871"/>
                <a:gd name="T44" fmla="*/ 2147483647 w 1530"/>
                <a:gd name="T45" fmla="*/ 2147483647 h 1871"/>
                <a:gd name="T46" fmla="*/ 2147483647 w 1530"/>
                <a:gd name="T47" fmla="*/ 2147483647 h 1871"/>
                <a:gd name="T48" fmla="*/ 2147483647 w 1530"/>
                <a:gd name="T49" fmla="*/ 2147483647 h 1871"/>
                <a:gd name="T50" fmla="*/ 2147483647 w 1530"/>
                <a:gd name="T51" fmla="*/ 2147483647 h 1871"/>
                <a:gd name="T52" fmla="*/ 2147483647 w 1530"/>
                <a:gd name="T53" fmla="*/ 2147483647 h 1871"/>
                <a:gd name="T54" fmla="*/ 2147483647 w 1530"/>
                <a:gd name="T55" fmla="*/ 2147483647 h 1871"/>
                <a:gd name="T56" fmla="*/ 2147483647 w 1530"/>
                <a:gd name="T57" fmla="*/ 2147483647 h 1871"/>
                <a:gd name="T58" fmla="*/ 2147483647 w 1530"/>
                <a:gd name="T59" fmla="*/ 2147483647 h 1871"/>
                <a:gd name="T60" fmla="*/ 2147483647 w 1530"/>
                <a:gd name="T61" fmla="*/ 2147483647 h 1871"/>
                <a:gd name="T62" fmla="*/ 2147483647 w 1530"/>
                <a:gd name="T63" fmla="*/ 2147483647 h 1871"/>
                <a:gd name="T64" fmla="*/ 2147483647 w 1530"/>
                <a:gd name="T65" fmla="*/ 2147483647 h 1871"/>
                <a:gd name="T66" fmla="*/ 2147483647 w 1530"/>
                <a:gd name="T67" fmla="*/ 2147483647 h 1871"/>
                <a:gd name="T68" fmla="*/ 2147483647 w 1530"/>
                <a:gd name="T69" fmla="*/ 2147483647 h 1871"/>
                <a:gd name="T70" fmla="*/ 2147483647 w 1530"/>
                <a:gd name="T71" fmla="*/ 2147483647 h 1871"/>
                <a:gd name="T72" fmla="*/ 2147483647 w 1530"/>
                <a:gd name="T73" fmla="*/ 2147483647 h 1871"/>
                <a:gd name="T74" fmla="*/ 2147483647 w 1530"/>
                <a:gd name="T75" fmla="*/ 2147483647 h 1871"/>
                <a:gd name="T76" fmla="*/ 2147483647 w 1530"/>
                <a:gd name="T77" fmla="*/ 2147483647 h 1871"/>
                <a:gd name="T78" fmla="*/ 2147483647 w 1530"/>
                <a:gd name="T79" fmla="*/ 2147483647 h 1871"/>
                <a:gd name="T80" fmla="*/ 2147483647 w 1530"/>
                <a:gd name="T81" fmla="*/ 2147483647 h 1871"/>
                <a:gd name="T82" fmla="*/ 2147483647 w 1530"/>
                <a:gd name="T83" fmla="*/ 2147483647 h 1871"/>
                <a:gd name="T84" fmla="*/ 2147483647 w 1530"/>
                <a:gd name="T85" fmla="*/ 2147483647 h 1871"/>
                <a:gd name="T86" fmla="*/ 2147483647 w 1530"/>
                <a:gd name="T87" fmla="*/ 2147483647 h 1871"/>
                <a:gd name="T88" fmla="*/ 2147483647 w 1530"/>
                <a:gd name="T89" fmla="*/ 2147483647 h 1871"/>
                <a:gd name="T90" fmla="*/ 2147483647 w 1530"/>
                <a:gd name="T91" fmla="*/ 2147483647 h 1871"/>
                <a:gd name="T92" fmla="*/ 2147483647 w 1530"/>
                <a:gd name="T93" fmla="*/ 2147483647 h 1871"/>
                <a:gd name="T94" fmla="*/ 2147483647 w 1530"/>
                <a:gd name="T95" fmla="*/ 2147483647 h 1871"/>
                <a:gd name="T96" fmla="*/ 2147483647 w 1530"/>
                <a:gd name="T97" fmla="*/ 0 h 1871"/>
                <a:gd name="T98" fmla="*/ 2147483647 w 1530"/>
                <a:gd name="T99" fmla="*/ 2147483647 h 187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530"/>
                <a:gd name="T151" fmla="*/ 0 h 1871"/>
                <a:gd name="T152" fmla="*/ 1530 w 1530"/>
                <a:gd name="T153" fmla="*/ 1871 h 1871"/>
                <a:gd name="connsiteX0" fmla="*/ 26 w 10000"/>
                <a:gd name="connsiteY0" fmla="*/ 4768 h 10000"/>
                <a:gd name="connsiteX1" fmla="*/ 59 w 10000"/>
                <a:gd name="connsiteY1" fmla="*/ 4762 h 10000"/>
                <a:gd name="connsiteX2" fmla="*/ 163 w 10000"/>
                <a:gd name="connsiteY2" fmla="*/ 4762 h 10000"/>
                <a:gd name="connsiteX3" fmla="*/ 268 w 10000"/>
                <a:gd name="connsiteY3" fmla="*/ 4768 h 10000"/>
                <a:gd name="connsiteX4" fmla="*/ 373 w 10000"/>
                <a:gd name="connsiteY4" fmla="*/ 4773 h 10000"/>
                <a:gd name="connsiteX5" fmla="*/ 477 w 10000"/>
                <a:gd name="connsiteY5" fmla="*/ 4778 h 10000"/>
                <a:gd name="connsiteX6" fmla="*/ 582 w 10000"/>
                <a:gd name="connsiteY6" fmla="*/ 4794 h 10000"/>
                <a:gd name="connsiteX7" fmla="*/ 686 w 10000"/>
                <a:gd name="connsiteY7" fmla="*/ 4805 h 10000"/>
                <a:gd name="connsiteX8" fmla="*/ 784 w 10000"/>
                <a:gd name="connsiteY8" fmla="*/ 4816 h 10000"/>
                <a:gd name="connsiteX9" fmla="*/ 882 w 10000"/>
                <a:gd name="connsiteY9" fmla="*/ 4832 h 10000"/>
                <a:gd name="connsiteX10" fmla="*/ 987 w 10000"/>
                <a:gd name="connsiteY10" fmla="*/ 4848 h 10000"/>
                <a:gd name="connsiteX11" fmla="*/ 1085 w 10000"/>
                <a:gd name="connsiteY11" fmla="*/ 4869 h 10000"/>
                <a:gd name="connsiteX12" fmla="*/ 1183 w 10000"/>
                <a:gd name="connsiteY12" fmla="*/ 4890 h 10000"/>
                <a:gd name="connsiteX13" fmla="*/ 1281 w 10000"/>
                <a:gd name="connsiteY13" fmla="*/ 4912 h 10000"/>
                <a:gd name="connsiteX14" fmla="*/ 1373 w 10000"/>
                <a:gd name="connsiteY14" fmla="*/ 4939 h 10000"/>
                <a:gd name="connsiteX15" fmla="*/ 1471 w 10000"/>
                <a:gd name="connsiteY15" fmla="*/ 4965 h 10000"/>
                <a:gd name="connsiteX16" fmla="*/ 1562 w 10000"/>
                <a:gd name="connsiteY16" fmla="*/ 4997 h 10000"/>
                <a:gd name="connsiteX17" fmla="*/ 1654 w 10000"/>
                <a:gd name="connsiteY17" fmla="*/ 5029 h 10000"/>
                <a:gd name="connsiteX18" fmla="*/ 1745 w 10000"/>
                <a:gd name="connsiteY18" fmla="*/ 5061 h 10000"/>
                <a:gd name="connsiteX19" fmla="*/ 1837 w 10000"/>
                <a:gd name="connsiteY19" fmla="*/ 5094 h 10000"/>
                <a:gd name="connsiteX20" fmla="*/ 1928 w 10000"/>
                <a:gd name="connsiteY20" fmla="*/ 5131 h 10000"/>
                <a:gd name="connsiteX21" fmla="*/ 2020 w 10000"/>
                <a:gd name="connsiteY21" fmla="*/ 5168 h 10000"/>
                <a:gd name="connsiteX22" fmla="*/ 2105 w 10000"/>
                <a:gd name="connsiteY22" fmla="*/ 5211 h 10000"/>
                <a:gd name="connsiteX23" fmla="*/ 2190 w 10000"/>
                <a:gd name="connsiteY23" fmla="*/ 5249 h 10000"/>
                <a:gd name="connsiteX24" fmla="*/ 2275 w 10000"/>
                <a:gd name="connsiteY24" fmla="*/ 5291 h 10000"/>
                <a:gd name="connsiteX25" fmla="*/ 2353 w 10000"/>
                <a:gd name="connsiteY25" fmla="*/ 5334 h 10000"/>
                <a:gd name="connsiteX26" fmla="*/ 2438 w 10000"/>
                <a:gd name="connsiteY26" fmla="*/ 5382 h 10000"/>
                <a:gd name="connsiteX27" fmla="*/ 2516 w 10000"/>
                <a:gd name="connsiteY27" fmla="*/ 5430 h 10000"/>
                <a:gd name="connsiteX28" fmla="*/ 2595 w 10000"/>
                <a:gd name="connsiteY28" fmla="*/ 5478 h 10000"/>
                <a:gd name="connsiteX29" fmla="*/ 2673 w 10000"/>
                <a:gd name="connsiteY29" fmla="*/ 5526 h 10000"/>
                <a:gd name="connsiteX30" fmla="*/ 2752 w 10000"/>
                <a:gd name="connsiteY30" fmla="*/ 5580 h 10000"/>
                <a:gd name="connsiteX31" fmla="*/ 2824 w 10000"/>
                <a:gd name="connsiteY31" fmla="*/ 5633 h 10000"/>
                <a:gd name="connsiteX32" fmla="*/ 2895 w 10000"/>
                <a:gd name="connsiteY32" fmla="*/ 5687 h 10000"/>
                <a:gd name="connsiteX33" fmla="*/ 2967 w 10000"/>
                <a:gd name="connsiteY33" fmla="*/ 5746 h 10000"/>
                <a:gd name="connsiteX34" fmla="*/ 3033 w 10000"/>
                <a:gd name="connsiteY34" fmla="*/ 5804 h 10000"/>
                <a:gd name="connsiteX35" fmla="*/ 3105 w 10000"/>
                <a:gd name="connsiteY35" fmla="*/ 5863 h 10000"/>
                <a:gd name="connsiteX36" fmla="*/ 3170 w 10000"/>
                <a:gd name="connsiteY36" fmla="*/ 5922 h 10000"/>
                <a:gd name="connsiteX37" fmla="*/ 3229 w 10000"/>
                <a:gd name="connsiteY37" fmla="*/ 5986 h 10000"/>
                <a:gd name="connsiteX38" fmla="*/ 3294 w 10000"/>
                <a:gd name="connsiteY38" fmla="*/ 6045 h 10000"/>
                <a:gd name="connsiteX39" fmla="*/ 3353 w 10000"/>
                <a:gd name="connsiteY39" fmla="*/ 6109 h 10000"/>
                <a:gd name="connsiteX40" fmla="*/ 3412 w 10000"/>
                <a:gd name="connsiteY40" fmla="*/ 6173 h 10000"/>
                <a:gd name="connsiteX41" fmla="*/ 3471 w 10000"/>
                <a:gd name="connsiteY41" fmla="*/ 6237 h 10000"/>
                <a:gd name="connsiteX42" fmla="*/ 3523 w 10000"/>
                <a:gd name="connsiteY42" fmla="*/ 6307 h 10000"/>
                <a:gd name="connsiteX43" fmla="*/ 3575 w 10000"/>
                <a:gd name="connsiteY43" fmla="*/ 6376 h 10000"/>
                <a:gd name="connsiteX44" fmla="*/ 3627 w 10000"/>
                <a:gd name="connsiteY44" fmla="*/ 6446 h 10000"/>
                <a:gd name="connsiteX45" fmla="*/ 3680 w 10000"/>
                <a:gd name="connsiteY45" fmla="*/ 6515 h 10000"/>
                <a:gd name="connsiteX46" fmla="*/ 3719 w 10000"/>
                <a:gd name="connsiteY46" fmla="*/ 6590 h 10000"/>
                <a:gd name="connsiteX47" fmla="*/ 3771 w 10000"/>
                <a:gd name="connsiteY47" fmla="*/ 6665 h 10000"/>
                <a:gd name="connsiteX48" fmla="*/ 3810 w 10000"/>
                <a:gd name="connsiteY48" fmla="*/ 6734 h 10000"/>
                <a:gd name="connsiteX49" fmla="*/ 3850 w 10000"/>
                <a:gd name="connsiteY49" fmla="*/ 6809 h 10000"/>
                <a:gd name="connsiteX50" fmla="*/ 3889 w 10000"/>
                <a:gd name="connsiteY50" fmla="*/ 6884 h 10000"/>
                <a:gd name="connsiteX51" fmla="*/ 3922 w 10000"/>
                <a:gd name="connsiteY51" fmla="*/ 6959 h 10000"/>
                <a:gd name="connsiteX52" fmla="*/ 3954 w 10000"/>
                <a:gd name="connsiteY52" fmla="*/ 7039 h 10000"/>
                <a:gd name="connsiteX53" fmla="*/ 3987 w 10000"/>
                <a:gd name="connsiteY53" fmla="*/ 7119 h 10000"/>
                <a:gd name="connsiteX54" fmla="*/ 4020 w 10000"/>
                <a:gd name="connsiteY54" fmla="*/ 7194 h 10000"/>
                <a:gd name="connsiteX55" fmla="*/ 4046 w 10000"/>
                <a:gd name="connsiteY55" fmla="*/ 7274 h 10000"/>
                <a:gd name="connsiteX56" fmla="*/ 4065 w 10000"/>
                <a:gd name="connsiteY56" fmla="*/ 7354 h 10000"/>
                <a:gd name="connsiteX57" fmla="*/ 4092 w 10000"/>
                <a:gd name="connsiteY57" fmla="*/ 7440 h 10000"/>
                <a:gd name="connsiteX58" fmla="*/ 4111 w 10000"/>
                <a:gd name="connsiteY58" fmla="*/ 7520 h 10000"/>
                <a:gd name="connsiteX59" fmla="*/ 4131 w 10000"/>
                <a:gd name="connsiteY59" fmla="*/ 7600 h 10000"/>
                <a:gd name="connsiteX60" fmla="*/ 4144 w 10000"/>
                <a:gd name="connsiteY60" fmla="*/ 7686 h 10000"/>
                <a:gd name="connsiteX61" fmla="*/ 4157 w 10000"/>
                <a:gd name="connsiteY61" fmla="*/ 7771 h 10000"/>
                <a:gd name="connsiteX62" fmla="*/ 4163 w 10000"/>
                <a:gd name="connsiteY62" fmla="*/ 7857 h 10000"/>
                <a:gd name="connsiteX63" fmla="*/ 4170 w 10000"/>
                <a:gd name="connsiteY63" fmla="*/ 7942 h 10000"/>
                <a:gd name="connsiteX64" fmla="*/ 4170 w 10000"/>
                <a:gd name="connsiteY64" fmla="*/ 8028 h 10000"/>
                <a:gd name="connsiteX65" fmla="*/ 4176 w 10000"/>
                <a:gd name="connsiteY65" fmla="*/ 8113 h 10000"/>
                <a:gd name="connsiteX66" fmla="*/ 4170 w 10000"/>
                <a:gd name="connsiteY66" fmla="*/ 8226 h 10000"/>
                <a:gd name="connsiteX67" fmla="*/ 4163 w 10000"/>
                <a:gd name="connsiteY67" fmla="*/ 8343 h 10000"/>
                <a:gd name="connsiteX68" fmla="*/ 4157 w 10000"/>
                <a:gd name="connsiteY68" fmla="*/ 8450 h 10000"/>
                <a:gd name="connsiteX69" fmla="*/ 4137 w 10000"/>
                <a:gd name="connsiteY69" fmla="*/ 8562 h 10000"/>
                <a:gd name="connsiteX70" fmla="*/ 6739 w 10000"/>
                <a:gd name="connsiteY70" fmla="*/ 10000 h 10000"/>
                <a:gd name="connsiteX71" fmla="*/ 9850 w 10000"/>
                <a:gd name="connsiteY71" fmla="*/ 9498 h 10000"/>
                <a:gd name="connsiteX72" fmla="*/ 9889 w 10000"/>
                <a:gd name="connsiteY72" fmla="*/ 9332 h 10000"/>
                <a:gd name="connsiteX73" fmla="*/ 9915 w 10000"/>
                <a:gd name="connsiteY73" fmla="*/ 9161 h 10000"/>
                <a:gd name="connsiteX74" fmla="*/ 9941 w 10000"/>
                <a:gd name="connsiteY74" fmla="*/ 8990 h 10000"/>
                <a:gd name="connsiteX75" fmla="*/ 9961 w 10000"/>
                <a:gd name="connsiteY75" fmla="*/ 8813 h 10000"/>
                <a:gd name="connsiteX76" fmla="*/ 9974 w 10000"/>
                <a:gd name="connsiteY76" fmla="*/ 8637 h 10000"/>
                <a:gd name="connsiteX77" fmla="*/ 9987 w 10000"/>
                <a:gd name="connsiteY77" fmla="*/ 8466 h 10000"/>
                <a:gd name="connsiteX78" fmla="*/ 9993 w 10000"/>
                <a:gd name="connsiteY78" fmla="*/ 8290 h 10000"/>
                <a:gd name="connsiteX79" fmla="*/ 10000 w 10000"/>
                <a:gd name="connsiteY79" fmla="*/ 8113 h 10000"/>
                <a:gd name="connsiteX80" fmla="*/ 9993 w 10000"/>
                <a:gd name="connsiteY80" fmla="*/ 7900 h 10000"/>
                <a:gd name="connsiteX81" fmla="*/ 9987 w 10000"/>
                <a:gd name="connsiteY81" fmla="*/ 7696 h 10000"/>
                <a:gd name="connsiteX82" fmla="*/ 9967 w 10000"/>
                <a:gd name="connsiteY82" fmla="*/ 7488 h 10000"/>
                <a:gd name="connsiteX83" fmla="*/ 9948 w 10000"/>
                <a:gd name="connsiteY83" fmla="*/ 7285 h 10000"/>
                <a:gd name="connsiteX84" fmla="*/ 9915 w 10000"/>
                <a:gd name="connsiteY84" fmla="*/ 7076 h 10000"/>
                <a:gd name="connsiteX85" fmla="*/ 9882 w 10000"/>
                <a:gd name="connsiteY85" fmla="*/ 6879 h 10000"/>
                <a:gd name="connsiteX86" fmla="*/ 9843 w 10000"/>
                <a:gd name="connsiteY86" fmla="*/ 6676 h 10000"/>
                <a:gd name="connsiteX87" fmla="*/ 9797 w 10000"/>
                <a:gd name="connsiteY87" fmla="*/ 6478 h 10000"/>
                <a:gd name="connsiteX88" fmla="*/ 9745 w 10000"/>
                <a:gd name="connsiteY88" fmla="*/ 6280 h 10000"/>
                <a:gd name="connsiteX89" fmla="*/ 9686 w 10000"/>
                <a:gd name="connsiteY89" fmla="*/ 6088 h 10000"/>
                <a:gd name="connsiteX90" fmla="*/ 9621 w 10000"/>
                <a:gd name="connsiteY90" fmla="*/ 5890 h 10000"/>
                <a:gd name="connsiteX91" fmla="*/ 9556 w 10000"/>
                <a:gd name="connsiteY91" fmla="*/ 5697 h 10000"/>
                <a:gd name="connsiteX92" fmla="*/ 9477 w 10000"/>
                <a:gd name="connsiteY92" fmla="*/ 5510 h 10000"/>
                <a:gd name="connsiteX93" fmla="*/ 9399 w 10000"/>
                <a:gd name="connsiteY93" fmla="*/ 5323 h 10000"/>
                <a:gd name="connsiteX94" fmla="*/ 9307 w 10000"/>
                <a:gd name="connsiteY94" fmla="*/ 5136 h 10000"/>
                <a:gd name="connsiteX95" fmla="*/ 9216 w 10000"/>
                <a:gd name="connsiteY95" fmla="*/ 4955 h 10000"/>
                <a:gd name="connsiteX96" fmla="*/ 9124 w 10000"/>
                <a:gd name="connsiteY96" fmla="*/ 4773 h 10000"/>
                <a:gd name="connsiteX97" fmla="*/ 9020 w 10000"/>
                <a:gd name="connsiteY97" fmla="*/ 4596 h 10000"/>
                <a:gd name="connsiteX98" fmla="*/ 8915 w 10000"/>
                <a:gd name="connsiteY98" fmla="*/ 4420 h 10000"/>
                <a:gd name="connsiteX99" fmla="*/ 8804 w 10000"/>
                <a:gd name="connsiteY99" fmla="*/ 4244 h 10000"/>
                <a:gd name="connsiteX100" fmla="*/ 8686 w 10000"/>
                <a:gd name="connsiteY100" fmla="*/ 4073 h 10000"/>
                <a:gd name="connsiteX101" fmla="*/ 8562 w 10000"/>
                <a:gd name="connsiteY101" fmla="*/ 3907 h 10000"/>
                <a:gd name="connsiteX102" fmla="*/ 8438 w 10000"/>
                <a:gd name="connsiteY102" fmla="*/ 3741 h 10000"/>
                <a:gd name="connsiteX103" fmla="*/ 8307 w 10000"/>
                <a:gd name="connsiteY103" fmla="*/ 3576 h 10000"/>
                <a:gd name="connsiteX104" fmla="*/ 8170 w 10000"/>
                <a:gd name="connsiteY104" fmla="*/ 3415 h 10000"/>
                <a:gd name="connsiteX105" fmla="*/ 8026 w 10000"/>
                <a:gd name="connsiteY105" fmla="*/ 3260 h 10000"/>
                <a:gd name="connsiteX106" fmla="*/ 7882 w 10000"/>
                <a:gd name="connsiteY106" fmla="*/ 3105 h 10000"/>
                <a:gd name="connsiteX107" fmla="*/ 7732 w 10000"/>
                <a:gd name="connsiteY107" fmla="*/ 2950 h 10000"/>
                <a:gd name="connsiteX108" fmla="*/ 7582 w 10000"/>
                <a:gd name="connsiteY108" fmla="*/ 2806 h 10000"/>
                <a:gd name="connsiteX109" fmla="*/ 7418 w 10000"/>
                <a:gd name="connsiteY109" fmla="*/ 2662 h 10000"/>
                <a:gd name="connsiteX110" fmla="*/ 7261 w 10000"/>
                <a:gd name="connsiteY110" fmla="*/ 2517 h 10000"/>
                <a:gd name="connsiteX111" fmla="*/ 7092 w 10000"/>
                <a:gd name="connsiteY111" fmla="*/ 2373 h 10000"/>
                <a:gd name="connsiteX112" fmla="*/ 6922 w 10000"/>
                <a:gd name="connsiteY112" fmla="*/ 2239 h 10000"/>
                <a:gd name="connsiteX113" fmla="*/ 6752 w 10000"/>
                <a:gd name="connsiteY113" fmla="*/ 2106 h 10000"/>
                <a:gd name="connsiteX114" fmla="*/ 6569 w 10000"/>
                <a:gd name="connsiteY114" fmla="*/ 1978 h 10000"/>
                <a:gd name="connsiteX115" fmla="*/ 6386 w 10000"/>
                <a:gd name="connsiteY115" fmla="*/ 1855 h 10000"/>
                <a:gd name="connsiteX116" fmla="*/ 6203 w 10000"/>
                <a:gd name="connsiteY116" fmla="*/ 1732 h 10000"/>
                <a:gd name="connsiteX117" fmla="*/ 6013 w 10000"/>
                <a:gd name="connsiteY117" fmla="*/ 1614 h 10000"/>
                <a:gd name="connsiteX118" fmla="*/ 5817 w 10000"/>
                <a:gd name="connsiteY118" fmla="*/ 1497 h 10000"/>
                <a:gd name="connsiteX119" fmla="*/ 5621 w 10000"/>
                <a:gd name="connsiteY119" fmla="*/ 1384 h 10000"/>
                <a:gd name="connsiteX120" fmla="*/ 5425 w 10000"/>
                <a:gd name="connsiteY120" fmla="*/ 1277 h 10000"/>
                <a:gd name="connsiteX121" fmla="*/ 5222 w 10000"/>
                <a:gd name="connsiteY121" fmla="*/ 1176 h 10000"/>
                <a:gd name="connsiteX122" fmla="*/ 5020 w 10000"/>
                <a:gd name="connsiteY122" fmla="*/ 1074 h 10000"/>
                <a:gd name="connsiteX123" fmla="*/ 4804 w 10000"/>
                <a:gd name="connsiteY123" fmla="*/ 978 h 10000"/>
                <a:gd name="connsiteX124" fmla="*/ 4595 w 10000"/>
                <a:gd name="connsiteY124" fmla="*/ 887 h 10000"/>
                <a:gd name="connsiteX125" fmla="*/ 4379 w 10000"/>
                <a:gd name="connsiteY125" fmla="*/ 802 h 10000"/>
                <a:gd name="connsiteX126" fmla="*/ 4157 w 10000"/>
                <a:gd name="connsiteY126" fmla="*/ 716 h 10000"/>
                <a:gd name="connsiteX127" fmla="*/ 3941 w 10000"/>
                <a:gd name="connsiteY127" fmla="*/ 636 h 10000"/>
                <a:gd name="connsiteX128" fmla="*/ 3719 w 10000"/>
                <a:gd name="connsiteY128" fmla="*/ 567 h 10000"/>
                <a:gd name="connsiteX129" fmla="*/ 3490 w 10000"/>
                <a:gd name="connsiteY129" fmla="*/ 492 h 10000"/>
                <a:gd name="connsiteX130" fmla="*/ 3261 w 10000"/>
                <a:gd name="connsiteY130" fmla="*/ 428 h 10000"/>
                <a:gd name="connsiteX131" fmla="*/ 3026 w 10000"/>
                <a:gd name="connsiteY131" fmla="*/ 363 h 10000"/>
                <a:gd name="connsiteX132" fmla="*/ 2797 w 10000"/>
                <a:gd name="connsiteY132" fmla="*/ 310 h 10000"/>
                <a:gd name="connsiteX133" fmla="*/ 2556 w 10000"/>
                <a:gd name="connsiteY133" fmla="*/ 257 h 10000"/>
                <a:gd name="connsiteX134" fmla="*/ 2314 w 10000"/>
                <a:gd name="connsiteY134" fmla="*/ 208 h 10000"/>
                <a:gd name="connsiteX135" fmla="*/ 2078 w 10000"/>
                <a:gd name="connsiteY135" fmla="*/ 166 h 10000"/>
                <a:gd name="connsiteX136" fmla="*/ 1837 w 10000"/>
                <a:gd name="connsiteY136" fmla="*/ 128 h 10000"/>
                <a:gd name="connsiteX137" fmla="*/ 1588 w 10000"/>
                <a:gd name="connsiteY137" fmla="*/ 91 h 10000"/>
                <a:gd name="connsiteX138" fmla="*/ 1340 w 10000"/>
                <a:gd name="connsiteY138" fmla="*/ 64 h 10000"/>
                <a:gd name="connsiteX139" fmla="*/ 1092 w 10000"/>
                <a:gd name="connsiteY139" fmla="*/ 43 h 10000"/>
                <a:gd name="connsiteX140" fmla="*/ 843 w 10000"/>
                <a:gd name="connsiteY140" fmla="*/ 27 h 10000"/>
                <a:gd name="connsiteX141" fmla="*/ 588 w 10000"/>
                <a:gd name="connsiteY141" fmla="*/ 11 h 10000"/>
                <a:gd name="connsiteX142" fmla="*/ 333 w 10000"/>
                <a:gd name="connsiteY142" fmla="*/ 5 h 10000"/>
                <a:gd name="connsiteX143" fmla="*/ 78 w 10000"/>
                <a:gd name="connsiteY143" fmla="*/ 0 h 10000"/>
                <a:gd name="connsiteX144" fmla="*/ 0 w 10000"/>
                <a:gd name="connsiteY144" fmla="*/ 5 h 10000"/>
                <a:gd name="connsiteX145" fmla="*/ 1245 w 10000"/>
                <a:gd name="connsiteY145" fmla="*/ 2475 h 10000"/>
                <a:gd name="connsiteX146" fmla="*/ 26 w 10000"/>
                <a:gd name="connsiteY146" fmla="*/ 4768 h 10000"/>
                <a:gd name="connsiteX0" fmla="*/ 26 w 10000"/>
                <a:gd name="connsiteY0" fmla="*/ 4768 h 10000"/>
                <a:gd name="connsiteX1" fmla="*/ 59 w 10000"/>
                <a:gd name="connsiteY1" fmla="*/ 4762 h 10000"/>
                <a:gd name="connsiteX2" fmla="*/ 163 w 10000"/>
                <a:gd name="connsiteY2" fmla="*/ 4762 h 10000"/>
                <a:gd name="connsiteX3" fmla="*/ 268 w 10000"/>
                <a:gd name="connsiteY3" fmla="*/ 4768 h 10000"/>
                <a:gd name="connsiteX4" fmla="*/ 373 w 10000"/>
                <a:gd name="connsiteY4" fmla="*/ 4773 h 10000"/>
                <a:gd name="connsiteX5" fmla="*/ 477 w 10000"/>
                <a:gd name="connsiteY5" fmla="*/ 4778 h 10000"/>
                <a:gd name="connsiteX6" fmla="*/ 582 w 10000"/>
                <a:gd name="connsiteY6" fmla="*/ 4794 h 10000"/>
                <a:gd name="connsiteX7" fmla="*/ 686 w 10000"/>
                <a:gd name="connsiteY7" fmla="*/ 4805 h 10000"/>
                <a:gd name="connsiteX8" fmla="*/ 784 w 10000"/>
                <a:gd name="connsiteY8" fmla="*/ 4816 h 10000"/>
                <a:gd name="connsiteX9" fmla="*/ 882 w 10000"/>
                <a:gd name="connsiteY9" fmla="*/ 4832 h 10000"/>
                <a:gd name="connsiteX10" fmla="*/ 987 w 10000"/>
                <a:gd name="connsiteY10" fmla="*/ 4848 h 10000"/>
                <a:gd name="connsiteX11" fmla="*/ 1085 w 10000"/>
                <a:gd name="connsiteY11" fmla="*/ 4869 h 10000"/>
                <a:gd name="connsiteX12" fmla="*/ 1183 w 10000"/>
                <a:gd name="connsiteY12" fmla="*/ 4890 h 10000"/>
                <a:gd name="connsiteX13" fmla="*/ 1281 w 10000"/>
                <a:gd name="connsiteY13" fmla="*/ 4912 h 10000"/>
                <a:gd name="connsiteX14" fmla="*/ 1373 w 10000"/>
                <a:gd name="connsiteY14" fmla="*/ 4939 h 10000"/>
                <a:gd name="connsiteX15" fmla="*/ 1471 w 10000"/>
                <a:gd name="connsiteY15" fmla="*/ 4965 h 10000"/>
                <a:gd name="connsiteX16" fmla="*/ 1562 w 10000"/>
                <a:gd name="connsiteY16" fmla="*/ 4997 h 10000"/>
                <a:gd name="connsiteX17" fmla="*/ 1654 w 10000"/>
                <a:gd name="connsiteY17" fmla="*/ 5029 h 10000"/>
                <a:gd name="connsiteX18" fmla="*/ 1745 w 10000"/>
                <a:gd name="connsiteY18" fmla="*/ 5061 h 10000"/>
                <a:gd name="connsiteX19" fmla="*/ 1837 w 10000"/>
                <a:gd name="connsiteY19" fmla="*/ 5094 h 10000"/>
                <a:gd name="connsiteX20" fmla="*/ 1928 w 10000"/>
                <a:gd name="connsiteY20" fmla="*/ 5131 h 10000"/>
                <a:gd name="connsiteX21" fmla="*/ 2020 w 10000"/>
                <a:gd name="connsiteY21" fmla="*/ 5168 h 10000"/>
                <a:gd name="connsiteX22" fmla="*/ 2105 w 10000"/>
                <a:gd name="connsiteY22" fmla="*/ 5211 h 10000"/>
                <a:gd name="connsiteX23" fmla="*/ 2190 w 10000"/>
                <a:gd name="connsiteY23" fmla="*/ 5249 h 10000"/>
                <a:gd name="connsiteX24" fmla="*/ 2275 w 10000"/>
                <a:gd name="connsiteY24" fmla="*/ 5291 h 10000"/>
                <a:gd name="connsiteX25" fmla="*/ 2353 w 10000"/>
                <a:gd name="connsiteY25" fmla="*/ 5334 h 10000"/>
                <a:gd name="connsiteX26" fmla="*/ 2438 w 10000"/>
                <a:gd name="connsiteY26" fmla="*/ 5382 h 10000"/>
                <a:gd name="connsiteX27" fmla="*/ 2516 w 10000"/>
                <a:gd name="connsiteY27" fmla="*/ 5430 h 10000"/>
                <a:gd name="connsiteX28" fmla="*/ 2595 w 10000"/>
                <a:gd name="connsiteY28" fmla="*/ 5478 h 10000"/>
                <a:gd name="connsiteX29" fmla="*/ 2673 w 10000"/>
                <a:gd name="connsiteY29" fmla="*/ 5526 h 10000"/>
                <a:gd name="connsiteX30" fmla="*/ 2752 w 10000"/>
                <a:gd name="connsiteY30" fmla="*/ 5580 h 10000"/>
                <a:gd name="connsiteX31" fmla="*/ 2824 w 10000"/>
                <a:gd name="connsiteY31" fmla="*/ 5633 h 10000"/>
                <a:gd name="connsiteX32" fmla="*/ 2895 w 10000"/>
                <a:gd name="connsiteY32" fmla="*/ 5687 h 10000"/>
                <a:gd name="connsiteX33" fmla="*/ 2967 w 10000"/>
                <a:gd name="connsiteY33" fmla="*/ 5746 h 10000"/>
                <a:gd name="connsiteX34" fmla="*/ 3033 w 10000"/>
                <a:gd name="connsiteY34" fmla="*/ 5804 h 10000"/>
                <a:gd name="connsiteX35" fmla="*/ 3105 w 10000"/>
                <a:gd name="connsiteY35" fmla="*/ 5863 h 10000"/>
                <a:gd name="connsiteX36" fmla="*/ 3170 w 10000"/>
                <a:gd name="connsiteY36" fmla="*/ 5922 h 10000"/>
                <a:gd name="connsiteX37" fmla="*/ 3229 w 10000"/>
                <a:gd name="connsiteY37" fmla="*/ 5986 h 10000"/>
                <a:gd name="connsiteX38" fmla="*/ 3294 w 10000"/>
                <a:gd name="connsiteY38" fmla="*/ 6045 h 10000"/>
                <a:gd name="connsiteX39" fmla="*/ 3353 w 10000"/>
                <a:gd name="connsiteY39" fmla="*/ 6109 h 10000"/>
                <a:gd name="connsiteX40" fmla="*/ 3412 w 10000"/>
                <a:gd name="connsiteY40" fmla="*/ 6173 h 10000"/>
                <a:gd name="connsiteX41" fmla="*/ 3471 w 10000"/>
                <a:gd name="connsiteY41" fmla="*/ 6237 h 10000"/>
                <a:gd name="connsiteX42" fmla="*/ 3523 w 10000"/>
                <a:gd name="connsiteY42" fmla="*/ 6307 h 10000"/>
                <a:gd name="connsiteX43" fmla="*/ 3575 w 10000"/>
                <a:gd name="connsiteY43" fmla="*/ 6376 h 10000"/>
                <a:gd name="connsiteX44" fmla="*/ 3627 w 10000"/>
                <a:gd name="connsiteY44" fmla="*/ 6446 h 10000"/>
                <a:gd name="connsiteX45" fmla="*/ 3680 w 10000"/>
                <a:gd name="connsiteY45" fmla="*/ 6515 h 10000"/>
                <a:gd name="connsiteX46" fmla="*/ 3719 w 10000"/>
                <a:gd name="connsiteY46" fmla="*/ 6590 h 10000"/>
                <a:gd name="connsiteX47" fmla="*/ 3771 w 10000"/>
                <a:gd name="connsiteY47" fmla="*/ 6665 h 10000"/>
                <a:gd name="connsiteX48" fmla="*/ 3810 w 10000"/>
                <a:gd name="connsiteY48" fmla="*/ 6734 h 10000"/>
                <a:gd name="connsiteX49" fmla="*/ 3850 w 10000"/>
                <a:gd name="connsiteY49" fmla="*/ 6809 h 10000"/>
                <a:gd name="connsiteX50" fmla="*/ 3889 w 10000"/>
                <a:gd name="connsiteY50" fmla="*/ 6884 h 10000"/>
                <a:gd name="connsiteX51" fmla="*/ 3922 w 10000"/>
                <a:gd name="connsiteY51" fmla="*/ 6959 h 10000"/>
                <a:gd name="connsiteX52" fmla="*/ 3954 w 10000"/>
                <a:gd name="connsiteY52" fmla="*/ 7039 h 10000"/>
                <a:gd name="connsiteX53" fmla="*/ 3987 w 10000"/>
                <a:gd name="connsiteY53" fmla="*/ 7119 h 10000"/>
                <a:gd name="connsiteX54" fmla="*/ 4020 w 10000"/>
                <a:gd name="connsiteY54" fmla="*/ 7194 h 10000"/>
                <a:gd name="connsiteX55" fmla="*/ 4046 w 10000"/>
                <a:gd name="connsiteY55" fmla="*/ 7274 h 10000"/>
                <a:gd name="connsiteX56" fmla="*/ 4065 w 10000"/>
                <a:gd name="connsiteY56" fmla="*/ 7354 h 10000"/>
                <a:gd name="connsiteX57" fmla="*/ 4092 w 10000"/>
                <a:gd name="connsiteY57" fmla="*/ 7440 h 10000"/>
                <a:gd name="connsiteX58" fmla="*/ 4111 w 10000"/>
                <a:gd name="connsiteY58" fmla="*/ 7520 h 10000"/>
                <a:gd name="connsiteX59" fmla="*/ 4131 w 10000"/>
                <a:gd name="connsiteY59" fmla="*/ 7600 h 10000"/>
                <a:gd name="connsiteX60" fmla="*/ 4144 w 10000"/>
                <a:gd name="connsiteY60" fmla="*/ 7686 h 10000"/>
                <a:gd name="connsiteX61" fmla="*/ 4157 w 10000"/>
                <a:gd name="connsiteY61" fmla="*/ 7771 h 10000"/>
                <a:gd name="connsiteX62" fmla="*/ 4163 w 10000"/>
                <a:gd name="connsiteY62" fmla="*/ 7857 h 10000"/>
                <a:gd name="connsiteX63" fmla="*/ 4170 w 10000"/>
                <a:gd name="connsiteY63" fmla="*/ 7942 h 10000"/>
                <a:gd name="connsiteX64" fmla="*/ 4170 w 10000"/>
                <a:gd name="connsiteY64" fmla="*/ 8028 h 10000"/>
                <a:gd name="connsiteX65" fmla="*/ 4176 w 10000"/>
                <a:gd name="connsiteY65" fmla="*/ 8113 h 10000"/>
                <a:gd name="connsiteX66" fmla="*/ 4170 w 10000"/>
                <a:gd name="connsiteY66" fmla="*/ 8226 h 10000"/>
                <a:gd name="connsiteX67" fmla="*/ 4163 w 10000"/>
                <a:gd name="connsiteY67" fmla="*/ 8343 h 10000"/>
                <a:gd name="connsiteX68" fmla="*/ 4157 w 10000"/>
                <a:gd name="connsiteY68" fmla="*/ 8450 h 10000"/>
                <a:gd name="connsiteX69" fmla="*/ 4137 w 10000"/>
                <a:gd name="connsiteY69" fmla="*/ 8562 h 10000"/>
                <a:gd name="connsiteX70" fmla="*/ 6739 w 10000"/>
                <a:gd name="connsiteY70" fmla="*/ 10000 h 10000"/>
                <a:gd name="connsiteX71" fmla="*/ 9850 w 10000"/>
                <a:gd name="connsiteY71" fmla="*/ 9498 h 10000"/>
                <a:gd name="connsiteX72" fmla="*/ 9889 w 10000"/>
                <a:gd name="connsiteY72" fmla="*/ 9332 h 10000"/>
                <a:gd name="connsiteX73" fmla="*/ 9915 w 10000"/>
                <a:gd name="connsiteY73" fmla="*/ 9161 h 10000"/>
                <a:gd name="connsiteX74" fmla="*/ 9941 w 10000"/>
                <a:gd name="connsiteY74" fmla="*/ 8990 h 10000"/>
                <a:gd name="connsiteX75" fmla="*/ 9961 w 10000"/>
                <a:gd name="connsiteY75" fmla="*/ 8813 h 10000"/>
                <a:gd name="connsiteX76" fmla="*/ 9974 w 10000"/>
                <a:gd name="connsiteY76" fmla="*/ 8637 h 10000"/>
                <a:gd name="connsiteX77" fmla="*/ 9987 w 10000"/>
                <a:gd name="connsiteY77" fmla="*/ 8466 h 10000"/>
                <a:gd name="connsiteX78" fmla="*/ 9993 w 10000"/>
                <a:gd name="connsiteY78" fmla="*/ 8290 h 10000"/>
                <a:gd name="connsiteX79" fmla="*/ 10000 w 10000"/>
                <a:gd name="connsiteY79" fmla="*/ 8113 h 10000"/>
                <a:gd name="connsiteX80" fmla="*/ 9993 w 10000"/>
                <a:gd name="connsiteY80" fmla="*/ 7900 h 10000"/>
                <a:gd name="connsiteX81" fmla="*/ 9987 w 10000"/>
                <a:gd name="connsiteY81" fmla="*/ 7696 h 10000"/>
                <a:gd name="connsiteX82" fmla="*/ 9967 w 10000"/>
                <a:gd name="connsiteY82" fmla="*/ 7488 h 10000"/>
                <a:gd name="connsiteX83" fmla="*/ 9948 w 10000"/>
                <a:gd name="connsiteY83" fmla="*/ 7285 h 10000"/>
                <a:gd name="connsiteX84" fmla="*/ 9915 w 10000"/>
                <a:gd name="connsiteY84" fmla="*/ 7076 h 10000"/>
                <a:gd name="connsiteX85" fmla="*/ 9882 w 10000"/>
                <a:gd name="connsiteY85" fmla="*/ 6879 h 10000"/>
                <a:gd name="connsiteX86" fmla="*/ 9843 w 10000"/>
                <a:gd name="connsiteY86" fmla="*/ 6676 h 10000"/>
                <a:gd name="connsiteX87" fmla="*/ 9797 w 10000"/>
                <a:gd name="connsiteY87" fmla="*/ 6478 h 10000"/>
                <a:gd name="connsiteX88" fmla="*/ 9745 w 10000"/>
                <a:gd name="connsiteY88" fmla="*/ 6280 h 10000"/>
                <a:gd name="connsiteX89" fmla="*/ 9686 w 10000"/>
                <a:gd name="connsiteY89" fmla="*/ 6088 h 10000"/>
                <a:gd name="connsiteX90" fmla="*/ 9621 w 10000"/>
                <a:gd name="connsiteY90" fmla="*/ 5890 h 10000"/>
                <a:gd name="connsiteX91" fmla="*/ 9556 w 10000"/>
                <a:gd name="connsiteY91" fmla="*/ 5697 h 10000"/>
                <a:gd name="connsiteX92" fmla="*/ 9477 w 10000"/>
                <a:gd name="connsiteY92" fmla="*/ 5510 h 10000"/>
                <a:gd name="connsiteX93" fmla="*/ 9399 w 10000"/>
                <a:gd name="connsiteY93" fmla="*/ 5323 h 10000"/>
                <a:gd name="connsiteX94" fmla="*/ 9307 w 10000"/>
                <a:gd name="connsiteY94" fmla="*/ 5136 h 10000"/>
                <a:gd name="connsiteX95" fmla="*/ 9216 w 10000"/>
                <a:gd name="connsiteY95" fmla="*/ 4955 h 10000"/>
                <a:gd name="connsiteX96" fmla="*/ 9124 w 10000"/>
                <a:gd name="connsiteY96" fmla="*/ 4773 h 10000"/>
                <a:gd name="connsiteX97" fmla="*/ 9020 w 10000"/>
                <a:gd name="connsiteY97" fmla="*/ 4596 h 10000"/>
                <a:gd name="connsiteX98" fmla="*/ 8915 w 10000"/>
                <a:gd name="connsiteY98" fmla="*/ 4420 h 10000"/>
                <a:gd name="connsiteX99" fmla="*/ 8804 w 10000"/>
                <a:gd name="connsiteY99" fmla="*/ 4244 h 10000"/>
                <a:gd name="connsiteX100" fmla="*/ 8686 w 10000"/>
                <a:gd name="connsiteY100" fmla="*/ 4073 h 10000"/>
                <a:gd name="connsiteX101" fmla="*/ 8562 w 10000"/>
                <a:gd name="connsiteY101" fmla="*/ 3907 h 10000"/>
                <a:gd name="connsiteX102" fmla="*/ 8438 w 10000"/>
                <a:gd name="connsiteY102" fmla="*/ 3741 h 10000"/>
                <a:gd name="connsiteX103" fmla="*/ 8307 w 10000"/>
                <a:gd name="connsiteY103" fmla="*/ 3576 h 10000"/>
                <a:gd name="connsiteX104" fmla="*/ 8170 w 10000"/>
                <a:gd name="connsiteY104" fmla="*/ 3415 h 10000"/>
                <a:gd name="connsiteX105" fmla="*/ 8026 w 10000"/>
                <a:gd name="connsiteY105" fmla="*/ 3260 h 10000"/>
                <a:gd name="connsiteX106" fmla="*/ 7882 w 10000"/>
                <a:gd name="connsiteY106" fmla="*/ 3105 h 10000"/>
                <a:gd name="connsiteX107" fmla="*/ 7732 w 10000"/>
                <a:gd name="connsiteY107" fmla="*/ 2950 h 10000"/>
                <a:gd name="connsiteX108" fmla="*/ 7582 w 10000"/>
                <a:gd name="connsiteY108" fmla="*/ 2806 h 10000"/>
                <a:gd name="connsiteX109" fmla="*/ 7418 w 10000"/>
                <a:gd name="connsiteY109" fmla="*/ 2662 h 10000"/>
                <a:gd name="connsiteX110" fmla="*/ 7261 w 10000"/>
                <a:gd name="connsiteY110" fmla="*/ 2517 h 10000"/>
                <a:gd name="connsiteX111" fmla="*/ 7092 w 10000"/>
                <a:gd name="connsiteY111" fmla="*/ 2373 h 10000"/>
                <a:gd name="connsiteX112" fmla="*/ 6922 w 10000"/>
                <a:gd name="connsiteY112" fmla="*/ 2239 h 10000"/>
                <a:gd name="connsiteX113" fmla="*/ 6752 w 10000"/>
                <a:gd name="connsiteY113" fmla="*/ 2106 h 10000"/>
                <a:gd name="connsiteX114" fmla="*/ 6569 w 10000"/>
                <a:gd name="connsiteY114" fmla="*/ 1978 h 10000"/>
                <a:gd name="connsiteX115" fmla="*/ 6386 w 10000"/>
                <a:gd name="connsiteY115" fmla="*/ 1855 h 10000"/>
                <a:gd name="connsiteX116" fmla="*/ 6203 w 10000"/>
                <a:gd name="connsiteY116" fmla="*/ 1732 h 10000"/>
                <a:gd name="connsiteX117" fmla="*/ 6013 w 10000"/>
                <a:gd name="connsiteY117" fmla="*/ 1614 h 10000"/>
                <a:gd name="connsiteX118" fmla="*/ 5817 w 10000"/>
                <a:gd name="connsiteY118" fmla="*/ 1497 h 10000"/>
                <a:gd name="connsiteX119" fmla="*/ 5621 w 10000"/>
                <a:gd name="connsiteY119" fmla="*/ 1384 h 10000"/>
                <a:gd name="connsiteX120" fmla="*/ 5425 w 10000"/>
                <a:gd name="connsiteY120" fmla="*/ 1277 h 10000"/>
                <a:gd name="connsiteX121" fmla="*/ 5222 w 10000"/>
                <a:gd name="connsiteY121" fmla="*/ 1176 h 10000"/>
                <a:gd name="connsiteX122" fmla="*/ 5020 w 10000"/>
                <a:gd name="connsiteY122" fmla="*/ 1074 h 10000"/>
                <a:gd name="connsiteX123" fmla="*/ 4804 w 10000"/>
                <a:gd name="connsiteY123" fmla="*/ 978 h 10000"/>
                <a:gd name="connsiteX124" fmla="*/ 4595 w 10000"/>
                <a:gd name="connsiteY124" fmla="*/ 887 h 10000"/>
                <a:gd name="connsiteX125" fmla="*/ 4379 w 10000"/>
                <a:gd name="connsiteY125" fmla="*/ 802 h 10000"/>
                <a:gd name="connsiteX126" fmla="*/ 4157 w 10000"/>
                <a:gd name="connsiteY126" fmla="*/ 716 h 10000"/>
                <a:gd name="connsiteX127" fmla="*/ 3941 w 10000"/>
                <a:gd name="connsiteY127" fmla="*/ 636 h 10000"/>
                <a:gd name="connsiteX128" fmla="*/ 3719 w 10000"/>
                <a:gd name="connsiteY128" fmla="*/ 567 h 10000"/>
                <a:gd name="connsiteX129" fmla="*/ 3490 w 10000"/>
                <a:gd name="connsiteY129" fmla="*/ 492 h 10000"/>
                <a:gd name="connsiteX130" fmla="*/ 3261 w 10000"/>
                <a:gd name="connsiteY130" fmla="*/ 428 h 10000"/>
                <a:gd name="connsiteX131" fmla="*/ 3026 w 10000"/>
                <a:gd name="connsiteY131" fmla="*/ 363 h 10000"/>
                <a:gd name="connsiteX132" fmla="*/ 2797 w 10000"/>
                <a:gd name="connsiteY132" fmla="*/ 310 h 10000"/>
                <a:gd name="connsiteX133" fmla="*/ 2556 w 10000"/>
                <a:gd name="connsiteY133" fmla="*/ 257 h 10000"/>
                <a:gd name="connsiteX134" fmla="*/ 2314 w 10000"/>
                <a:gd name="connsiteY134" fmla="*/ 208 h 10000"/>
                <a:gd name="connsiteX135" fmla="*/ 2078 w 10000"/>
                <a:gd name="connsiteY135" fmla="*/ 166 h 10000"/>
                <a:gd name="connsiteX136" fmla="*/ 1837 w 10000"/>
                <a:gd name="connsiteY136" fmla="*/ 128 h 10000"/>
                <a:gd name="connsiteX137" fmla="*/ 1588 w 10000"/>
                <a:gd name="connsiteY137" fmla="*/ 91 h 10000"/>
                <a:gd name="connsiteX138" fmla="*/ 1340 w 10000"/>
                <a:gd name="connsiteY138" fmla="*/ 64 h 10000"/>
                <a:gd name="connsiteX139" fmla="*/ 1092 w 10000"/>
                <a:gd name="connsiteY139" fmla="*/ 43 h 10000"/>
                <a:gd name="connsiteX140" fmla="*/ 843 w 10000"/>
                <a:gd name="connsiteY140" fmla="*/ 27 h 10000"/>
                <a:gd name="connsiteX141" fmla="*/ 588 w 10000"/>
                <a:gd name="connsiteY141" fmla="*/ 11 h 10000"/>
                <a:gd name="connsiteX142" fmla="*/ 333 w 10000"/>
                <a:gd name="connsiteY142" fmla="*/ 5 h 10000"/>
                <a:gd name="connsiteX143" fmla="*/ 78 w 10000"/>
                <a:gd name="connsiteY143" fmla="*/ 0 h 10000"/>
                <a:gd name="connsiteX144" fmla="*/ 0 w 10000"/>
                <a:gd name="connsiteY144" fmla="*/ 5 h 10000"/>
                <a:gd name="connsiteX145" fmla="*/ 1245 w 10000"/>
                <a:gd name="connsiteY145" fmla="*/ 2443 h 10000"/>
                <a:gd name="connsiteX146" fmla="*/ 26 w 10000"/>
                <a:gd name="connsiteY146" fmla="*/ 4768 h 10000"/>
                <a:gd name="connsiteX0" fmla="*/ 26 w 10000"/>
                <a:gd name="connsiteY0" fmla="*/ 4768 h 10000"/>
                <a:gd name="connsiteX1" fmla="*/ 59 w 10000"/>
                <a:gd name="connsiteY1" fmla="*/ 4762 h 10000"/>
                <a:gd name="connsiteX2" fmla="*/ 163 w 10000"/>
                <a:gd name="connsiteY2" fmla="*/ 4762 h 10000"/>
                <a:gd name="connsiteX3" fmla="*/ 268 w 10000"/>
                <a:gd name="connsiteY3" fmla="*/ 4768 h 10000"/>
                <a:gd name="connsiteX4" fmla="*/ 373 w 10000"/>
                <a:gd name="connsiteY4" fmla="*/ 4773 h 10000"/>
                <a:gd name="connsiteX5" fmla="*/ 477 w 10000"/>
                <a:gd name="connsiteY5" fmla="*/ 4778 h 10000"/>
                <a:gd name="connsiteX6" fmla="*/ 582 w 10000"/>
                <a:gd name="connsiteY6" fmla="*/ 4794 h 10000"/>
                <a:gd name="connsiteX7" fmla="*/ 686 w 10000"/>
                <a:gd name="connsiteY7" fmla="*/ 4805 h 10000"/>
                <a:gd name="connsiteX8" fmla="*/ 784 w 10000"/>
                <a:gd name="connsiteY8" fmla="*/ 4816 h 10000"/>
                <a:gd name="connsiteX9" fmla="*/ 882 w 10000"/>
                <a:gd name="connsiteY9" fmla="*/ 4832 h 10000"/>
                <a:gd name="connsiteX10" fmla="*/ 987 w 10000"/>
                <a:gd name="connsiteY10" fmla="*/ 4848 h 10000"/>
                <a:gd name="connsiteX11" fmla="*/ 1085 w 10000"/>
                <a:gd name="connsiteY11" fmla="*/ 4869 h 10000"/>
                <a:gd name="connsiteX12" fmla="*/ 1183 w 10000"/>
                <a:gd name="connsiteY12" fmla="*/ 4890 h 10000"/>
                <a:gd name="connsiteX13" fmla="*/ 1281 w 10000"/>
                <a:gd name="connsiteY13" fmla="*/ 4912 h 10000"/>
                <a:gd name="connsiteX14" fmla="*/ 1373 w 10000"/>
                <a:gd name="connsiteY14" fmla="*/ 4939 h 10000"/>
                <a:gd name="connsiteX15" fmla="*/ 1471 w 10000"/>
                <a:gd name="connsiteY15" fmla="*/ 4965 h 10000"/>
                <a:gd name="connsiteX16" fmla="*/ 1562 w 10000"/>
                <a:gd name="connsiteY16" fmla="*/ 4997 h 10000"/>
                <a:gd name="connsiteX17" fmla="*/ 1654 w 10000"/>
                <a:gd name="connsiteY17" fmla="*/ 5029 h 10000"/>
                <a:gd name="connsiteX18" fmla="*/ 1745 w 10000"/>
                <a:gd name="connsiteY18" fmla="*/ 5061 h 10000"/>
                <a:gd name="connsiteX19" fmla="*/ 1837 w 10000"/>
                <a:gd name="connsiteY19" fmla="*/ 5094 h 10000"/>
                <a:gd name="connsiteX20" fmla="*/ 1928 w 10000"/>
                <a:gd name="connsiteY20" fmla="*/ 5131 h 10000"/>
                <a:gd name="connsiteX21" fmla="*/ 2020 w 10000"/>
                <a:gd name="connsiteY21" fmla="*/ 5168 h 10000"/>
                <a:gd name="connsiteX22" fmla="*/ 2105 w 10000"/>
                <a:gd name="connsiteY22" fmla="*/ 5211 h 10000"/>
                <a:gd name="connsiteX23" fmla="*/ 2190 w 10000"/>
                <a:gd name="connsiteY23" fmla="*/ 5249 h 10000"/>
                <a:gd name="connsiteX24" fmla="*/ 2275 w 10000"/>
                <a:gd name="connsiteY24" fmla="*/ 5291 h 10000"/>
                <a:gd name="connsiteX25" fmla="*/ 2353 w 10000"/>
                <a:gd name="connsiteY25" fmla="*/ 5334 h 10000"/>
                <a:gd name="connsiteX26" fmla="*/ 2438 w 10000"/>
                <a:gd name="connsiteY26" fmla="*/ 5382 h 10000"/>
                <a:gd name="connsiteX27" fmla="*/ 2516 w 10000"/>
                <a:gd name="connsiteY27" fmla="*/ 5430 h 10000"/>
                <a:gd name="connsiteX28" fmla="*/ 2595 w 10000"/>
                <a:gd name="connsiteY28" fmla="*/ 5478 h 10000"/>
                <a:gd name="connsiteX29" fmla="*/ 2673 w 10000"/>
                <a:gd name="connsiteY29" fmla="*/ 5526 h 10000"/>
                <a:gd name="connsiteX30" fmla="*/ 2752 w 10000"/>
                <a:gd name="connsiteY30" fmla="*/ 5580 h 10000"/>
                <a:gd name="connsiteX31" fmla="*/ 2824 w 10000"/>
                <a:gd name="connsiteY31" fmla="*/ 5633 h 10000"/>
                <a:gd name="connsiteX32" fmla="*/ 2895 w 10000"/>
                <a:gd name="connsiteY32" fmla="*/ 5687 h 10000"/>
                <a:gd name="connsiteX33" fmla="*/ 2967 w 10000"/>
                <a:gd name="connsiteY33" fmla="*/ 5746 h 10000"/>
                <a:gd name="connsiteX34" fmla="*/ 3033 w 10000"/>
                <a:gd name="connsiteY34" fmla="*/ 5804 h 10000"/>
                <a:gd name="connsiteX35" fmla="*/ 3105 w 10000"/>
                <a:gd name="connsiteY35" fmla="*/ 5863 h 10000"/>
                <a:gd name="connsiteX36" fmla="*/ 3170 w 10000"/>
                <a:gd name="connsiteY36" fmla="*/ 5922 h 10000"/>
                <a:gd name="connsiteX37" fmla="*/ 3229 w 10000"/>
                <a:gd name="connsiteY37" fmla="*/ 5986 h 10000"/>
                <a:gd name="connsiteX38" fmla="*/ 3294 w 10000"/>
                <a:gd name="connsiteY38" fmla="*/ 6045 h 10000"/>
                <a:gd name="connsiteX39" fmla="*/ 3353 w 10000"/>
                <a:gd name="connsiteY39" fmla="*/ 6109 h 10000"/>
                <a:gd name="connsiteX40" fmla="*/ 3412 w 10000"/>
                <a:gd name="connsiteY40" fmla="*/ 6173 h 10000"/>
                <a:gd name="connsiteX41" fmla="*/ 3471 w 10000"/>
                <a:gd name="connsiteY41" fmla="*/ 6237 h 10000"/>
                <a:gd name="connsiteX42" fmla="*/ 3523 w 10000"/>
                <a:gd name="connsiteY42" fmla="*/ 6307 h 10000"/>
                <a:gd name="connsiteX43" fmla="*/ 3575 w 10000"/>
                <a:gd name="connsiteY43" fmla="*/ 6376 h 10000"/>
                <a:gd name="connsiteX44" fmla="*/ 3627 w 10000"/>
                <a:gd name="connsiteY44" fmla="*/ 6446 h 10000"/>
                <a:gd name="connsiteX45" fmla="*/ 3680 w 10000"/>
                <a:gd name="connsiteY45" fmla="*/ 6515 h 10000"/>
                <a:gd name="connsiteX46" fmla="*/ 3719 w 10000"/>
                <a:gd name="connsiteY46" fmla="*/ 6590 h 10000"/>
                <a:gd name="connsiteX47" fmla="*/ 3771 w 10000"/>
                <a:gd name="connsiteY47" fmla="*/ 6665 h 10000"/>
                <a:gd name="connsiteX48" fmla="*/ 3810 w 10000"/>
                <a:gd name="connsiteY48" fmla="*/ 6734 h 10000"/>
                <a:gd name="connsiteX49" fmla="*/ 3850 w 10000"/>
                <a:gd name="connsiteY49" fmla="*/ 6809 h 10000"/>
                <a:gd name="connsiteX50" fmla="*/ 3889 w 10000"/>
                <a:gd name="connsiteY50" fmla="*/ 6884 h 10000"/>
                <a:gd name="connsiteX51" fmla="*/ 3922 w 10000"/>
                <a:gd name="connsiteY51" fmla="*/ 6959 h 10000"/>
                <a:gd name="connsiteX52" fmla="*/ 3954 w 10000"/>
                <a:gd name="connsiteY52" fmla="*/ 7039 h 10000"/>
                <a:gd name="connsiteX53" fmla="*/ 3987 w 10000"/>
                <a:gd name="connsiteY53" fmla="*/ 7119 h 10000"/>
                <a:gd name="connsiteX54" fmla="*/ 4020 w 10000"/>
                <a:gd name="connsiteY54" fmla="*/ 7194 h 10000"/>
                <a:gd name="connsiteX55" fmla="*/ 4046 w 10000"/>
                <a:gd name="connsiteY55" fmla="*/ 7274 h 10000"/>
                <a:gd name="connsiteX56" fmla="*/ 4065 w 10000"/>
                <a:gd name="connsiteY56" fmla="*/ 7354 h 10000"/>
                <a:gd name="connsiteX57" fmla="*/ 4092 w 10000"/>
                <a:gd name="connsiteY57" fmla="*/ 7440 h 10000"/>
                <a:gd name="connsiteX58" fmla="*/ 4111 w 10000"/>
                <a:gd name="connsiteY58" fmla="*/ 7520 h 10000"/>
                <a:gd name="connsiteX59" fmla="*/ 4131 w 10000"/>
                <a:gd name="connsiteY59" fmla="*/ 7600 h 10000"/>
                <a:gd name="connsiteX60" fmla="*/ 4144 w 10000"/>
                <a:gd name="connsiteY60" fmla="*/ 7686 h 10000"/>
                <a:gd name="connsiteX61" fmla="*/ 4157 w 10000"/>
                <a:gd name="connsiteY61" fmla="*/ 7771 h 10000"/>
                <a:gd name="connsiteX62" fmla="*/ 4163 w 10000"/>
                <a:gd name="connsiteY62" fmla="*/ 7857 h 10000"/>
                <a:gd name="connsiteX63" fmla="*/ 4170 w 10000"/>
                <a:gd name="connsiteY63" fmla="*/ 7942 h 10000"/>
                <a:gd name="connsiteX64" fmla="*/ 4170 w 10000"/>
                <a:gd name="connsiteY64" fmla="*/ 8028 h 10000"/>
                <a:gd name="connsiteX65" fmla="*/ 4176 w 10000"/>
                <a:gd name="connsiteY65" fmla="*/ 8113 h 10000"/>
                <a:gd name="connsiteX66" fmla="*/ 4170 w 10000"/>
                <a:gd name="connsiteY66" fmla="*/ 8226 h 10000"/>
                <a:gd name="connsiteX67" fmla="*/ 4163 w 10000"/>
                <a:gd name="connsiteY67" fmla="*/ 8343 h 10000"/>
                <a:gd name="connsiteX68" fmla="*/ 4157 w 10000"/>
                <a:gd name="connsiteY68" fmla="*/ 8450 h 10000"/>
                <a:gd name="connsiteX69" fmla="*/ 4137 w 10000"/>
                <a:gd name="connsiteY69" fmla="*/ 8562 h 10000"/>
                <a:gd name="connsiteX70" fmla="*/ 6739 w 10000"/>
                <a:gd name="connsiteY70" fmla="*/ 10000 h 10000"/>
                <a:gd name="connsiteX71" fmla="*/ 9850 w 10000"/>
                <a:gd name="connsiteY71" fmla="*/ 9498 h 10000"/>
                <a:gd name="connsiteX72" fmla="*/ 9889 w 10000"/>
                <a:gd name="connsiteY72" fmla="*/ 9332 h 10000"/>
                <a:gd name="connsiteX73" fmla="*/ 9915 w 10000"/>
                <a:gd name="connsiteY73" fmla="*/ 9161 h 10000"/>
                <a:gd name="connsiteX74" fmla="*/ 9941 w 10000"/>
                <a:gd name="connsiteY74" fmla="*/ 8990 h 10000"/>
                <a:gd name="connsiteX75" fmla="*/ 9961 w 10000"/>
                <a:gd name="connsiteY75" fmla="*/ 8813 h 10000"/>
                <a:gd name="connsiteX76" fmla="*/ 9974 w 10000"/>
                <a:gd name="connsiteY76" fmla="*/ 8637 h 10000"/>
                <a:gd name="connsiteX77" fmla="*/ 9987 w 10000"/>
                <a:gd name="connsiteY77" fmla="*/ 8466 h 10000"/>
                <a:gd name="connsiteX78" fmla="*/ 9993 w 10000"/>
                <a:gd name="connsiteY78" fmla="*/ 8290 h 10000"/>
                <a:gd name="connsiteX79" fmla="*/ 10000 w 10000"/>
                <a:gd name="connsiteY79" fmla="*/ 8113 h 10000"/>
                <a:gd name="connsiteX80" fmla="*/ 9993 w 10000"/>
                <a:gd name="connsiteY80" fmla="*/ 7900 h 10000"/>
                <a:gd name="connsiteX81" fmla="*/ 9987 w 10000"/>
                <a:gd name="connsiteY81" fmla="*/ 7696 h 10000"/>
                <a:gd name="connsiteX82" fmla="*/ 9967 w 10000"/>
                <a:gd name="connsiteY82" fmla="*/ 7488 h 10000"/>
                <a:gd name="connsiteX83" fmla="*/ 9948 w 10000"/>
                <a:gd name="connsiteY83" fmla="*/ 7285 h 10000"/>
                <a:gd name="connsiteX84" fmla="*/ 9915 w 10000"/>
                <a:gd name="connsiteY84" fmla="*/ 7076 h 10000"/>
                <a:gd name="connsiteX85" fmla="*/ 9882 w 10000"/>
                <a:gd name="connsiteY85" fmla="*/ 6879 h 10000"/>
                <a:gd name="connsiteX86" fmla="*/ 9843 w 10000"/>
                <a:gd name="connsiteY86" fmla="*/ 6676 h 10000"/>
                <a:gd name="connsiteX87" fmla="*/ 9797 w 10000"/>
                <a:gd name="connsiteY87" fmla="*/ 6478 h 10000"/>
                <a:gd name="connsiteX88" fmla="*/ 9745 w 10000"/>
                <a:gd name="connsiteY88" fmla="*/ 6280 h 10000"/>
                <a:gd name="connsiteX89" fmla="*/ 9686 w 10000"/>
                <a:gd name="connsiteY89" fmla="*/ 6088 h 10000"/>
                <a:gd name="connsiteX90" fmla="*/ 9621 w 10000"/>
                <a:gd name="connsiteY90" fmla="*/ 5890 h 10000"/>
                <a:gd name="connsiteX91" fmla="*/ 9556 w 10000"/>
                <a:gd name="connsiteY91" fmla="*/ 5697 h 10000"/>
                <a:gd name="connsiteX92" fmla="*/ 9477 w 10000"/>
                <a:gd name="connsiteY92" fmla="*/ 5510 h 10000"/>
                <a:gd name="connsiteX93" fmla="*/ 9399 w 10000"/>
                <a:gd name="connsiteY93" fmla="*/ 5323 h 10000"/>
                <a:gd name="connsiteX94" fmla="*/ 9307 w 10000"/>
                <a:gd name="connsiteY94" fmla="*/ 5136 h 10000"/>
                <a:gd name="connsiteX95" fmla="*/ 9216 w 10000"/>
                <a:gd name="connsiteY95" fmla="*/ 4955 h 10000"/>
                <a:gd name="connsiteX96" fmla="*/ 9124 w 10000"/>
                <a:gd name="connsiteY96" fmla="*/ 4773 h 10000"/>
                <a:gd name="connsiteX97" fmla="*/ 9020 w 10000"/>
                <a:gd name="connsiteY97" fmla="*/ 4596 h 10000"/>
                <a:gd name="connsiteX98" fmla="*/ 8915 w 10000"/>
                <a:gd name="connsiteY98" fmla="*/ 4420 h 10000"/>
                <a:gd name="connsiteX99" fmla="*/ 8804 w 10000"/>
                <a:gd name="connsiteY99" fmla="*/ 4244 h 10000"/>
                <a:gd name="connsiteX100" fmla="*/ 8686 w 10000"/>
                <a:gd name="connsiteY100" fmla="*/ 4073 h 10000"/>
                <a:gd name="connsiteX101" fmla="*/ 8562 w 10000"/>
                <a:gd name="connsiteY101" fmla="*/ 3907 h 10000"/>
                <a:gd name="connsiteX102" fmla="*/ 8438 w 10000"/>
                <a:gd name="connsiteY102" fmla="*/ 3741 h 10000"/>
                <a:gd name="connsiteX103" fmla="*/ 8307 w 10000"/>
                <a:gd name="connsiteY103" fmla="*/ 3576 h 10000"/>
                <a:gd name="connsiteX104" fmla="*/ 8170 w 10000"/>
                <a:gd name="connsiteY104" fmla="*/ 3415 h 10000"/>
                <a:gd name="connsiteX105" fmla="*/ 8026 w 10000"/>
                <a:gd name="connsiteY105" fmla="*/ 3260 h 10000"/>
                <a:gd name="connsiteX106" fmla="*/ 7882 w 10000"/>
                <a:gd name="connsiteY106" fmla="*/ 3105 h 10000"/>
                <a:gd name="connsiteX107" fmla="*/ 7732 w 10000"/>
                <a:gd name="connsiteY107" fmla="*/ 2950 h 10000"/>
                <a:gd name="connsiteX108" fmla="*/ 7582 w 10000"/>
                <a:gd name="connsiteY108" fmla="*/ 2806 h 10000"/>
                <a:gd name="connsiteX109" fmla="*/ 7418 w 10000"/>
                <a:gd name="connsiteY109" fmla="*/ 2662 h 10000"/>
                <a:gd name="connsiteX110" fmla="*/ 7261 w 10000"/>
                <a:gd name="connsiteY110" fmla="*/ 2517 h 10000"/>
                <a:gd name="connsiteX111" fmla="*/ 7092 w 10000"/>
                <a:gd name="connsiteY111" fmla="*/ 2373 h 10000"/>
                <a:gd name="connsiteX112" fmla="*/ 6922 w 10000"/>
                <a:gd name="connsiteY112" fmla="*/ 2239 h 10000"/>
                <a:gd name="connsiteX113" fmla="*/ 6752 w 10000"/>
                <a:gd name="connsiteY113" fmla="*/ 2106 h 10000"/>
                <a:gd name="connsiteX114" fmla="*/ 6569 w 10000"/>
                <a:gd name="connsiteY114" fmla="*/ 1978 h 10000"/>
                <a:gd name="connsiteX115" fmla="*/ 6386 w 10000"/>
                <a:gd name="connsiteY115" fmla="*/ 1855 h 10000"/>
                <a:gd name="connsiteX116" fmla="*/ 6203 w 10000"/>
                <a:gd name="connsiteY116" fmla="*/ 1732 h 10000"/>
                <a:gd name="connsiteX117" fmla="*/ 6013 w 10000"/>
                <a:gd name="connsiteY117" fmla="*/ 1614 h 10000"/>
                <a:gd name="connsiteX118" fmla="*/ 5817 w 10000"/>
                <a:gd name="connsiteY118" fmla="*/ 1497 h 10000"/>
                <a:gd name="connsiteX119" fmla="*/ 5621 w 10000"/>
                <a:gd name="connsiteY119" fmla="*/ 1384 h 10000"/>
                <a:gd name="connsiteX120" fmla="*/ 5425 w 10000"/>
                <a:gd name="connsiteY120" fmla="*/ 1277 h 10000"/>
                <a:gd name="connsiteX121" fmla="*/ 5222 w 10000"/>
                <a:gd name="connsiteY121" fmla="*/ 1176 h 10000"/>
                <a:gd name="connsiteX122" fmla="*/ 5020 w 10000"/>
                <a:gd name="connsiteY122" fmla="*/ 1074 h 10000"/>
                <a:gd name="connsiteX123" fmla="*/ 4804 w 10000"/>
                <a:gd name="connsiteY123" fmla="*/ 978 h 10000"/>
                <a:gd name="connsiteX124" fmla="*/ 4595 w 10000"/>
                <a:gd name="connsiteY124" fmla="*/ 887 h 10000"/>
                <a:gd name="connsiteX125" fmla="*/ 4379 w 10000"/>
                <a:gd name="connsiteY125" fmla="*/ 802 h 10000"/>
                <a:gd name="connsiteX126" fmla="*/ 4157 w 10000"/>
                <a:gd name="connsiteY126" fmla="*/ 716 h 10000"/>
                <a:gd name="connsiteX127" fmla="*/ 3941 w 10000"/>
                <a:gd name="connsiteY127" fmla="*/ 636 h 10000"/>
                <a:gd name="connsiteX128" fmla="*/ 3719 w 10000"/>
                <a:gd name="connsiteY128" fmla="*/ 567 h 10000"/>
                <a:gd name="connsiteX129" fmla="*/ 3490 w 10000"/>
                <a:gd name="connsiteY129" fmla="*/ 492 h 10000"/>
                <a:gd name="connsiteX130" fmla="*/ 3261 w 10000"/>
                <a:gd name="connsiteY130" fmla="*/ 428 h 10000"/>
                <a:gd name="connsiteX131" fmla="*/ 3026 w 10000"/>
                <a:gd name="connsiteY131" fmla="*/ 363 h 10000"/>
                <a:gd name="connsiteX132" fmla="*/ 2797 w 10000"/>
                <a:gd name="connsiteY132" fmla="*/ 310 h 10000"/>
                <a:gd name="connsiteX133" fmla="*/ 2556 w 10000"/>
                <a:gd name="connsiteY133" fmla="*/ 257 h 10000"/>
                <a:gd name="connsiteX134" fmla="*/ 2314 w 10000"/>
                <a:gd name="connsiteY134" fmla="*/ 208 h 10000"/>
                <a:gd name="connsiteX135" fmla="*/ 2078 w 10000"/>
                <a:gd name="connsiteY135" fmla="*/ 166 h 10000"/>
                <a:gd name="connsiteX136" fmla="*/ 1837 w 10000"/>
                <a:gd name="connsiteY136" fmla="*/ 128 h 10000"/>
                <a:gd name="connsiteX137" fmla="*/ 1588 w 10000"/>
                <a:gd name="connsiteY137" fmla="*/ 91 h 10000"/>
                <a:gd name="connsiteX138" fmla="*/ 1340 w 10000"/>
                <a:gd name="connsiteY138" fmla="*/ 64 h 10000"/>
                <a:gd name="connsiteX139" fmla="*/ 1092 w 10000"/>
                <a:gd name="connsiteY139" fmla="*/ 43 h 10000"/>
                <a:gd name="connsiteX140" fmla="*/ 843 w 10000"/>
                <a:gd name="connsiteY140" fmla="*/ 27 h 10000"/>
                <a:gd name="connsiteX141" fmla="*/ 588 w 10000"/>
                <a:gd name="connsiteY141" fmla="*/ 11 h 10000"/>
                <a:gd name="connsiteX142" fmla="*/ 333 w 10000"/>
                <a:gd name="connsiteY142" fmla="*/ 5 h 10000"/>
                <a:gd name="connsiteX143" fmla="*/ 78 w 10000"/>
                <a:gd name="connsiteY143" fmla="*/ 0 h 10000"/>
                <a:gd name="connsiteX144" fmla="*/ 0 w 10000"/>
                <a:gd name="connsiteY144" fmla="*/ 5 h 10000"/>
                <a:gd name="connsiteX145" fmla="*/ 1245 w 10000"/>
                <a:gd name="connsiteY145" fmla="*/ 2443 h 10000"/>
                <a:gd name="connsiteX146" fmla="*/ 26 w 10000"/>
                <a:gd name="connsiteY146" fmla="*/ 4768 h 10000"/>
                <a:gd name="connsiteX0" fmla="*/ 0 w 9974"/>
                <a:gd name="connsiteY0" fmla="*/ 4771 h 10003"/>
                <a:gd name="connsiteX1" fmla="*/ 33 w 9974"/>
                <a:gd name="connsiteY1" fmla="*/ 4765 h 10003"/>
                <a:gd name="connsiteX2" fmla="*/ 137 w 9974"/>
                <a:gd name="connsiteY2" fmla="*/ 4765 h 10003"/>
                <a:gd name="connsiteX3" fmla="*/ 242 w 9974"/>
                <a:gd name="connsiteY3" fmla="*/ 4771 h 10003"/>
                <a:gd name="connsiteX4" fmla="*/ 347 w 9974"/>
                <a:gd name="connsiteY4" fmla="*/ 4776 h 10003"/>
                <a:gd name="connsiteX5" fmla="*/ 451 w 9974"/>
                <a:gd name="connsiteY5" fmla="*/ 4781 h 10003"/>
                <a:gd name="connsiteX6" fmla="*/ 556 w 9974"/>
                <a:gd name="connsiteY6" fmla="*/ 4797 h 10003"/>
                <a:gd name="connsiteX7" fmla="*/ 660 w 9974"/>
                <a:gd name="connsiteY7" fmla="*/ 4808 h 10003"/>
                <a:gd name="connsiteX8" fmla="*/ 758 w 9974"/>
                <a:gd name="connsiteY8" fmla="*/ 4819 h 10003"/>
                <a:gd name="connsiteX9" fmla="*/ 856 w 9974"/>
                <a:gd name="connsiteY9" fmla="*/ 4835 h 10003"/>
                <a:gd name="connsiteX10" fmla="*/ 961 w 9974"/>
                <a:gd name="connsiteY10" fmla="*/ 4851 h 10003"/>
                <a:gd name="connsiteX11" fmla="*/ 1059 w 9974"/>
                <a:gd name="connsiteY11" fmla="*/ 4872 h 10003"/>
                <a:gd name="connsiteX12" fmla="*/ 1157 w 9974"/>
                <a:gd name="connsiteY12" fmla="*/ 4893 h 10003"/>
                <a:gd name="connsiteX13" fmla="*/ 1255 w 9974"/>
                <a:gd name="connsiteY13" fmla="*/ 4915 h 10003"/>
                <a:gd name="connsiteX14" fmla="*/ 1347 w 9974"/>
                <a:gd name="connsiteY14" fmla="*/ 4942 h 10003"/>
                <a:gd name="connsiteX15" fmla="*/ 1445 w 9974"/>
                <a:gd name="connsiteY15" fmla="*/ 4968 h 10003"/>
                <a:gd name="connsiteX16" fmla="*/ 1536 w 9974"/>
                <a:gd name="connsiteY16" fmla="*/ 5000 h 10003"/>
                <a:gd name="connsiteX17" fmla="*/ 1628 w 9974"/>
                <a:gd name="connsiteY17" fmla="*/ 5032 h 10003"/>
                <a:gd name="connsiteX18" fmla="*/ 1719 w 9974"/>
                <a:gd name="connsiteY18" fmla="*/ 5064 h 10003"/>
                <a:gd name="connsiteX19" fmla="*/ 1811 w 9974"/>
                <a:gd name="connsiteY19" fmla="*/ 5097 h 10003"/>
                <a:gd name="connsiteX20" fmla="*/ 1902 w 9974"/>
                <a:gd name="connsiteY20" fmla="*/ 5134 h 10003"/>
                <a:gd name="connsiteX21" fmla="*/ 1994 w 9974"/>
                <a:gd name="connsiteY21" fmla="*/ 5171 h 10003"/>
                <a:gd name="connsiteX22" fmla="*/ 2079 w 9974"/>
                <a:gd name="connsiteY22" fmla="*/ 5214 h 10003"/>
                <a:gd name="connsiteX23" fmla="*/ 2164 w 9974"/>
                <a:gd name="connsiteY23" fmla="*/ 5252 h 10003"/>
                <a:gd name="connsiteX24" fmla="*/ 2249 w 9974"/>
                <a:gd name="connsiteY24" fmla="*/ 5294 h 10003"/>
                <a:gd name="connsiteX25" fmla="*/ 2327 w 9974"/>
                <a:gd name="connsiteY25" fmla="*/ 5337 h 10003"/>
                <a:gd name="connsiteX26" fmla="*/ 2412 w 9974"/>
                <a:gd name="connsiteY26" fmla="*/ 5385 h 10003"/>
                <a:gd name="connsiteX27" fmla="*/ 2490 w 9974"/>
                <a:gd name="connsiteY27" fmla="*/ 5433 h 10003"/>
                <a:gd name="connsiteX28" fmla="*/ 2569 w 9974"/>
                <a:gd name="connsiteY28" fmla="*/ 5481 h 10003"/>
                <a:gd name="connsiteX29" fmla="*/ 2647 w 9974"/>
                <a:gd name="connsiteY29" fmla="*/ 5529 h 10003"/>
                <a:gd name="connsiteX30" fmla="*/ 2726 w 9974"/>
                <a:gd name="connsiteY30" fmla="*/ 5583 h 10003"/>
                <a:gd name="connsiteX31" fmla="*/ 2798 w 9974"/>
                <a:gd name="connsiteY31" fmla="*/ 5636 h 10003"/>
                <a:gd name="connsiteX32" fmla="*/ 2869 w 9974"/>
                <a:gd name="connsiteY32" fmla="*/ 5690 h 10003"/>
                <a:gd name="connsiteX33" fmla="*/ 2941 w 9974"/>
                <a:gd name="connsiteY33" fmla="*/ 5749 h 10003"/>
                <a:gd name="connsiteX34" fmla="*/ 3007 w 9974"/>
                <a:gd name="connsiteY34" fmla="*/ 5807 h 10003"/>
                <a:gd name="connsiteX35" fmla="*/ 3079 w 9974"/>
                <a:gd name="connsiteY35" fmla="*/ 5866 h 10003"/>
                <a:gd name="connsiteX36" fmla="*/ 3144 w 9974"/>
                <a:gd name="connsiteY36" fmla="*/ 5925 h 10003"/>
                <a:gd name="connsiteX37" fmla="*/ 3203 w 9974"/>
                <a:gd name="connsiteY37" fmla="*/ 5989 h 10003"/>
                <a:gd name="connsiteX38" fmla="*/ 3268 w 9974"/>
                <a:gd name="connsiteY38" fmla="*/ 6048 h 10003"/>
                <a:gd name="connsiteX39" fmla="*/ 3327 w 9974"/>
                <a:gd name="connsiteY39" fmla="*/ 6112 h 10003"/>
                <a:gd name="connsiteX40" fmla="*/ 3386 w 9974"/>
                <a:gd name="connsiteY40" fmla="*/ 6176 h 10003"/>
                <a:gd name="connsiteX41" fmla="*/ 3445 w 9974"/>
                <a:gd name="connsiteY41" fmla="*/ 6240 h 10003"/>
                <a:gd name="connsiteX42" fmla="*/ 3497 w 9974"/>
                <a:gd name="connsiteY42" fmla="*/ 6310 h 10003"/>
                <a:gd name="connsiteX43" fmla="*/ 3549 w 9974"/>
                <a:gd name="connsiteY43" fmla="*/ 6379 h 10003"/>
                <a:gd name="connsiteX44" fmla="*/ 3601 w 9974"/>
                <a:gd name="connsiteY44" fmla="*/ 6449 h 10003"/>
                <a:gd name="connsiteX45" fmla="*/ 3654 w 9974"/>
                <a:gd name="connsiteY45" fmla="*/ 6518 h 10003"/>
                <a:gd name="connsiteX46" fmla="*/ 3693 w 9974"/>
                <a:gd name="connsiteY46" fmla="*/ 6593 h 10003"/>
                <a:gd name="connsiteX47" fmla="*/ 3745 w 9974"/>
                <a:gd name="connsiteY47" fmla="*/ 6668 h 10003"/>
                <a:gd name="connsiteX48" fmla="*/ 3784 w 9974"/>
                <a:gd name="connsiteY48" fmla="*/ 6737 h 10003"/>
                <a:gd name="connsiteX49" fmla="*/ 3824 w 9974"/>
                <a:gd name="connsiteY49" fmla="*/ 6812 h 10003"/>
                <a:gd name="connsiteX50" fmla="*/ 3863 w 9974"/>
                <a:gd name="connsiteY50" fmla="*/ 6887 h 10003"/>
                <a:gd name="connsiteX51" fmla="*/ 3896 w 9974"/>
                <a:gd name="connsiteY51" fmla="*/ 6962 h 10003"/>
                <a:gd name="connsiteX52" fmla="*/ 3928 w 9974"/>
                <a:gd name="connsiteY52" fmla="*/ 7042 h 10003"/>
                <a:gd name="connsiteX53" fmla="*/ 3961 w 9974"/>
                <a:gd name="connsiteY53" fmla="*/ 7122 h 10003"/>
                <a:gd name="connsiteX54" fmla="*/ 3994 w 9974"/>
                <a:gd name="connsiteY54" fmla="*/ 7197 h 10003"/>
                <a:gd name="connsiteX55" fmla="*/ 4020 w 9974"/>
                <a:gd name="connsiteY55" fmla="*/ 7277 h 10003"/>
                <a:gd name="connsiteX56" fmla="*/ 4039 w 9974"/>
                <a:gd name="connsiteY56" fmla="*/ 7357 h 10003"/>
                <a:gd name="connsiteX57" fmla="*/ 4066 w 9974"/>
                <a:gd name="connsiteY57" fmla="*/ 7443 h 10003"/>
                <a:gd name="connsiteX58" fmla="*/ 4085 w 9974"/>
                <a:gd name="connsiteY58" fmla="*/ 7523 h 10003"/>
                <a:gd name="connsiteX59" fmla="*/ 4105 w 9974"/>
                <a:gd name="connsiteY59" fmla="*/ 7603 h 10003"/>
                <a:gd name="connsiteX60" fmla="*/ 4118 w 9974"/>
                <a:gd name="connsiteY60" fmla="*/ 7689 h 10003"/>
                <a:gd name="connsiteX61" fmla="*/ 4131 w 9974"/>
                <a:gd name="connsiteY61" fmla="*/ 7774 h 10003"/>
                <a:gd name="connsiteX62" fmla="*/ 4137 w 9974"/>
                <a:gd name="connsiteY62" fmla="*/ 7860 h 10003"/>
                <a:gd name="connsiteX63" fmla="*/ 4144 w 9974"/>
                <a:gd name="connsiteY63" fmla="*/ 7945 h 10003"/>
                <a:gd name="connsiteX64" fmla="*/ 4144 w 9974"/>
                <a:gd name="connsiteY64" fmla="*/ 8031 h 10003"/>
                <a:gd name="connsiteX65" fmla="*/ 4150 w 9974"/>
                <a:gd name="connsiteY65" fmla="*/ 8116 h 10003"/>
                <a:gd name="connsiteX66" fmla="*/ 4144 w 9974"/>
                <a:gd name="connsiteY66" fmla="*/ 8229 h 10003"/>
                <a:gd name="connsiteX67" fmla="*/ 4137 w 9974"/>
                <a:gd name="connsiteY67" fmla="*/ 8346 h 10003"/>
                <a:gd name="connsiteX68" fmla="*/ 4131 w 9974"/>
                <a:gd name="connsiteY68" fmla="*/ 8453 h 10003"/>
                <a:gd name="connsiteX69" fmla="*/ 4111 w 9974"/>
                <a:gd name="connsiteY69" fmla="*/ 8565 h 10003"/>
                <a:gd name="connsiteX70" fmla="*/ 6713 w 9974"/>
                <a:gd name="connsiteY70" fmla="*/ 10003 h 10003"/>
                <a:gd name="connsiteX71" fmla="*/ 9824 w 9974"/>
                <a:gd name="connsiteY71" fmla="*/ 9501 h 10003"/>
                <a:gd name="connsiteX72" fmla="*/ 9863 w 9974"/>
                <a:gd name="connsiteY72" fmla="*/ 9335 h 10003"/>
                <a:gd name="connsiteX73" fmla="*/ 9889 w 9974"/>
                <a:gd name="connsiteY73" fmla="*/ 9164 h 10003"/>
                <a:gd name="connsiteX74" fmla="*/ 9915 w 9974"/>
                <a:gd name="connsiteY74" fmla="*/ 8993 h 10003"/>
                <a:gd name="connsiteX75" fmla="*/ 9935 w 9974"/>
                <a:gd name="connsiteY75" fmla="*/ 8816 h 10003"/>
                <a:gd name="connsiteX76" fmla="*/ 9948 w 9974"/>
                <a:gd name="connsiteY76" fmla="*/ 8640 h 10003"/>
                <a:gd name="connsiteX77" fmla="*/ 9961 w 9974"/>
                <a:gd name="connsiteY77" fmla="*/ 8469 h 10003"/>
                <a:gd name="connsiteX78" fmla="*/ 9967 w 9974"/>
                <a:gd name="connsiteY78" fmla="*/ 8293 h 10003"/>
                <a:gd name="connsiteX79" fmla="*/ 9974 w 9974"/>
                <a:gd name="connsiteY79" fmla="*/ 8116 h 10003"/>
                <a:gd name="connsiteX80" fmla="*/ 9967 w 9974"/>
                <a:gd name="connsiteY80" fmla="*/ 7903 h 10003"/>
                <a:gd name="connsiteX81" fmla="*/ 9961 w 9974"/>
                <a:gd name="connsiteY81" fmla="*/ 7699 h 10003"/>
                <a:gd name="connsiteX82" fmla="*/ 9941 w 9974"/>
                <a:gd name="connsiteY82" fmla="*/ 7491 h 10003"/>
                <a:gd name="connsiteX83" fmla="*/ 9922 w 9974"/>
                <a:gd name="connsiteY83" fmla="*/ 7288 h 10003"/>
                <a:gd name="connsiteX84" fmla="*/ 9889 w 9974"/>
                <a:gd name="connsiteY84" fmla="*/ 7079 h 10003"/>
                <a:gd name="connsiteX85" fmla="*/ 9856 w 9974"/>
                <a:gd name="connsiteY85" fmla="*/ 6882 h 10003"/>
                <a:gd name="connsiteX86" fmla="*/ 9817 w 9974"/>
                <a:gd name="connsiteY86" fmla="*/ 6679 h 10003"/>
                <a:gd name="connsiteX87" fmla="*/ 9771 w 9974"/>
                <a:gd name="connsiteY87" fmla="*/ 6481 h 10003"/>
                <a:gd name="connsiteX88" fmla="*/ 9719 w 9974"/>
                <a:gd name="connsiteY88" fmla="*/ 6283 h 10003"/>
                <a:gd name="connsiteX89" fmla="*/ 9660 w 9974"/>
                <a:gd name="connsiteY89" fmla="*/ 6091 h 10003"/>
                <a:gd name="connsiteX90" fmla="*/ 9595 w 9974"/>
                <a:gd name="connsiteY90" fmla="*/ 5893 h 10003"/>
                <a:gd name="connsiteX91" fmla="*/ 9530 w 9974"/>
                <a:gd name="connsiteY91" fmla="*/ 5700 h 10003"/>
                <a:gd name="connsiteX92" fmla="*/ 9451 w 9974"/>
                <a:gd name="connsiteY92" fmla="*/ 5513 h 10003"/>
                <a:gd name="connsiteX93" fmla="*/ 9373 w 9974"/>
                <a:gd name="connsiteY93" fmla="*/ 5326 h 10003"/>
                <a:gd name="connsiteX94" fmla="*/ 9281 w 9974"/>
                <a:gd name="connsiteY94" fmla="*/ 5139 h 10003"/>
                <a:gd name="connsiteX95" fmla="*/ 9190 w 9974"/>
                <a:gd name="connsiteY95" fmla="*/ 4958 h 10003"/>
                <a:gd name="connsiteX96" fmla="*/ 9098 w 9974"/>
                <a:gd name="connsiteY96" fmla="*/ 4776 h 10003"/>
                <a:gd name="connsiteX97" fmla="*/ 8994 w 9974"/>
                <a:gd name="connsiteY97" fmla="*/ 4599 h 10003"/>
                <a:gd name="connsiteX98" fmla="*/ 8889 w 9974"/>
                <a:gd name="connsiteY98" fmla="*/ 4423 h 10003"/>
                <a:gd name="connsiteX99" fmla="*/ 8778 w 9974"/>
                <a:gd name="connsiteY99" fmla="*/ 4247 h 10003"/>
                <a:gd name="connsiteX100" fmla="*/ 8660 w 9974"/>
                <a:gd name="connsiteY100" fmla="*/ 4076 h 10003"/>
                <a:gd name="connsiteX101" fmla="*/ 8536 w 9974"/>
                <a:gd name="connsiteY101" fmla="*/ 3910 h 10003"/>
                <a:gd name="connsiteX102" fmla="*/ 8412 w 9974"/>
                <a:gd name="connsiteY102" fmla="*/ 3744 h 10003"/>
                <a:gd name="connsiteX103" fmla="*/ 8281 w 9974"/>
                <a:gd name="connsiteY103" fmla="*/ 3579 h 10003"/>
                <a:gd name="connsiteX104" fmla="*/ 8144 w 9974"/>
                <a:gd name="connsiteY104" fmla="*/ 3418 h 10003"/>
                <a:gd name="connsiteX105" fmla="*/ 8000 w 9974"/>
                <a:gd name="connsiteY105" fmla="*/ 3263 h 10003"/>
                <a:gd name="connsiteX106" fmla="*/ 7856 w 9974"/>
                <a:gd name="connsiteY106" fmla="*/ 3108 h 10003"/>
                <a:gd name="connsiteX107" fmla="*/ 7706 w 9974"/>
                <a:gd name="connsiteY107" fmla="*/ 2953 h 10003"/>
                <a:gd name="connsiteX108" fmla="*/ 7556 w 9974"/>
                <a:gd name="connsiteY108" fmla="*/ 2809 h 10003"/>
                <a:gd name="connsiteX109" fmla="*/ 7392 w 9974"/>
                <a:gd name="connsiteY109" fmla="*/ 2665 h 10003"/>
                <a:gd name="connsiteX110" fmla="*/ 7235 w 9974"/>
                <a:gd name="connsiteY110" fmla="*/ 2520 h 10003"/>
                <a:gd name="connsiteX111" fmla="*/ 7066 w 9974"/>
                <a:gd name="connsiteY111" fmla="*/ 2376 h 10003"/>
                <a:gd name="connsiteX112" fmla="*/ 6896 w 9974"/>
                <a:gd name="connsiteY112" fmla="*/ 2242 h 10003"/>
                <a:gd name="connsiteX113" fmla="*/ 6726 w 9974"/>
                <a:gd name="connsiteY113" fmla="*/ 2109 h 10003"/>
                <a:gd name="connsiteX114" fmla="*/ 6543 w 9974"/>
                <a:gd name="connsiteY114" fmla="*/ 1981 h 10003"/>
                <a:gd name="connsiteX115" fmla="*/ 6360 w 9974"/>
                <a:gd name="connsiteY115" fmla="*/ 1858 h 10003"/>
                <a:gd name="connsiteX116" fmla="*/ 6177 w 9974"/>
                <a:gd name="connsiteY116" fmla="*/ 1735 h 10003"/>
                <a:gd name="connsiteX117" fmla="*/ 5987 w 9974"/>
                <a:gd name="connsiteY117" fmla="*/ 1617 h 10003"/>
                <a:gd name="connsiteX118" fmla="*/ 5791 w 9974"/>
                <a:gd name="connsiteY118" fmla="*/ 1500 h 10003"/>
                <a:gd name="connsiteX119" fmla="*/ 5595 w 9974"/>
                <a:gd name="connsiteY119" fmla="*/ 1387 h 10003"/>
                <a:gd name="connsiteX120" fmla="*/ 5399 w 9974"/>
                <a:gd name="connsiteY120" fmla="*/ 1280 h 10003"/>
                <a:gd name="connsiteX121" fmla="*/ 5196 w 9974"/>
                <a:gd name="connsiteY121" fmla="*/ 1179 h 10003"/>
                <a:gd name="connsiteX122" fmla="*/ 4994 w 9974"/>
                <a:gd name="connsiteY122" fmla="*/ 1077 h 10003"/>
                <a:gd name="connsiteX123" fmla="*/ 4778 w 9974"/>
                <a:gd name="connsiteY123" fmla="*/ 981 h 10003"/>
                <a:gd name="connsiteX124" fmla="*/ 4569 w 9974"/>
                <a:gd name="connsiteY124" fmla="*/ 890 h 10003"/>
                <a:gd name="connsiteX125" fmla="*/ 4353 w 9974"/>
                <a:gd name="connsiteY125" fmla="*/ 805 h 10003"/>
                <a:gd name="connsiteX126" fmla="*/ 4131 w 9974"/>
                <a:gd name="connsiteY126" fmla="*/ 719 h 10003"/>
                <a:gd name="connsiteX127" fmla="*/ 3915 w 9974"/>
                <a:gd name="connsiteY127" fmla="*/ 639 h 10003"/>
                <a:gd name="connsiteX128" fmla="*/ 3693 w 9974"/>
                <a:gd name="connsiteY128" fmla="*/ 570 h 10003"/>
                <a:gd name="connsiteX129" fmla="*/ 3464 w 9974"/>
                <a:gd name="connsiteY129" fmla="*/ 495 h 10003"/>
                <a:gd name="connsiteX130" fmla="*/ 3235 w 9974"/>
                <a:gd name="connsiteY130" fmla="*/ 431 h 10003"/>
                <a:gd name="connsiteX131" fmla="*/ 3000 w 9974"/>
                <a:gd name="connsiteY131" fmla="*/ 366 h 10003"/>
                <a:gd name="connsiteX132" fmla="*/ 2771 w 9974"/>
                <a:gd name="connsiteY132" fmla="*/ 313 h 10003"/>
                <a:gd name="connsiteX133" fmla="*/ 2530 w 9974"/>
                <a:gd name="connsiteY133" fmla="*/ 260 h 10003"/>
                <a:gd name="connsiteX134" fmla="*/ 2288 w 9974"/>
                <a:gd name="connsiteY134" fmla="*/ 211 h 10003"/>
                <a:gd name="connsiteX135" fmla="*/ 2052 w 9974"/>
                <a:gd name="connsiteY135" fmla="*/ 169 h 10003"/>
                <a:gd name="connsiteX136" fmla="*/ 1811 w 9974"/>
                <a:gd name="connsiteY136" fmla="*/ 131 h 10003"/>
                <a:gd name="connsiteX137" fmla="*/ 1562 w 9974"/>
                <a:gd name="connsiteY137" fmla="*/ 94 h 10003"/>
                <a:gd name="connsiteX138" fmla="*/ 1314 w 9974"/>
                <a:gd name="connsiteY138" fmla="*/ 67 h 10003"/>
                <a:gd name="connsiteX139" fmla="*/ 1066 w 9974"/>
                <a:gd name="connsiteY139" fmla="*/ 46 h 10003"/>
                <a:gd name="connsiteX140" fmla="*/ 817 w 9974"/>
                <a:gd name="connsiteY140" fmla="*/ 30 h 10003"/>
                <a:gd name="connsiteX141" fmla="*/ 562 w 9974"/>
                <a:gd name="connsiteY141" fmla="*/ 14 h 10003"/>
                <a:gd name="connsiteX142" fmla="*/ 307 w 9974"/>
                <a:gd name="connsiteY142" fmla="*/ 8 h 10003"/>
                <a:gd name="connsiteX143" fmla="*/ 52 w 9974"/>
                <a:gd name="connsiteY143" fmla="*/ 3 h 10003"/>
                <a:gd name="connsiteX144" fmla="*/ 13 w 9974"/>
                <a:gd name="connsiteY144" fmla="*/ 0 h 10003"/>
                <a:gd name="connsiteX145" fmla="*/ 1219 w 9974"/>
                <a:gd name="connsiteY145" fmla="*/ 2446 h 10003"/>
                <a:gd name="connsiteX146" fmla="*/ 0 w 9974"/>
                <a:gd name="connsiteY146" fmla="*/ 4771 h 10003"/>
                <a:gd name="connsiteX0" fmla="*/ 0 w 9990"/>
                <a:gd name="connsiteY0" fmla="*/ 4770 h 10000"/>
                <a:gd name="connsiteX1" fmla="*/ 23 w 9990"/>
                <a:gd name="connsiteY1" fmla="*/ 4764 h 10000"/>
                <a:gd name="connsiteX2" fmla="*/ 127 w 9990"/>
                <a:gd name="connsiteY2" fmla="*/ 4764 h 10000"/>
                <a:gd name="connsiteX3" fmla="*/ 233 w 9990"/>
                <a:gd name="connsiteY3" fmla="*/ 4770 h 10000"/>
                <a:gd name="connsiteX4" fmla="*/ 338 w 9990"/>
                <a:gd name="connsiteY4" fmla="*/ 4775 h 10000"/>
                <a:gd name="connsiteX5" fmla="*/ 442 w 9990"/>
                <a:gd name="connsiteY5" fmla="*/ 4780 h 10000"/>
                <a:gd name="connsiteX6" fmla="*/ 547 w 9990"/>
                <a:gd name="connsiteY6" fmla="*/ 4796 h 10000"/>
                <a:gd name="connsiteX7" fmla="*/ 652 w 9990"/>
                <a:gd name="connsiteY7" fmla="*/ 4807 h 10000"/>
                <a:gd name="connsiteX8" fmla="*/ 750 w 9990"/>
                <a:gd name="connsiteY8" fmla="*/ 4818 h 10000"/>
                <a:gd name="connsiteX9" fmla="*/ 848 w 9990"/>
                <a:gd name="connsiteY9" fmla="*/ 4834 h 10000"/>
                <a:gd name="connsiteX10" fmla="*/ 954 w 9990"/>
                <a:gd name="connsiteY10" fmla="*/ 4850 h 10000"/>
                <a:gd name="connsiteX11" fmla="*/ 1052 w 9990"/>
                <a:gd name="connsiteY11" fmla="*/ 4871 h 10000"/>
                <a:gd name="connsiteX12" fmla="*/ 1150 w 9990"/>
                <a:gd name="connsiteY12" fmla="*/ 4892 h 10000"/>
                <a:gd name="connsiteX13" fmla="*/ 1248 w 9990"/>
                <a:gd name="connsiteY13" fmla="*/ 4914 h 10000"/>
                <a:gd name="connsiteX14" fmla="*/ 1341 w 9990"/>
                <a:gd name="connsiteY14" fmla="*/ 4941 h 10000"/>
                <a:gd name="connsiteX15" fmla="*/ 1439 w 9990"/>
                <a:gd name="connsiteY15" fmla="*/ 4967 h 10000"/>
                <a:gd name="connsiteX16" fmla="*/ 1530 w 9990"/>
                <a:gd name="connsiteY16" fmla="*/ 4999 h 10000"/>
                <a:gd name="connsiteX17" fmla="*/ 1622 w 9990"/>
                <a:gd name="connsiteY17" fmla="*/ 5030 h 10000"/>
                <a:gd name="connsiteX18" fmla="*/ 1713 w 9990"/>
                <a:gd name="connsiteY18" fmla="*/ 5062 h 10000"/>
                <a:gd name="connsiteX19" fmla="*/ 1806 w 9990"/>
                <a:gd name="connsiteY19" fmla="*/ 5095 h 10000"/>
                <a:gd name="connsiteX20" fmla="*/ 1897 w 9990"/>
                <a:gd name="connsiteY20" fmla="*/ 5132 h 10000"/>
                <a:gd name="connsiteX21" fmla="*/ 1989 w 9990"/>
                <a:gd name="connsiteY21" fmla="*/ 5169 h 10000"/>
                <a:gd name="connsiteX22" fmla="*/ 2074 w 9990"/>
                <a:gd name="connsiteY22" fmla="*/ 5212 h 10000"/>
                <a:gd name="connsiteX23" fmla="*/ 2160 w 9990"/>
                <a:gd name="connsiteY23" fmla="*/ 5250 h 10000"/>
                <a:gd name="connsiteX24" fmla="*/ 2245 w 9990"/>
                <a:gd name="connsiteY24" fmla="*/ 5292 h 10000"/>
                <a:gd name="connsiteX25" fmla="*/ 2323 w 9990"/>
                <a:gd name="connsiteY25" fmla="*/ 5335 h 10000"/>
                <a:gd name="connsiteX26" fmla="*/ 2408 w 9990"/>
                <a:gd name="connsiteY26" fmla="*/ 5383 h 10000"/>
                <a:gd name="connsiteX27" fmla="*/ 2486 w 9990"/>
                <a:gd name="connsiteY27" fmla="*/ 5431 h 10000"/>
                <a:gd name="connsiteX28" fmla="*/ 2566 w 9990"/>
                <a:gd name="connsiteY28" fmla="*/ 5479 h 10000"/>
                <a:gd name="connsiteX29" fmla="*/ 2644 w 9990"/>
                <a:gd name="connsiteY29" fmla="*/ 5527 h 10000"/>
                <a:gd name="connsiteX30" fmla="*/ 2723 w 9990"/>
                <a:gd name="connsiteY30" fmla="*/ 5581 h 10000"/>
                <a:gd name="connsiteX31" fmla="*/ 2795 w 9990"/>
                <a:gd name="connsiteY31" fmla="*/ 5634 h 10000"/>
                <a:gd name="connsiteX32" fmla="*/ 2866 w 9990"/>
                <a:gd name="connsiteY32" fmla="*/ 5688 h 10000"/>
                <a:gd name="connsiteX33" fmla="*/ 2939 w 9990"/>
                <a:gd name="connsiteY33" fmla="*/ 5747 h 10000"/>
                <a:gd name="connsiteX34" fmla="*/ 3005 w 9990"/>
                <a:gd name="connsiteY34" fmla="*/ 5805 h 10000"/>
                <a:gd name="connsiteX35" fmla="*/ 3077 w 9990"/>
                <a:gd name="connsiteY35" fmla="*/ 5864 h 10000"/>
                <a:gd name="connsiteX36" fmla="*/ 3142 w 9990"/>
                <a:gd name="connsiteY36" fmla="*/ 5923 h 10000"/>
                <a:gd name="connsiteX37" fmla="*/ 3201 w 9990"/>
                <a:gd name="connsiteY37" fmla="*/ 5987 h 10000"/>
                <a:gd name="connsiteX38" fmla="*/ 3267 w 9990"/>
                <a:gd name="connsiteY38" fmla="*/ 6046 h 10000"/>
                <a:gd name="connsiteX39" fmla="*/ 3326 w 9990"/>
                <a:gd name="connsiteY39" fmla="*/ 6110 h 10000"/>
                <a:gd name="connsiteX40" fmla="*/ 3385 w 9990"/>
                <a:gd name="connsiteY40" fmla="*/ 6174 h 10000"/>
                <a:gd name="connsiteX41" fmla="*/ 3444 w 9990"/>
                <a:gd name="connsiteY41" fmla="*/ 6238 h 10000"/>
                <a:gd name="connsiteX42" fmla="*/ 3496 w 9990"/>
                <a:gd name="connsiteY42" fmla="*/ 6308 h 10000"/>
                <a:gd name="connsiteX43" fmla="*/ 3548 w 9990"/>
                <a:gd name="connsiteY43" fmla="*/ 6377 h 10000"/>
                <a:gd name="connsiteX44" fmla="*/ 3600 w 9990"/>
                <a:gd name="connsiteY44" fmla="*/ 6447 h 10000"/>
                <a:gd name="connsiteX45" fmla="*/ 3654 w 9990"/>
                <a:gd name="connsiteY45" fmla="*/ 6516 h 10000"/>
                <a:gd name="connsiteX46" fmla="*/ 3693 w 9990"/>
                <a:gd name="connsiteY46" fmla="*/ 6591 h 10000"/>
                <a:gd name="connsiteX47" fmla="*/ 3745 w 9990"/>
                <a:gd name="connsiteY47" fmla="*/ 6666 h 10000"/>
                <a:gd name="connsiteX48" fmla="*/ 3784 w 9990"/>
                <a:gd name="connsiteY48" fmla="*/ 6735 h 10000"/>
                <a:gd name="connsiteX49" fmla="*/ 3824 w 9990"/>
                <a:gd name="connsiteY49" fmla="*/ 6810 h 10000"/>
                <a:gd name="connsiteX50" fmla="*/ 3863 w 9990"/>
                <a:gd name="connsiteY50" fmla="*/ 6885 h 10000"/>
                <a:gd name="connsiteX51" fmla="*/ 3896 w 9990"/>
                <a:gd name="connsiteY51" fmla="*/ 6960 h 10000"/>
                <a:gd name="connsiteX52" fmla="*/ 3928 w 9990"/>
                <a:gd name="connsiteY52" fmla="*/ 7040 h 10000"/>
                <a:gd name="connsiteX53" fmla="*/ 3961 w 9990"/>
                <a:gd name="connsiteY53" fmla="*/ 7120 h 10000"/>
                <a:gd name="connsiteX54" fmla="*/ 3994 w 9990"/>
                <a:gd name="connsiteY54" fmla="*/ 7195 h 10000"/>
                <a:gd name="connsiteX55" fmla="*/ 4020 w 9990"/>
                <a:gd name="connsiteY55" fmla="*/ 7275 h 10000"/>
                <a:gd name="connsiteX56" fmla="*/ 4040 w 9990"/>
                <a:gd name="connsiteY56" fmla="*/ 7355 h 10000"/>
                <a:gd name="connsiteX57" fmla="*/ 4067 w 9990"/>
                <a:gd name="connsiteY57" fmla="*/ 7441 h 10000"/>
                <a:gd name="connsiteX58" fmla="*/ 4086 w 9990"/>
                <a:gd name="connsiteY58" fmla="*/ 7521 h 10000"/>
                <a:gd name="connsiteX59" fmla="*/ 4106 w 9990"/>
                <a:gd name="connsiteY59" fmla="*/ 7601 h 10000"/>
                <a:gd name="connsiteX60" fmla="*/ 4119 w 9990"/>
                <a:gd name="connsiteY60" fmla="*/ 7687 h 10000"/>
                <a:gd name="connsiteX61" fmla="*/ 4132 w 9990"/>
                <a:gd name="connsiteY61" fmla="*/ 7772 h 10000"/>
                <a:gd name="connsiteX62" fmla="*/ 4138 w 9990"/>
                <a:gd name="connsiteY62" fmla="*/ 7858 h 10000"/>
                <a:gd name="connsiteX63" fmla="*/ 4145 w 9990"/>
                <a:gd name="connsiteY63" fmla="*/ 7943 h 10000"/>
                <a:gd name="connsiteX64" fmla="*/ 4145 w 9990"/>
                <a:gd name="connsiteY64" fmla="*/ 8029 h 10000"/>
                <a:gd name="connsiteX65" fmla="*/ 4151 w 9990"/>
                <a:gd name="connsiteY65" fmla="*/ 8114 h 10000"/>
                <a:gd name="connsiteX66" fmla="*/ 4145 w 9990"/>
                <a:gd name="connsiteY66" fmla="*/ 8227 h 10000"/>
                <a:gd name="connsiteX67" fmla="*/ 4138 w 9990"/>
                <a:gd name="connsiteY67" fmla="*/ 8343 h 10000"/>
                <a:gd name="connsiteX68" fmla="*/ 4132 w 9990"/>
                <a:gd name="connsiteY68" fmla="*/ 8450 h 10000"/>
                <a:gd name="connsiteX69" fmla="*/ 4112 w 9990"/>
                <a:gd name="connsiteY69" fmla="*/ 8562 h 10000"/>
                <a:gd name="connsiteX70" fmla="*/ 6720 w 9990"/>
                <a:gd name="connsiteY70" fmla="*/ 10000 h 10000"/>
                <a:gd name="connsiteX71" fmla="*/ 9840 w 9990"/>
                <a:gd name="connsiteY71" fmla="*/ 9498 h 10000"/>
                <a:gd name="connsiteX72" fmla="*/ 9879 w 9990"/>
                <a:gd name="connsiteY72" fmla="*/ 9332 h 10000"/>
                <a:gd name="connsiteX73" fmla="*/ 9905 w 9990"/>
                <a:gd name="connsiteY73" fmla="*/ 9161 h 10000"/>
                <a:gd name="connsiteX74" fmla="*/ 9931 w 9990"/>
                <a:gd name="connsiteY74" fmla="*/ 8990 h 10000"/>
                <a:gd name="connsiteX75" fmla="*/ 9951 w 9990"/>
                <a:gd name="connsiteY75" fmla="*/ 8813 h 10000"/>
                <a:gd name="connsiteX76" fmla="*/ 9964 w 9990"/>
                <a:gd name="connsiteY76" fmla="*/ 8637 h 10000"/>
                <a:gd name="connsiteX77" fmla="*/ 9977 w 9990"/>
                <a:gd name="connsiteY77" fmla="*/ 8466 h 10000"/>
                <a:gd name="connsiteX78" fmla="*/ 9983 w 9990"/>
                <a:gd name="connsiteY78" fmla="*/ 8291 h 10000"/>
                <a:gd name="connsiteX79" fmla="*/ 9990 w 9990"/>
                <a:gd name="connsiteY79" fmla="*/ 8114 h 10000"/>
                <a:gd name="connsiteX80" fmla="*/ 9983 w 9990"/>
                <a:gd name="connsiteY80" fmla="*/ 7901 h 10000"/>
                <a:gd name="connsiteX81" fmla="*/ 9977 w 9990"/>
                <a:gd name="connsiteY81" fmla="*/ 7697 h 10000"/>
                <a:gd name="connsiteX82" fmla="*/ 9957 w 9990"/>
                <a:gd name="connsiteY82" fmla="*/ 7489 h 10000"/>
                <a:gd name="connsiteX83" fmla="*/ 9938 w 9990"/>
                <a:gd name="connsiteY83" fmla="*/ 7286 h 10000"/>
                <a:gd name="connsiteX84" fmla="*/ 9905 w 9990"/>
                <a:gd name="connsiteY84" fmla="*/ 7077 h 10000"/>
                <a:gd name="connsiteX85" fmla="*/ 9872 w 9990"/>
                <a:gd name="connsiteY85" fmla="*/ 6880 h 10000"/>
                <a:gd name="connsiteX86" fmla="*/ 9833 w 9990"/>
                <a:gd name="connsiteY86" fmla="*/ 6677 h 10000"/>
                <a:gd name="connsiteX87" fmla="*/ 9786 w 9990"/>
                <a:gd name="connsiteY87" fmla="*/ 6479 h 10000"/>
                <a:gd name="connsiteX88" fmla="*/ 9734 w 9990"/>
                <a:gd name="connsiteY88" fmla="*/ 6281 h 10000"/>
                <a:gd name="connsiteX89" fmla="*/ 9675 w 9990"/>
                <a:gd name="connsiteY89" fmla="*/ 6089 h 10000"/>
                <a:gd name="connsiteX90" fmla="*/ 9610 w 9990"/>
                <a:gd name="connsiteY90" fmla="*/ 5891 h 10000"/>
                <a:gd name="connsiteX91" fmla="*/ 9545 w 9990"/>
                <a:gd name="connsiteY91" fmla="*/ 5698 h 10000"/>
                <a:gd name="connsiteX92" fmla="*/ 9466 w 9990"/>
                <a:gd name="connsiteY92" fmla="*/ 5511 h 10000"/>
                <a:gd name="connsiteX93" fmla="*/ 9387 w 9990"/>
                <a:gd name="connsiteY93" fmla="*/ 5324 h 10000"/>
                <a:gd name="connsiteX94" fmla="*/ 9295 w 9990"/>
                <a:gd name="connsiteY94" fmla="*/ 5137 h 10000"/>
                <a:gd name="connsiteX95" fmla="*/ 9204 w 9990"/>
                <a:gd name="connsiteY95" fmla="*/ 4957 h 10000"/>
                <a:gd name="connsiteX96" fmla="*/ 9112 w 9990"/>
                <a:gd name="connsiteY96" fmla="*/ 4775 h 10000"/>
                <a:gd name="connsiteX97" fmla="*/ 9007 w 9990"/>
                <a:gd name="connsiteY97" fmla="*/ 4598 h 10000"/>
                <a:gd name="connsiteX98" fmla="*/ 8902 w 9990"/>
                <a:gd name="connsiteY98" fmla="*/ 4422 h 10000"/>
                <a:gd name="connsiteX99" fmla="*/ 8791 w 9990"/>
                <a:gd name="connsiteY99" fmla="*/ 4246 h 10000"/>
                <a:gd name="connsiteX100" fmla="*/ 8673 w 9990"/>
                <a:gd name="connsiteY100" fmla="*/ 4075 h 10000"/>
                <a:gd name="connsiteX101" fmla="*/ 8548 w 9990"/>
                <a:gd name="connsiteY101" fmla="*/ 3909 h 10000"/>
                <a:gd name="connsiteX102" fmla="*/ 8424 w 9990"/>
                <a:gd name="connsiteY102" fmla="*/ 3743 h 10000"/>
                <a:gd name="connsiteX103" fmla="*/ 8293 w 9990"/>
                <a:gd name="connsiteY103" fmla="*/ 3578 h 10000"/>
                <a:gd name="connsiteX104" fmla="*/ 8155 w 9990"/>
                <a:gd name="connsiteY104" fmla="*/ 3417 h 10000"/>
                <a:gd name="connsiteX105" fmla="*/ 8011 w 9990"/>
                <a:gd name="connsiteY105" fmla="*/ 3262 h 10000"/>
                <a:gd name="connsiteX106" fmla="*/ 7866 w 9990"/>
                <a:gd name="connsiteY106" fmla="*/ 3107 h 10000"/>
                <a:gd name="connsiteX107" fmla="*/ 7716 w 9990"/>
                <a:gd name="connsiteY107" fmla="*/ 2952 h 10000"/>
                <a:gd name="connsiteX108" fmla="*/ 7566 w 9990"/>
                <a:gd name="connsiteY108" fmla="*/ 2808 h 10000"/>
                <a:gd name="connsiteX109" fmla="*/ 7401 w 9990"/>
                <a:gd name="connsiteY109" fmla="*/ 2664 h 10000"/>
                <a:gd name="connsiteX110" fmla="*/ 7244 w 9990"/>
                <a:gd name="connsiteY110" fmla="*/ 2519 h 10000"/>
                <a:gd name="connsiteX111" fmla="*/ 7074 w 9990"/>
                <a:gd name="connsiteY111" fmla="*/ 2375 h 10000"/>
                <a:gd name="connsiteX112" fmla="*/ 6904 w 9990"/>
                <a:gd name="connsiteY112" fmla="*/ 2241 h 10000"/>
                <a:gd name="connsiteX113" fmla="*/ 6734 w 9990"/>
                <a:gd name="connsiteY113" fmla="*/ 2108 h 10000"/>
                <a:gd name="connsiteX114" fmla="*/ 6550 w 9990"/>
                <a:gd name="connsiteY114" fmla="*/ 1980 h 10000"/>
                <a:gd name="connsiteX115" fmla="*/ 6367 w 9990"/>
                <a:gd name="connsiteY115" fmla="*/ 1857 h 10000"/>
                <a:gd name="connsiteX116" fmla="*/ 6183 w 9990"/>
                <a:gd name="connsiteY116" fmla="*/ 1734 h 10000"/>
                <a:gd name="connsiteX117" fmla="*/ 5993 w 9990"/>
                <a:gd name="connsiteY117" fmla="*/ 1617 h 10000"/>
                <a:gd name="connsiteX118" fmla="*/ 5796 w 9990"/>
                <a:gd name="connsiteY118" fmla="*/ 1500 h 10000"/>
                <a:gd name="connsiteX119" fmla="*/ 5600 w 9990"/>
                <a:gd name="connsiteY119" fmla="*/ 1387 h 10000"/>
                <a:gd name="connsiteX120" fmla="*/ 5403 w 9990"/>
                <a:gd name="connsiteY120" fmla="*/ 1280 h 10000"/>
                <a:gd name="connsiteX121" fmla="*/ 5200 w 9990"/>
                <a:gd name="connsiteY121" fmla="*/ 1179 h 10000"/>
                <a:gd name="connsiteX122" fmla="*/ 4997 w 9990"/>
                <a:gd name="connsiteY122" fmla="*/ 1077 h 10000"/>
                <a:gd name="connsiteX123" fmla="*/ 4780 w 9990"/>
                <a:gd name="connsiteY123" fmla="*/ 981 h 10000"/>
                <a:gd name="connsiteX124" fmla="*/ 4571 w 9990"/>
                <a:gd name="connsiteY124" fmla="*/ 890 h 10000"/>
                <a:gd name="connsiteX125" fmla="*/ 4354 w 9990"/>
                <a:gd name="connsiteY125" fmla="*/ 805 h 10000"/>
                <a:gd name="connsiteX126" fmla="*/ 4132 w 9990"/>
                <a:gd name="connsiteY126" fmla="*/ 719 h 10000"/>
                <a:gd name="connsiteX127" fmla="*/ 3915 w 9990"/>
                <a:gd name="connsiteY127" fmla="*/ 639 h 10000"/>
                <a:gd name="connsiteX128" fmla="*/ 3693 w 9990"/>
                <a:gd name="connsiteY128" fmla="*/ 570 h 10000"/>
                <a:gd name="connsiteX129" fmla="*/ 3463 w 9990"/>
                <a:gd name="connsiteY129" fmla="*/ 495 h 10000"/>
                <a:gd name="connsiteX130" fmla="*/ 3233 w 9990"/>
                <a:gd name="connsiteY130" fmla="*/ 431 h 10000"/>
                <a:gd name="connsiteX131" fmla="*/ 2998 w 9990"/>
                <a:gd name="connsiteY131" fmla="*/ 366 h 10000"/>
                <a:gd name="connsiteX132" fmla="*/ 2768 w 9990"/>
                <a:gd name="connsiteY132" fmla="*/ 313 h 10000"/>
                <a:gd name="connsiteX133" fmla="*/ 2527 w 9990"/>
                <a:gd name="connsiteY133" fmla="*/ 260 h 10000"/>
                <a:gd name="connsiteX134" fmla="*/ 2284 w 9990"/>
                <a:gd name="connsiteY134" fmla="*/ 211 h 10000"/>
                <a:gd name="connsiteX135" fmla="*/ 2047 w 9990"/>
                <a:gd name="connsiteY135" fmla="*/ 169 h 10000"/>
                <a:gd name="connsiteX136" fmla="*/ 1806 w 9990"/>
                <a:gd name="connsiteY136" fmla="*/ 131 h 10000"/>
                <a:gd name="connsiteX137" fmla="*/ 1556 w 9990"/>
                <a:gd name="connsiteY137" fmla="*/ 94 h 10000"/>
                <a:gd name="connsiteX138" fmla="*/ 1307 w 9990"/>
                <a:gd name="connsiteY138" fmla="*/ 67 h 10000"/>
                <a:gd name="connsiteX139" fmla="*/ 1059 w 9990"/>
                <a:gd name="connsiteY139" fmla="*/ 46 h 10000"/>
                <a:gd name="connsiteX140" fmla="*/ 809 w 9990"/>
                <a:gd name="connsiteY140" fmla="*/ 30 h 10000"/>
                <a:gd name="connsiteX141" fmla="*/ 553 w 9990"/>
                <a:gd name="connsiteY141" fmla="*/ 14 h 10000"/>
                <a:gd name="connsiteX142" fmla="*/ 298 w 9990"/>
                <a:gd name="connsiteY142" fmla="*/ 8 h 10000"/>
                <a:gd name="connsiteX143" fmla="*/ 42 w 9990"/>
                <a:gd name="connsiteY143" fmla="*/ 3 h 10000"/>
                <a:gd name="connsiteX144" fmla="*/ 3 w 9990"/>
                <a:gd name="connsiteY144" fmla="*/ 0 h 10000"/>
                <a:gd name="connsiteX145" fmla="*/ 1212 w 9990"/>
                <a:gd name="connsiteY145" fmla="*/ 2445 h 10000"/>
                <a:gd name="connsiteX146" fmla="*/ 0 w 9990"/>
                <a:gd name="connsiteY146" fmla="*/ 4770 h 10000"/>
                <a:gd name="connsiteX0" fmla="*/ 7 w 9997"/>
                <a:gd name="connsiteY0" fmla="*/ 4770 h 10000"/>
                <a:gd name="connsiteX1" fmla="*/ 20 w 9997"/>
                <a:gd name="connsiteY1" fmla="*/ 4764 h 10000"/>
                <a:gd name="connsiteX2" fmla="*/ 124 w 9997"/>
                <a:gd name="connsiteY2" fmla="*/ 4764 h 10000"/>
                <a:gd name="connsiteX3" fmla="*/ 230 w 9997"/>
                <a:gd name="connsiteY3" fmla="*/ 4770 h 10000"/>
                <a:gd name="connsiteX4" fmla="*/ 335 w 9997"/>
                <a:gd name="connsiteY4" fmla="*/ 4775 h 10000"/>
                <a:gd name="connsiteX5" fmla="*/ 439 w 9997"/>
                <a:gd name="connsiteY5" fmla="*/ 4780 h 10000"/>
                <a:gd name="connsiteX6" fmla="*/ 545 w 9997"/>
                <a:gd name="connsiteY6" fmla="*/ 4796 h 10000"/>
                <a:gd name="connsiteX7" fmla="*/ 650 w 9997"/>
                <a:gd name="connsiteY7" fmla="*/ 4807 h 10000"/>
                <a:gd name="connsiteX8" fmla="*/ 748 w 9997"/>
                <a:gd name="connsiteY8" fmla="*/ 4818 h 10000"/>
                <a:gd name="connsiteX9" fmla="*/ 846 w 9997"/>
                <a:gd name="connsiteY9" fmla="*/ 4834 h 10000"/>
                <a:gd name="connsiteX10" fmla="*/ 952 w 9997"/>
                <a:gd name="connsiteY10" fmla="*/ 4850 h 10000"/>
                <a:gd name="connsiteX11" fmla="*/ 1050 w 9997"/>
                <a:gd name="connsiteY11" fmla="*/ 4871 h 10000"/>
                <a:gd name="connsiteX12" fmla="*/ 1148 w 9997"/>
                <a:gd name="connsiteY12" fmla="*/ 4892 h 10000"/>
                <a:gd name="connsiteX13" fmla="*/ 1246 w 9997"/>
                <a:gd name="connsiteY13" fmla="*/ 4914 h 10000"/>
                <a:gd name="connsiteX14" fmla="*/ 1339 w 9997"/>
                <a:gd name="connsiteY14" fmla="*/ 4941 h 10000"/>
                <a:gd name="connsiteX15" fmla="*/ 1437 w 9997"/>
                <a:gd name="connsiteY15" fmla="*/ 4967 h 10000"/>
                <a:gd name="connsiteX16" fmla="*/ 1529 w 9997"/>
                <a:gd name="connsiteY16" fmla="*/ 4999 h 10000"/>
                <a:gd name="connsiteX17" fmla="*/ 1621 w 9997"/>
                <a:gd name="connsiteY17" fmla="*/ 5030 h 10000"/>
                <a:gd name="connsiteX18" fmla="*/ 1712 w 9997"/>
                <a:gd name="connsiteY18" fmla="*/ 5062 h 10000"/>
                <a:gd name="connsiteX19" fmla="*/ 1805 w 9997"/>
                <a:gd name="connsiteY19" fmla="*/ 5095 h 10000"/>
                <a:gd name="connsiteX20" fmla="*/ 1896 w 9997"/>
                <a:gd name="connsiteY20" fmla="*/ 5132 h 10000"/>
                <a:gd name="connsiteX21" fmla="*/ 1988 w 9997"/>
                <a:gd name="connsiteY21" fmla="*/ 5169 h 10000"/>
                <a:gd name="connsiteX22" fmla="*/ 2073 w 9997"/>
                <a:gd name="connsiteY22" fmla="*/ 5212 h 10000"/>
                <a:gd name="connsiteX23" fmla="*/ 2159 w 9997"/>
                <a:gd name="connsiteY23" fmla="*/ 5250 h 10000"/>
                <a:gd name="connsiteX24" fmla="*/ 2244 w 9997"/>
                <a:gd name="connsiteY24" fmla="*/ 5292 h 10000"/>
                <a:gd name="connsiteX25" fmla="*/ 2322 w 9997"/>
                <a:gd name="connsiteY25" fmla="*/ 5335 h 10000"/>
                <a:gd name="connsiteX26" fmla="*/ 2407 w 9997"/>
                <a:gd name="connsiteY26" fmla="*/ 5383 h 10000"/>
                <a:gd name="connsiteX27" fmla="*/ 2485 w 9997"/>
                <a:gd name="connsiteY27" fmla="*/ 5431 h 10000"/>
                <a:gd name="connsiteX28" fmla="*/ 2566 w 9997"/>
                <a:gd name="connsiteY28" fmla="*/ 5479 h 10000"/>
                <a:gd name="connsiteX29" fmla="*/ 2644 w 9997"/>
                <a:gd name="connsiteY29" fmla="*/ 5527 h 10000"/>
                <a:gd name="connsiteX30" fmla="*/ 2723 w 9997"/>
                <a:gd name="connsiteY30" fmla="*/ 5581 h 10000"/>
                <a:gd name="connsiteX31" fmla="*/ 2795 w 9997"/>
                <a:gd name="connsiteY31" fmla="*/ 5634 h 10000"/>
                <a:gd name="connsiteX32" fmla="*/ 2866 w 9997"/>
                <a:gd name="connsiteY32" fmla="*/ 5688 h 10000"/>
                <a:gd name="connsiteX33" fmla="*/ 2939 w 9997"/>
                <a:gd name="connsiteY33" fmla="*/ 5747 h 10000"/>
                <a:gd name="connsiteX34" fmla="*/ 3005 w 9997"/>
                <a:gd name="connsiteY34" fmla="*/ 5805 h 10000"/>
                <a:gd name="connsiteX35" fmla="*/ 3077 w 9997"/>
                <a:gd name="connsiteY35" fmla="*/ 5864 h 10000"/>
                <a:gd name="connsiteX36" fmla="*/ 3142 w 9997"/>
                <a:gd name="connsiteY36" fmla="*/ 5923 h 10000"/>
                <a:gd name="connsiteX37" fmla="*/ 3201 w 9997"/>
                <a:gd name="connsiteY37" fmla="*/ 5987 h 10000"/>
                <a:gd name="connsiteX38" fmla="*/ 3267 w 9997"/>
                <a:gd name="connsiteY38" fmla="*/ 6046 h 10000"/>
                <a:gd name="connsiteX39" fmla="*/ 3326 w 9997"/>
                <a:gd name="connsiteY39" fmla="*/ 6110 h 10000"/>
                <a:gd name="connsiteX40" fmla="*/ 3385 w 9997"/>
                <a:gd name="connsiteY40" fmla="*/ 6174 h 10000"/>
                <a:gd name="connsiteX41" fmla="*/ 3444 w 9997"/>
                <a:gd name="connsiteY41" fmla="*/ 6238 h 10000"/>
                <a:gd name="connsiteX42" fmla="*/ 3496 w 9997"/>
                <a:gd name="connsiteY42" fmla="*/ 6308 h 10000"/>
                <a:gd name="connsiteX43" fmla="*/ 3549 w 9997"/>
                <a:gd name="connsiteY43" fmla="*/ 6377 h 10000"/>
                <a:gd name="connsiteX44" fmla="*/ 3601 w 9997"/>
                <a:gd name="connsiteY44" fmla="*/ 6447 h 10000"/>
                <a:gd name="connsiteX45" fmla="*/ 3655 w 9997"/>
                <a:gd name="connsiteY45" fmla="*/ 6516 h 10000"/>
                <a:gd name="connsiteX46" fmla="*/ 3694 w 9997"/>
                <a:gd name="connsiteY46" fmla="*/ 6591 h 10000"/>
                <a:gd name="connsiteX47" fmla="*/ 3746 w 9997"/>
                <a:gd name="connsiteY47" fmla="*/ 6666 h 10000"/>
                <a:gd name="connsiteX48" fmla="*/ 3785 w 9997"/>
                <a:gd name="connsiteY48" fmla="*/ 6735 h 10000"/>
                <a:gd name="connsiteX49" fmla="*/ 3825 w 9997"/>
                <a:gd name="connsiteY49" fmla="*/ 6810 h 10000"/>
                <a:gd name="connsiteX50" fmla="*/ 3864 w 9997"/>
                <a:gd name="connsiteY50" fmla="*/ 6885 h 10000"/>
                <a:gd name="connsiteX51" fmla="*/ 3897 w 9997"/>
                <a:gd name="connsiteY51" fmla="*/ 6960 h 10000"/>
                <a:gd name="connsiteX52" fmla="*/ 3929 w 9997"/>
                <a:gd name="connsiteY52" fmla="*/ 7040 h 10000"/>
                <a:gd name="connsiteX53" fmla="*/ 3962 w 9997"/>
                <a:gd name="connsiteY53" fmla="*/ 7120 h 10000"/>
                <a:gd name="connsiteX54" fmla="*/ 3995 w 9997"/>
                <a:gd name="connsiteY54" fmla="*/ 7195 h 10000"/>
                <a:gd name="connsiteX55" fmla="*/ 4021 w 9997"/>
                <a:gd name="connsiteY55" fmla="*/ 7275 h 10000"/>
                <a:gd name="connsiteX56" fmla="*/ 4041 w 9997"/>
                <a:gd name="connsiteY56" fmla="*/ 7355 h 10000"/>
                <a:gd name="connsiteX57" fmla="*/ 4068 w 9997"/>
                <a:gd name="connsiteY57" fmla="*/ 7441 h 10000"/>
                <a:gd name="connsiteX58" fmla="*/ 4087 w 9997"/>
                <a:gd name="connsiteY58" fmla="*/ 7521 h 10000"/>
                <a:gd name="connsiteX59" fmla="*/ 4107 w 9997"/>
                <a:gd name="connsiteY59" fmla="*/ 7601 h 10000"/>
                <a:gd name="connsiteX60" fmla="*/ 4120 w 9997"/>
                <a:gd name="connsiteY60" fmla="*/ 7687 h 10000"/>
                <a:gd name="connsiteX61" fmla="*/ 4133 w 9997"/>
                <a:gd name="connsiteY61" fmla="*/ 7772 h 10000"/>
                <a:gd name="connsiteX62" fmla="*/ 4139 w 9997"/>
                <a:gd name="connsiteY62" fmla="*/ 7858 h 10000"/>
                <a:gd name="connsiteX63" fmla="*/ 4146 w 9997"/>
                <a:gd name="connsiteY63" fmla="*/ 7943 h 10000"/>
                <a:gd name="connsiteX64" fmla="*/ 4146 w 9997"/>
                <a:gd name="connsiteY64" fmla="*/ 8029 h 10000"/>
                <a:gd name="connsiteX65" fmla="*/ 4152 w 9997"/>
                <a:gd name="connsiteY65" fmla="*/ 8114 h 10000"/>
                <a:gd name="connsiteX66" fmla="*/ 4146 w 9997"/>
                <a:gd name="connsiteY66" fmla="*/ 8227 h 10000"/>
                <a:gd name="connsiteX67" fmla="*/ 4139 w 9997"/>
                <a:gd name="connsiteY67" fmla="*/ 8343 h 10000"/>
                <a:gd name="connsiteX68" fmla="*/ 4133 w 9997"/>
                <a:gd name="connsiteY68" fmla="*/ 8450 h 10000"/>
                <a:gd name="connsiteX69" fmla="*/ 4113 w 9997"/>
                <a:gd name="connsiteY69" fmla="*/ 8562 h 10000"/>
                <a:gd name="connsiteX70" fmla="*/ 6724 w 9997"/>
                <a:gd name="connsiteY70" fmla="*/ 10000 h 10000"/>
                <a:gd name="connsiteX71" fmla="*/ 9847 w 9997"/>
                <a:gd name="connsiteY71" fmla="*/ 9498 h 10000"/>
                <a:gd name="connsiteX72" fmla="*/ 9886 w 9997"/>
                <a:gd name="connsiteY72" fmla="*/ 9332 h 10000"/>
                <a:gd name="connsiteX73" fmla="*/ 9912 w 9997"/>
                <a:gd name="connsiteY73" fmla="*/ 9161 h 10000"/>
                <a:gd name="connsiteX74" fmla="*/ 9938 w 9997"/>
                <a:gd name="connsiteY74" fmla="*/ 8990 h 10000"/>
                <a:gd name="connsiteX75" fmla="*/ 9958 w 9997"/>
                <a:gd name="connsiteY75" fmla="*/ 8813 h 10000"/>
                <a:gd name="connsiteX76" fmla="*/ 9971 w 9997"/>
                <a:gd name="connsiteY76" fmla="*/ 8637 h 10000"/>
                <a:gd name="connsiteX77" fmla="*/ 9984 w 9997"/>
                <a:gd name="connsiteY77" fmla="*/ 8466 h 10000"/>
                <a:gd name="connsiteX78" fmla="*/ 9990 w 9997"/>
                <a:gd name="connsiteY78" fmla="*/ 8291 h 10000"/>
                <a:gd name="connsiteX79" fmla="*/ 9997 w 9997"/>
                <a:gd name="connsiteY79" fmla="*/ 8114 h 10000"/>
                <a:gd name="connsiteX80" fmla="*/ 9990 w 9997"/>
                <a:gd name="connsiteY80" fmla="*/ 7901 h 10000"/>
                <a:gd name="connsiteX81" fmla="*/ 9984 w 9997"/>
                <a:gd name="connsiteY81" fmla="*/ 7697 h 10000"/>
                <a:gd name="connsiteX82" fmla="*/ 9964 w 9997"/>
                <a:gd name="connsiteY82" fmla="*/ 7489 h 10000"/>
                <a:gd name="connsiteX83" fmla="*/ 9945 w 9997"/>
                <a:gd name="connsiteY83" fmla="*/ 7286 h 10000"/>
                <a:gd name="connsiteX84" fmla="*/ 9912 w 9997"/>
                <a:gd name="connsiteY84" fmla="*/ 7077 h 10000"/>
                <a:gd name="connsiteX85" fmla="*/ 9879 w 9997"/>
                <a:gd name="connsiteY85" fmla="*/ 6880 h 10000"/>
                <a:gd name="connsiteX86" fmla="*/ 9840 w 9997"/>
                <a:gd name="connsiteY86" fmla="*/ 6677 h 10000"/>
                <a:gd name="connsiteX87" fmla="*/ 9793 w 9997"/>
                <a:gd name="connsiteY87" fmla="*/ 6479 h 10000"/>
                <a:gd name="connsiteX88" fmla="*/ 9741 w 9997"/>
                <a:gd name="connsiteY88" fmla="*/ 6281 h 10000"/>
                <a:gd name="connsiteX89" fmla="*/ 9682 w 9997"/>
                <a:gd name="connsiteY89" fmla="*/ 6089 h 10000"/>
                <a:gd name="connsiteX90" fmla="*/ 9617 w 9997"/>
                <a:gd name="connsiteY90" fmla="*/ 5891 h 10000"/>
                <a:gd name="connsiteX91" fmla="*/ 9552 w 9997"/>
                <a:gd name="connsiteY91" fmla="*/ 5698 h 10000"/>
                <a:gd name="connsiteX92" fmla="*/ 9472 w 9997"/>
                <a:gd name="connsiteY92" fmla="*/ 5511 h 10000"/>
                <a:gd name="connsiteX93" fmla="*/ 9393 w 9997"/>
                <a:gd name="connsiteY93" fmla="*/ 5324 h 10000"/>
                <a:gd name="connsiteX94" fmla="*/ 9301 w 9997"/>
                <a:gd name="connsiteY94" fmla="*/ 5137 h 10000"/>
                <a:gd name="connsiteX95" fmla="*/ 9210 w 9997"/>
                <a:gd name="connsiteY95" fmla="*/ 4957 h 10000"/>
                <a:gd name="connsiteX96" fmla="*/ 9118 w 9997"/>
                <a:gd name="connsiteY96" fmla="*/ 4775 h 10000"/>
                <a:gd name="connsiteX97" fmla="*/ 9013 w 9997"/>
                <a:gd name="connsiteY97" fmla="*/ 4598 h 10000"/>
                <a:gd name="connsiteX98" fmla="*/ 8908 w 9997"/>
                <a:gd name="connsiteY98" fmla="*/ 4422 h 10000"/>
                <a:gd name="connsiteX99" fmla="*/ 8797 w 9997"/>
                <a:gd name="connsiteY99" fmla="*/ 4246 h 10000"/>
                <a:gd name="connsiteX100" fmla="*/ 8679 w 9997"/>
                <a:gd name="connsiteY100" fmla="*/ 4075 h 10000"/>
                <a:gd name="connsiteX101" fmla="*/ 8554 w 9997"/>
                <a:gd name="connsiteY101" fmla="*/ 3909 h 10000"/>
                <a:gd name="connsiteX102" fmla="*/ 8429 w 9997"/>
                <a:gd name="connsiteY102" fmla="*/ 3743 h 10000"/>
                <a:gd name="connsiteX103" fmla="*/ 8298 w 9997"/>
                <a:gd name="connsiteY103" fmla="*/ 3578 h 10000"/>
                <a:gd name="connsiteX104" fmla="*/ 8160 w 9997"/>
                <a:gd name="connsiteY104" fmla="*/ 3417 h 10000"/>
                <a:gd name="connsiteX105" fmla="*/ 8016 w 9997"/>
                <a:gd name="connsiteY105" fmla="*/ 3262 h 10000"/>
                <a:gd name="connsiteX106" fmla="*/ 7871 w 9997"/>
                <a:gd name="connsiteY106" fmla="*/ 3107 h 10000"/>
                <a:gd name="connsiteX107" fmla="*/ 7721 w 9997"/>
                <a:gd name="connsiteY107" fmla="*/ 2952 h 10000"/>
                <a:gd name="connsiteX108" fmla="*/ 7571 w 9997"/>
                <a:gd name="connsiteY108" fmla="*/ 2808 h 10000"/>
                <a:gd name="connsiteX109" fmla="*/ 7405 w 9997"/>
                <a:gd name="connsiteY109" fmla="*/ 2664 h 10000"/>
                <a:gd name="connsiteX110" fmla="*/ 7248 w 9997"/>
                <a:gd name="connsiteY110" fmla="*/ 2519 h 10000"/>
                <a:gd name="connsiteX111" fmla="*/ 7078 w 9997"/>
                <a:gd name="connsiteY111" fmla="*/ 2375 h 10000"/>
                <a:gd name="connsiteX112" fmla="*/ 6908 w 9997"/>
                <a:gd name="connsiteY112" fmla="*/ 2241 h 10000"/>
                <a:gd name="connsiteX113" fmla="*/ 6738 w 9997"/>
                <a:gd name="connsiteY113" fmla="*/ 2108 h 10000"/>
                <a:gd name="connsiteX114" fmla="*/ 6554 w 9997"/>
                <a:gd name="connsiteY114" fmla="*/ 1980 h 10000"/>
                <a:gd name="connsiteX115" fmla="*/ 6370 w 9997"/>
                <a:gd name="connsiteY115" fmla="*/ 1857 h 10000"/>
                <a:gd name="connsiteX116" fmla="*/ 6186 w 9997"/>
                <a:gd name="connsiteY116" fmla="*/ 1734 h 10000"/>
                <a:gd name="connsiteX117" fmla="*/ 5996 w 9997"/>
                <a:gd name="connsiteY117" fmla="*/ 1617 h 10000"/>
                <a:gd name="connsiteX118" fmla="*/ 5799 w 9997"/>
                <a:gd name="connsiteY118" fmla="*/ 1500 h 10000"/>
                <a:gd name="connsiteX119" fmla="*/ 5603 w 9997"/>
                <a:gd name="connsiteY119" fmla="*/ 1387 h 10000"/>
                <a:gd name="connsiteX120" fmla="*/ 5405 w 9997"/>
                <a:gd name="connsiteY120" fmla="*/ 1280 h 10000"/>
                <a:gd name="connsiteX121" fmla="*/ 5202 w 9997"/>
                <a:gd name="connsiteY121" fmla="*/ 1179 h 10000"/>
                <a:gd name="connsiteX122" fmla="*/ 4999 w 9997"/>
                <a:gd name="connsiteY122" fmla="*/ 1077 h 10000"/>
                <a:gd name="connsiteX123" fmla="*/ 4782 w 9997"/>
                <a:gd name="connsiteY123" fmla="*/ 981 h 10000"/>
                <a:gd name="connsiteX124" fmla="*/ 4573 w 9997"/>
                <a:gd name="connsiteY124" fmla="*/ 890 h 10000"/>
                <a:gd name="connsiteX125" fmla="*/ 4355 w 9997"/>
                <a:gd name="connsiteY125" fmla="*/ 805 h 10000"/>
                <a:gd name="connsiteX126" fmla="*/ 4133 w 9997"/>
                <a:gd name="connsiteY126" fmla="*/ 719 h 10000"/>
                <a:gd name="connsiteX127" fmla="*/ 3916 w 9997"/>
                <a:gd name="connsiteY127" fmla="*/ 639 h 10000"/>
                <a:gd name="connsiteX128" fmla="*/ 3694 w 9997"/>
                <a:gd name="connsiteY128" fmla="*/ 570 h 10000"/>
                <a:gd name="connsiteX129" fmla="*/ 3463 w 9997"/>
                <a:gd name="connsiteY129" fmla="*/ 495 h 10000"/>
                <a:gd name="connsiteX130" fmla="*/ 3233 w 9997"/>
                <a:gd name="connsiteY130" fmla="*/ 431 h 10000"/>
                <a:gd name="connsiteX131" fmla="*/ 2998 w 9997"/>
                <a:gd name="connsiteY131" fmla="*/ 366 h 10000"/>
                <a:gd name="connsiteX132" fmla="*/ 2768 w 9997"/>
                <a:gd name="connsiteY132" fmla="*/ 313 h 10000"/>
                <a:gd name="connsiteX133" fmla="*/ 2527 w 9997"/>
                <a:gd name="connsiteY133" fmla="*/ 260 h 10000"/>
                <a:gd name="connsiteX134" fmla="*/ 2283 w 9997"/>
                <a:gd name="connsiteY134" fmla="*/ 211 h 10000"/>
                <a:gd name="connsiteX135" fmla="*/ 2046 w 9997"/>
                <a:gd name="connsiteY135" fmla="*/ 169 h 10000"/>
                <a:gd name="connsiteX136" fmla="*/ 1805 w 9997"/>
                <a:gd name="connsiteY136" fmla="*/ 131 h 10000"/>
                <a:gd name="connsiteX137" fmla="*/ 1555 w 9997"/>
                <a:gd name="connsiteY137" fmla="*/ 94 h 10000"/>
                <a:gd name="connsiteX138" fmla="*/ 1305 w 9997"/>
                <a:gd name="connsiteY138" fmla="*/ 67 h 10000"/>
                <a:gd name="connsiteX139" fmla="*/ 1057 w 9997"/>
                <a:gd name="connsiteY139" fmla="*/ 46 h 10000"/>
                <a:gd name="connsiteX140" fmla="*/ 807 w 9997"/>
                <a:gd name="connsiteY140" fmla="*/ 30 h 10000"/>
                <a:gd name="connsiteX141" fmla="*/ 551 w 9997"/>
                <a:gd name="connsiteY141" fmla="*/ 14 h 10000"/>
                <a:gd name="connsiteX142" fmla="*/ 295 w 9997"/>
                <a:gd name="connsiteY142" fmla="*/ 8 h 10000"/>
                <a:gd name="connsiteX143" fmla="*/ 39 w 9997"/>
                <a:gd name="connsiteY143" fmla="*/ 3 h 10000"/>
                <a:gd name="connsiteX144" fmla="*/ 0 w 9997"/>
                <a:gd name="connsiteY144" fmla="*/ 0 h 10000"/>
                <a:gd name="connsiteX145" fmla="*/ 1210 w 9997"/>
                <a:gd name="connsiteY145" fmla="*/ 2445 h 10000"/>
                <a:gd name="connsiteX146" fmla="*/ 7 w 9997"/>
                <a:gd name="connsiteY146" fmla="*/ 477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</a:cxnLst>
              <a:rect l="l" t="t" r="r" b="b"/>
              <a:pathLst>
                <a:path w="9997" h="10000">
                  <a:moveTo>
                    <a:pt x="7" y="4770"/>
                  </a:moveTo>
                  <a:cubicBezTo>
                    <a:pt x="15" y="4768"/>
                    <a:pt x="12" y="4766"/>
                    <a:pt x="20" y="4764"/>
                  </a:cubicBezTo>
                  <a:lnTo>
                    <a:pt x="124" y="4764"/>
                  </a:lnTo>
                  <a:lnTo>
                    <a:pt x="230" y="4770"/>
                  </a:lnTo>
                  <a:lnTo>
                    <a:pt x="335" y="4775"/>
                  </a:lnTo>
                  <a:lnTo>
                    <a:pt x="439" y="4780"/>
                  </a:lnTo>
                  <a:lnTo>
                    <a:pt x="545" y="4796"/>
                  </a:lnTo>
                  <a:lnTo>
                    <a:pt x="650" y="4807"/>
                  </a:lnTo>
                  <a:lnTo>
                    <a:pt x="748" y="4818"/>
                  </a:lnTo>
                  <a:cubicBezTo>
                    <a:pt x="781" y="4823"/>
                    <a:pt x="813" y="4829"/>
                    <a:pt x="846" y="4834"/>
                  </a:cubicBezTo>
                  <a:lnTo>
                    <a:pt x="952" y="4850"/>
                  </a:lnTo>
                  <a:lnTo>
                    <a:pt x="1050" y="4871"/>
                  </a:lnTo>
                  <a:lnTo>
                    <a:pt x="1148" y="4892"/>
                  </a:lnTo>
                  <a:cubicBezTo>
                    <a:pt x="1181" y="4899"/>
                    <a:pt x="1213" y="4907"/>
                    <a:pt x="1246" y="4914"/>
                  </a:cubicBezTo>
                  <a:lnTo>
                    <a:pt x="1339" y="4941"/>
                  </a:lnTo>
                  <a:lnTo>
                    <a:pt x="1437" y="4967"/>
                  </a:lnTo>
                  <a:cubicBezTo>
                    <a:pt x="1467" y="4978"/>
                    <a:pt x="1499" y="4988"/>
                    <a:pt x="1529" y="4999"/>
                  </a:cubicBezTo>
                  <a:cubicBezTo>
                    <a:pt x="1560" y="5009"/>
                    <a:pt x="1590" y="5020"/>
                    <a:pt x="1621" y="5030"/>
                  </a:cubicBezTo>
                  <a:cubicBezTo>
                    <a:pt x="1651" y="5041"/>
                    <a:pt x="1682" y="5051"/>
                    <a:pt x="1712" y="5062"/>
                  </a:cubicBezTo>
                  <a:lnTo>
                    <a:pt x="1805" y="5095"/>
                  </a:lnTo>
                  <a:lnTo>
                    <a:pt x="1896" y="5132"/>
                  </a:lnTo>
                  <a:cubicBezTo>
                    <a:pt x="1927" y="5144"/>
                    <a:pt x="1957" y="5157"/>
                    <a:pt x="1988" y="5169"/>
                  </a:cubicBezTo>
                  <a:lnTo>
                    <a:pt x="2073" y="5212"/>
                  </a:lnTo>
                  <a:cubicBezTo>
                    <a:pt x="2101" y="5225"/>
                    <a:pt x="2131" y="5237"/>
                    <a:pt x="2159" y="5250"/>
                  </a:cubicBezTo>
                  <a:lnTo>
                    <a:pt x="2244" y="5292"/>
                  </a:lnTo>
                  <a:cubicBezTo>
                    <a:pt x="2270" y="5306"/>
                    <a:pt x="2296" y="5321"/>
                    <a:pt x="2322" y="5335"/>
                  </a:cubicBezTo>
                  <a:lnTo>
                    <a:pt x="2407" y="5383"/>
                  </a:lnTo>
                  <a:lnTo>
                    <a:pt x="2485" y="5431"/>
                  </a:lnTo>
                  <a:lnTo>
                    <a:pt x="2566" y="5479"/>
                  </a:lnTo>
                  <a:lnTo>
                    <a:pt x="2644" y="5527"/>
                  </a:lnTo>
                  <a:lnTo>
                    <a:pt x="2723" y="5581"/>
                  </a:lnTo>
                  <a:cubicBezTo>
                    <a:pt x="2747" y="5599"/>
                    <a:pt x="2771" y="5616"/>
                    <a:pt x="2795" y="5634"/>
                  </a:cubicBezTo>
                  <a:cubicBezTo>
                    <a:pt x="2819" y="5652"/>
                    <a:pt x="2842" y="5670"/>
                    <a:pt x="2866" y="5688"/>
                  </a:cubicBezTo>
                  <a:cubicBezTo>
                    <a:pt x="2891" y="5708"/>
                    <a:pt x="2915" y="5727"/>
                    <a:pt x="2939" y="5747"/>
                  </a:cubicBezTo>
                  <a:cubicBezTo>
                    <a:pt x="2961" y="5766"/>
                    <a:pt x="2983" y="5786"/>
                    <a:pt x="3005" y="5805"/>
                  </a:cubicBezTo>
                  <a:cubicBezTo>
                    <a:pt x="3029" y="5825"/>
                    <a:pt x="3053" y="5844"/>
                    <a:pt x="3077" y="5864"/>
                  </a:cubicBezTo>
                  <a:lnTo>
                    <a:pt x="3142" y="5923"/>
                  </a:lnTo>
                  <a:cubicBezTo>
                    <a:pt x="3162" y="5944"/>
                    <a:pt x="3181" y="5966"/>
                    <a:pt x="3201" y="5987"/>
                  </a:cubicBezTo>
                  <a:cubicBezTo>
                    <a:pt x="3223" y="6007"/>
                    <a:pt x="3245" y="6026"/>
                    <a:pt x="3267" y="6046"/>
                  </a:cubicBezTo>
                  <a:cubicBezTo>
                    <a:pt x="3287" y="6067"/>
                    <a:pt x="3306" y="6089"/>
                    <a:pt x="3326" y="6110"/>
                  </a:cubicBezTo>
                  <a:cubicBezTo>
                    <a:pt x="3346" y="6131"/>
                    <a:pt x="3365" y="6153"/>
                    <a:pt x="3385" y="6174"/>
                  </a:cubicBezTo>
                  <a:cubicBezTo>
                    <a:pt x="3405" y="6195"/>
                    <a:pt x="3424" y="6217"/>
                    <a:pt x="3444" y="6238"/>
                  </a:cubicBezTo>
                  <a:lnTo>
                    <a:pt x="3496" y="6308"/>
                  </a:lnTo>
                  <a:cubicBezTo>
                    <a:pt x="3514" y="6331"/>
                    <a:pt x="3532" y="6354"/>
                    <a:pt x="3549" y="6377"/>
                  </a:cubicBezTo>
                  <a:lnTo>
                    <a:pt x="3601" y="6447"/>
                  </a:lnTo>
                  <a:cubicBezTo>
                    <a:pt x="3619" y="6470"/>
                    <a:pt x="3636" y="6493"/>
                    <a:pt x="3655" y="6516"/>
                  </a:cubicBezTo>
                  <a:lnTo>
                    <a:pt x="3694" y="6591"/>
                  </a:lnTo>
                  <a:cubicBezTo>
                    <a:pt x="3711" y="6616"/>
                    <a:pt x="3729" y="6641"/>
                    <a:pt x="3746" y="6666"/>
                  </a:cubicBezTo>
                  <a:lnTo>
                    <a:pt x="3785" y="6735"/>
                  </a:lnTo>
                  <a:cubicBezTo>
                    <a:pt x="3798" y="6760"/>
                    <a:pt x="3812" y="6785"/>
                    <a:pt x="3825" y="6810"/>
                  </a:cubicBezTo>
                  <a:lnTo>
                    <a:pt x="3864" y="6885"/>
                  </a:lnTo>
                  <a:lnTo>
                    <a:pt x="3897" y="6960"/>
                  </a:lnTo>
                  <a:cubicBezTo>
                    <a:pt x="3908" y="6987"/>
                    <a:pt x="3918" y="7013"/>
                    <a:pt x="3929" y="7040"/>
                  </a:cubicBezTo>
                  <a:cubicBezTo>
                    <a:pt x="3940" y="7067"/>
                    <a:pt x="3951" y="7093"/>
                    <a:pt x="3962" y="7120"/>
                  </a:cubicBezTo>
                  <a:lnTo>
                    <a:pt x="3995" y="7195"/>
                  </a:lnTo>
                  <a:cubicBezTo>
                    <a:pt x="4004" y="7222"/>
                    <a:pt x="4012" y="7248"/>
                    <a:pt x="4021" y="7275"/>
                  </a:cubicBezTo>
                  <a:cubicBezTo>
                    <a:pt x="4027" y="7302"/>
                    <a:pt x="4035" y="7328"/>
                    <a:pt x="4041" y="7355"/>
                  </a:cubicBezTo>
                  <a:cubicBezTo>
                    <a:pt x="4050" y="7384"/>
                    <a:pt x="4059" y="7412"/>
                    <a:pt x="4068" y="7441"/>
                  </a:cubicBezTo>
                  <a:cubicBezTo>
                    <a:pt x="4074" y="7468"/>
                    <a:pt x="4081" y="7494"/>
                    <a:pt x="4087" y="7521"/>
                  </a:cubicBezTo>
                  <a:cubicBezTo>
                    <a:pt x="4094" y="7548"/>
                    <a:pt x="4100" y="7574"/>
                    <a:pt x="4107" y="7601"/>
                  </a:cubicBezTo>
                  <a:cubicBezTo>
                    <a:pt x="4111" y="7630"/>
                    <a:pt x="4116" y="7658"/>
                    <a:pt x="4120" y="7687"/>
                  </a:cubicBezTo>
                  <a:cubicBezTo>
                    <a:pt x="4124" y="7715"/>
                    <a:pt x="4129" y="7744"/>
                    <a:pt x="4133" y="7772"/>
                  </a:cubicBezTo>
                  <a:cubicBezTo>
                    <a:pt x="4135" y="7801"/>
                    <a:pt x="4137" y="7829"/>
                    <a:pt x="4139" y="7858"/>
                  </a:cubicBezTo>
                  <a:cubicBezTo>
                    <a:pt x="4141" y="7886"/>
                    <a:pt x="4144" y="7915"/>
                    <a:pt x="4146" y="7943"/>
                  </a:cubicBezTo>
                  <a:lnTo>
                    <a:pt x="4146" y="8029"/>
                  </a:lnTo>
                  <a:cubicBezTo>
                    <a:pt x="4148" y="8057"/>
                    <a:pt x="4150" y="8086"/>
                    <a:pt x="4152" y="8114"/>
                  </a:cubicBezTo>
                  <a:cubicBezTo>
                    <a:pt x="4150" y="8152"/>
                    <a:pt x="4148" y="8189"/>
                    <a:pt x="4146" y="8227"/>
                  </a:cubicBezTo>
                  <a:cubicBezTo>
                    <a:pt x="4144" y="8266"/>
                    <a:pt x="4141" y="8305"/>
                    <a:pt x="4139" y="8343"/>
                  </a:cubicBezTo>
                  <a:cubicBezTo>
                    <a:pt x="4137" y="8379"/>
                    <a:pt x="4135" y="8414"/>
                    <a:pt x="4133" y="8450"/>
                  </a:cubicBezTo>
                  <a:cubicBezTo>
                    <a:pt x="4126" y="8487"/>
                    <a:pt x="4120" y="8525"/>
                    <a:pt x="4113" y="8562"/>
                  </a:cubicBezTo>
                  <a:lnTo>
                    <a:pt x="6724" y="10000"/>
                  </a:lnTo>
                  <a:lnTo>
                    <a:pt x="9847" y="9498"/>
                  </a:lnTo>
                  <a:cubicBezTo>
                    <a:pt x="9860" y="9443"/>
                    <a:pt x="9873" y="9387"/>
                    <a:pt x="9886" y="9332"/>
                  </a:cubicBezTo>
                  <a:cubicBezTo>
                    <a:pt x="9895" y="9275"/>
                    <a:pt x="9903" y="9218"/>
                    <a:pt x="9912" y="9161"/>
                  </a:cubicBezTo>
                  <a:cubicBezTo>
                    <a:pt x="9921" y="9104"/>
                    <a:pt x="9929" y="9047"/>
                    <a:pt x="9938" y="8990"/>
                  </a:cubicBezTo>
                  <a:cubicBezTo>
                    <a:pt x="9945" y="8931"/>
                    <a:pt x="9951" y="8872"/>
                    <a:pt x="9958" y="8813"/>
                  </a:cubicBezTo>
                  <a:cubicBezTo>
                    <a:pt x="9962" y="8754"/>
                    <a:pt x="9967" y="8696"/>
                    <a:pt x="9971" y="8637"/>
                  </a:cubicBezTo>
                  <a:cubicBezTo>
                    <a:pt x="9975" y="8580"/>
                    <a:pt x="9980" y="8523"/>
                    <a:pt x="9984" y="8466"/>
                  </a:cubicBezTo>
                  <a:cubicBezTo>
                    <a:pt x="9986" y="8407"/>
                    <a:pt x="9988" y="8349"/>
                    <a:pt x="9990" y="8291"/>
                  </a:cubicBezTo>
                  <a:cubicBezTo>
                    <a:pt x="9992" y="8232"/>
                    <a:pt x="9995" y="8173"/>
                    <a:pt x="9997" y="8114"/>
                  </a:cubicBezTo>
                  <a:cubicBezTo>
                    <a:pt x="9995" y="8043"/>
                    <a:pt x="9992" y="7972"/>
                    <a:pt x="9990" y="7901"/>
                  </a:cubicBezTo>
                  <a:lnTo>
                    <a:pt x="9984" y="7697"/>
                  </a:lnTo>
                  <a:cubicBezTo>
                    <a:pt x="9977" y="7628"/>
                    <a:pt x="9971" y="7558"/>
                    <a:pt x="9964" y="7489"/>
                  </a:cubicBezTo>
                  <a:cubicBezTo>
                    <a:pt x="9958" y="7421"/>
                    <a:pt x="9951" y="7354"/>
                    <a:pt x="9945" y="7286"/>
                  </a:cubicBezTo>
                  <a:cubicBezTo>
                    <a:pt x="9934" y="7216"/>
                    <a:pt x="9923" y="7147"/>
                    <a:pt x="9912" y="7077"/>
                  </a:cubicBezTo>
                  <a:cubicBezTo>
                    <a:pt x="9901" y="7011"/>
                    <a:pt x="9890" y="6946"/>
                    <a:pt x="9879" y="6880"/>
                  </a:cubicBezTo>
                  <a:cubicBezTo>
                    <a:pt x="9866" y="6812"/>
                    <a:pt x="9853" y="6745"/>
                    <a:pt x="9840" y="6677"/>
                  </a:cubicBezTo>
                  <a:cubicBezTo>
                    <a:pt x="9825" y="6611"/>
                    <a:pt x="9809" y="6545"/>
                    <a:pt x="9793" y="6479"/>
                  </a:cubicBezTo>
                  <a:cubicBezTo>
                    <a:pt x="9776" y="6413"/>
                    <a:pt x="9758" y="6347"/>
                    <a:pt x="9741" y="6281"/>
                  </a:cubicBezTo>
                  <a:cubicBezTo>
                    <a:pt x="9721" y="6217"/>
                    <a:pt x="9702" y="6153"/>
                    <a:pt x="9682" y="6089"/>
                  </a:cubicBezTo>
                  <a:cubicBezTo>
                    <a:pt x="9660" y="6023"/>
                    <a:pt x="9639" y="5957"/>
                    <a:pt x="9617" y="5891"/>
                  </a:cubicBezTo>
                  <a:cubicBezTo>
                    <a:pt x="9595" y="5827"/>
                    <a:pt x="9574" y="5762"/>
                    <a:pt x="9552" y="5698"/>
                  </a:cubicBezTo>
                  <a:cubicBezTo>
                    <a:pt x="9526" y="5636"/>
                    <a:pt x="9499" y="5573"/>
                    <a:pt x="9472" y="5511"/>
                  </a:cubicBezTo>
                  <a:cubicBezTo>
                    <a:pt x="9446" y="5449"/>
                    <a:pt x="9420" y="5386"/>
                    <a:pt x="9393" y="5324"/>
                  </a:cubicBezTo>
                  <a:cubicBezTo>
                    <a:pt x="9362" y="5262"/>
                    <a:pt x="9332" y="5199"/>
                    <a:pt x="9301" y="5137"/>
                  </a:cubicBezTo>
                  <a:cubicBezTo>
                    <a:pt x="9271" y="5077"/>
                    <a:pt x="9240" y="5016"/>
                    <a:pt x="9210" y="4957"/>
                  </a:cubicBezTo>
                  <a:cubicBezTo>
                    <a:pt x="9179" y="4896"/>
                    <a:pt x="9149" y="4836"/>
                    <a:pt x="9118" y="4775"/>
                  </a:cubicBezTo>
                  <a:cubicBezTo>
                    <a:pt x="9083" y="4716"/>
                    <a:pt x="9049" y="4657"/>
                    <a:pt x="9013" y="4598"/>
                  </a:cubicBezTo>
                  <a:lnTo>
                    <a:pt x="8908" y="4422"/>
                  </a:lnTo>
                  <a:lnTo>
                    <a:pt x="8797" y="4246"/>
                  </a:lnTo>
                  <a:cubicBezTo>
                    <a:pt x="8758" y="4189"/>
                    <a:pt x="8718" y="4132"/>
                    <a:pt x="8679" y="4075"/>
                  </a:cubicBezTo>
                  <a:cubicBezTo>
                    <a:pt x="8637" y="4020"/>
                    <a:pt x="8596" y="3964"/>
                    <a:pt x="8554" y="3909"/>
                  </a:cubicBezTo>
                  <a:cubicBezTo>
                    <a:pt x="8512" y="3854"/>
                    <a:pt x="8471" y="3798"/>
                    <a:pt x="8429" y="3743"/>
                  </a:cubicBezTo>
                  <a:lnTo>
                    <a:pt x="8298" y="3578"/>
                  </a:lnTo>
                  <a:lnTo>
                    <a:pt x="8160" y="3417"/>
                  </a:lnTo>
                  <a:lnTo>
                    <a:pt x="8016" y="3262"/>
                  </a:lnTo>
                  <a:cubicBezTo>
                    <a:pt x="7968" y="3210"/>
                    <a:pt x="7919" y="3159"/>
                    <a:pt x="7871" y="3107"/>
                  </a:cubicBezTo>
                  <a:lnTo>
                    <a:pt x="7721" y="2952"/>
                  </a:lnTo>
                  <a:lnTo>
                    <a:pt x="7571" y="2808"/>
                  </a:lnTo>
                  <a:lnTo>
                    <a:pt x="7405" y="2664"/>
                  </a:lnTo>
                  <a:lnTo>
                    <a:pt x="7248" y="2519"/>
                  </a:lnTo>
                  <a:lnTo>
                    <a:pt x="7078" y="2375"/>
                  </a:lnTo>
                  <a:lnTo>
                    <a:pt x="6908" y="2241"/>
                  </a:lnTo>
                  <a:cubicBezTo>
                    <a:pt x="6851" y="2197"/>
                    <a:pt x="6795" y="2152"/>
                    <a:pt x="6738" y="2108"/>
                  </a:cubicBezTo>
                  <a:lnTo>
                    <a:pt x="6554" y="1980"/>
                  </a:lnTo>
                  <a:lnTo>
                    <a:pt x="6370" y="1857"/>
                  </a:lnTo>
                  <a:lnTo>
                    <a:pt x="6186" y="1734"/>
                  </a:lnTo>
                  <a:lnTo>
                    <a:pt x="5996" y="1617"/>
                  </a:lnTo>
                  <a:lnTo>
                    <a:pt x="5799" y="1500"/>
                  </a:lnTo>
                  <a:lnTo>
                    <a:pt x="5603" y="1387"/>
                  </a:lnTo>
                  <a:lnTo>
                    <a:pt x="5405" y="1280"/>
                  </a:lnTo>
                  <a:lnTo>
                    <a:pt x="5202" y="1179"/>
                  </a:lnTo>
                  <a:lnTo>
                    <a:pt x="4999" y="1077"/>
                  </a:lnTo>
                  <a:lnTo>
                    <a:pt x="4782" y="981"/>
                  </a:lnTo>
                  <a:lnTo>
                    <a:pt x="4573" y="890"/>
                  </a:lnTo>
                  <a:lnTo>
                    <a:pt x="4355" y="805"/>
                  </a:lnTo>
                  <a:lnTo>
                    <a:pt x="4133" y="719"/>
                  </a:lnTo>
                  <a:lnTo>
                    <a:pt x="3916" y="639"/>
                  </a:lnTo>
                  <a:lnTo>
                    <a:pt x="3694" y="570"/>
                  </a:lnTo>
                  <a:lnTo>
                    <a:pt x="3463" y="495"/>
                  </a:lnTo>
                  <a:lnTo>
                    <a:pt x="3233" y="431"/>
                  </a:lnTo>
                  <a:lnTo>
                    <a:pt x="2998" y="366"/>
                  </a:lnTo>
                  <a:lnTo>
                    <a:pt x="2768" y="313"/>
                  </a:lnTo>
                  <a:lnTo>
                    <a:pt x="2527" y="260"/>
                  </a:lnTo>
                  <a:lnTo>
                    <a:pt x="2283" y="211"/>
                  </a:lnTo>
                  <a:lnTo>
                    <a:pt x="2046" y="169"/>
                  </a:lnTo>
                  <a:lnTo>
                    <a:pt x="1805" y="131"/>
                  </a:lnTo>
                  <a:lnTo>
                    <a:pt x="1555" y="94"/>
                  </a:lnTo>
                  <a:lnTo>
                    <a:pt x="1305" y="67"/>
                  </a:lnTo>
                  <a:lnTo>
                    <a:pt x="1057" y="46"/>
                  </a:lnTo>
                  <a:lnTo>
                    <a:pt x="807" y="30"/>
                  </a:lnTo>
                  <a:lnTo>
                    <a:pt x="551" y="14"/>
                  </a:lnTo>
                  <a:lnTo>
                    <a:pt x="295" y="8"/>
                  </a:lnTo>
                  <a:lnTo>
                    <a:pt x="39" y="3"/>
                  </a:lnTo>
                  <a:cubicBezTo>
                    <a:pt x="13" y="5"/>
                    <a:pt x="26" y="-2"/>
                    <a:pt x="0" y="0"/>
                  </a:cubicBezTo>
                  <a:lnTo>
                    <a:pt x="1210" y="2445"/>
                  </a:lnTo>
                  <a:lnTo>
                    <a:pt x="7" y="477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/>
            </a:p>
          </p:txBody>
        </p:sp>
        <p:sp>
          <p:nvSpPr>
            <p:cNvPr id="65" name="Freeform 4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-84370714" y="-26265662"/>
              <a:ext cx="41346518" cy="66837563"/>
            </a:xfrm>
            <a:custGeom>
              <a:avLst/>
              <a:gdLst>
                <a:gd name="T0" fmla="*/ 2147483647 w 1349"/>
                <a:gd name="T1" fmla="*/ 2147483647 h 2182"/>
                <a:gd name="T2" fmla="*/ 2147483647 w 1349"/>
                <a:gd name="T3" fmla="*/ 2147483647 h 2182"/>
                <a:gd name="T4" fmla="*/ 2147483647 w 1349"/>
                <a:gd name="T5" fmla="*/ 2147483647 h 2182"/>
                <a:gd name="T6" fmla="*/ 2147483647 w 1349"/>
                <a:gd name="T7" fmla="*/ 2147483647 h 2182"/>
                <a:gd name="T8" fmla="*/ 2147483647 w 1349"/>
                <a:gd name="T9" fmla="*/ 2147483647 h 2182"/>
                <a:gd name="T10" fmla="*/ 2147483647 w 1349"/>
                <a:gd name="T11" fmla="*/ 2147483647 h 2182"/>
                <a:gd name="T12" fmla="*/ 2147483647 w 1349"/>
                <a:gd name="T13" fmla="*/ 2147483647 h 2182"/>
                <a:gd name="T14" fmla="*/ 2147483647 w 1349"/>
                <a:gd name="T15" fmla="*/ 2147483647 h 2182"/>
                <a:gd name="T16" fmla="*/ 2147483647 w 1349"/>
                <a:gd name="T17" fmla="*/ 2147483647 h 2182"/>
                <a:gd name="T18" fmla="*/ 2147483647 w 1349"/>
                <a:gd name="T19" fmla="*/ 2147483647 h 2182"/>
                <a:gd name="T20" fmla="*/ 2147483647 w 1349"/>
                <a:gd name="T21" fmla="*/ 2147483647 h 2182"/>
                <a:gd name="T22" fmla="*/ 2147483647 w 1349"/>
                <a:gd name="T23" fmla="*/ 2147483647 h 2182"/>
                <a:gd name="T24" fmla="*/ 2147483647 w 1349"/>
                <a:gd name="T25" fmla="*/ 2147483647 h 2182"/>
                <a:gd name="T26" fmla="*/ 2147483647 w 1349"/>
                <a:gd name="T27" fmla="*/ 2147483647 h 2182"/>
                <a:gd name="T28" fmla="*/ 2147483647 w 1349"/>
                <a:gd name="T29" fmla="*/ 2147483647 h 2182"/>
                <a:gd name="T30" fmla="*/ 2147483647 w 1349"/>
                <a:gd name="T31" fmla="*/ 2147483647 h 2182"/>
                <a:gd name="T32" fmla="*/ 2147483647 w 1349"/>
                <a:gd name="T33" fmla="*/ 2147483647 h 2182"/>
                <a:gd name="T34" fmla="*/ 2147483647 w 1349"/>
                <a:gd name="T35" fmla="*/ 2147483647 h 2182"/>
                <a:gd name="T36" fmla="*/ 2147483647 w 1349"/>
                <a:gd name="T37" fmla="*/ 2147483647 h 2182"/>
                <a:gd name="T38" fmla="*/ 2147483647 w 1349"/>
                <a:gd name="T39" fmla="*/ 2147483647 h 2182"/>
                <a:gd name="T40" fmla="*/ 2147483647 w 1349"/>
                <a:gd name="T41" fmla="*/ 2147483647 h 2182"/>
                <a:gd name="T42" fmla="*/ 2147483647 w 1349"/>
                <a:gd name="T43" fmla="*/ 2147483647 h 2182"/>
                <a:gd name="T44" fmla="*/ 2147483647 w 1349"/>
                <a:gd name="T45" fmla="*/ 2147483647 h 2182"/>
                <a:gd name="T46" fmla="*/ 2147483647 w 1349"/>
                <a:gd name="T47" fmla="*/ 2147483647 h 2182"/>
                <a:gd name="T48" fmla="*/ 2147483647 w 1349"/>
                <a:gd name="T49" fmla="*/ 2147483647 h 2182"/>
                <a:gd name="T50" fmla="*/ 2147483647 w 1349"/>
                <a:gd name="T51" fmla="*/ 2147483647 h 2182"/>
                <a:gd name="T52" fmla="*/ 2147483647 w 1349"/>
                <a:gd name="T53" fmla="*/ 2147483647 h 2182"/>
                <a:gd name="T54" fmla="*/ 2147483647 w 1349"/>
                <a:gd name="T55" fmla="*/ 2147483647 h 2182"/>
                <a:gd name="T56" fmla="*/ 2147483647 w 1349"/>
                <a:gd name="T57" fmla="*/ 2147483647 h 2182"/>
                <a:gd name="T58" fmla="*/ 2147483647 w 1349"/>
                <a:gd name="T59" fmla="*/ 2147483647 h 2182"/>
                <a:gd name="T60" fmla="*/ 2147483647 w 1349"/>
                <a:gd name="T61" fmla="*/ 2147483647 h 2182"/>
                <a:gd name="T62" fmla="*/ 2147483647 w 1349"/>
                <a:gd name="T63" fmla="*/ 2147483647 h 2182"/>
                <a:gd name="T64" fmla="*/ 2147483647 w 1349"/>
                <a:gd name="T65" fmla="*/ 2147483647 h 2182"/>
                <a:gd name="T66" fmla="*/ 2147483647 w 1349"/>
                <a:gd name="T67" fmla="*/ 2147483647 h 2182"/>
                <a:gd name="T68" fmla="*/ 2147483647 w 1349"/>
                <a:gd name="T69" fmla="*/ 2147483647 h 2182"/>
                <a:gd name="T70" fmla="*/ 2147483647 w 1349"/>
                <a:gd name="T71" fmla="*/ 2147483647 h 2182"/>
                <a:gd name="T72" fmla="*/ 2147483647 w 1349"/>
                <a:gd name="T73" fmla="*/ 2147483647 h 2182"/>
                <a:gd name="T74" fmla="*/ 0 w 1349"/>
                <a:gd name="T75" fmla="*/ 2147483647 h 2182"/>
                <a:gd name="T76" fmla="*/ 2147483647 w 1349"/>
                <a:gd name="T77" fmla="*/ 2147483647 h 2182"/>
                <a:gd name="T78" fmla="*/ 2147483647 w 1349"/>
                <a:gd name="T79" fmla="*/ 2147483647 h 2182"/>
                <a:gd name="T80" fmla="*/ 2147483647 w 1349"/>
                <a:gd name="T81" fmla="*/ 2147483647 h 2182"/>
                <a:gd name="T82" fmla="*/ 2147483647 w 1349"/>
                <a:gd name="T83" fmla="*/ 2147483647 h 2182"/>
                <a:gd name="T84" fmla="*/ 2147483647 w 1349"/>
                <a:gd name="T85" fmla="*/ 2147483647 h 2182"/>
                <a:gd name="T86" fmla="*/ 2147483647 w 1349"/>
                <a:gd name="T87" fmla="*/ 2147483647 h 2182"/>
                <a:gd name="T88" fmla="*/ 2147483647 w 1349"/>
                <a:gd name="T89" fmla="*/ 2147483647 h 2182"/>
                <a:gd name="T90" fmla="*/ 2147483647 w 1349"/>
                <a:gd name="T91" fmla="*/ 2147483647 h 2182"/>
                <a:gd name="T92" fmla="*/ 2147483647 w 1349"/>
                <a:gd name="T93" fmla="*/ 2147483647 h 2182"/>
                <a:gd name="T94" fmla="*/ 2147483647 w 1349"/>
                <a:gd name="T95" fmla="*/ 2147483647 h 2182"/>
                <a:gd name="T96" fmla="*/ 2147483647 w 1349"/>
                <a:gd name="T97" fmla="*/ 2147483647 h 2182"/>
                <a:gd name="T98" fmla="*/ 2147483647 w 1349"/>
                <a:gd name="T99" fmla="*/ 2147483647 h 2182"/>
                <a:gd name="T100" fmla="*/ 2147483647 w 1349"/>
                <a:gd name="T101" fmla="*/ 2147483647 h 2182"/>
                <a:gd name="T102" fmla="*/ 2147483647 w 1349"/>
                <a:gd name="T103" fmla="*/ 2147483647 h 2182"/>
                <a:gd name="T104" fmla="*/ 2147483647 w 1349"/>
                <a:gd name="T105" fmla="*/ 2147483647 h 2182"/>
                <a:gd name="T106" fmla="*/ 2147483647 w 1349"/>
                <a:gd name="T107" fmla="*/ 2147483647 h 2182"/>
                <a:gd name="T108" fmla="*/ 2147483647 w 1349"/>
                <a:gd name="T109" fmla="*/ 2147483647 h 2182"/>
                <a:gd name="T110" fmla="*/ 2147483647 w 1349"/>
                <a:gd name="T111" fmla="*/ 2147483647 h 2182"/>
                <a:gd name="T112" fmla="*/ 2147483647 w 1349"/>
                <a:gd name="T113" fmla="*/ 2147483647 h 2182"/>
                <a:gd name="T114" fmla="*/ 2147483647 w 1349"/>
                <a:gd name="T115" fmla="*/ 2147483647 h 2182"/>
                <a:gd name="T116" fmla="*/ 2147483647 w 1349"/>
                <a:gd name="T117" fmla="*/ 2147483647 h 2182"/>
                <a:gd name="T118" fmla="*/ 2147483647 w 1349"/>
                <a:gd name="T119" fmla="*/ 2147483647 h 218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49"/>
                <a:gd name="T181" fmla="*/ 0 h 2182"/>
                <a:gd name="T182" fmla="*/ 1349 w 1349"/>
                <a:gd name="T183" fmla="*/ 2182 h 2182"/>
                <a:gd name="connsiteX0" fmla="*/ 10000 w 10000"/>
                <a:gd name="connsiteY0" fmla="*/ 6141 h 10000"/>
                <a:gd name="connsiteX1" fmla="*/ 10000 w 10000"/>
                <a:gd name="connsiteY1" fmla="*/ 6141 h 10000"/>
                <a:gd name="connsiteX2" fmla="*/ 9911 w 10000"/>
                <a:gd name="connsiteY2" fmla="*/ 6127 h 10000"/>
                <a:gd name="connsiteX3" fmla="*/ 9815 w 10000"/>
                <a:gd name="connsiteY3" fmla="*/ 6109 h 10000"/>
                <a:gd name="connsiteX4" fmla="*/ 9726 w 10000"/>
                <a:gd name="connsiteY4" fmla="*/ 6091 h 10000"/>
                <a:gd name="connsiteX5" fmla="*/ 9637 w 10000"/>
                <a:gd name="connsiteY5" fmla="*/ 6068 h 10000"/>
                <a:gd name="connsiteX6" fmla="*/ 9548 w 10000"/>
                <a:gd name="connsiteY6" fmla="*/ 6049 h 10000"/>
                <a:gd name="connsiteX7" fmla="*/ 9466 w 10000"/>
                <a:gd name="connsiteY7" fmla="*/ 6027 h 10000"/>
                <a:gd name="connsiteX8" fmla="*/ 9377 w 10000"/>
                <a:gd name="connsiteY8" fmla="*/ 6004 h 10000"/>
                <a:gd name="connsiteX9" fmla="*/ 9288 w 10000"/>
                <a:gd name="connsiteY9" fmla="*/ 5981 h 10000"/>
                <a:gd name="connsiteX10" fmla="*/ 9118 w 10000"/>
                <a:gd name="connsiteY10" fmla="*/ 5930 h 10000"/>
                <a:gd name="connsiteX11" fmla="*/ 8955 w 10000"/>
                <a:gd name="connsiteY11" fmla="*/ 5875 h 10000"/>
                <a:gd name="connsiteX12" fmla="*/ 8792 w 10000"/>
                <a:gd name="connsiteY12" fmla="*/ 5816 h 10000"/>
                <a:gd name="connsiteX13" fmla="*/ 8636 w 10000"/>
                <a:gd name="connsiteY13" fmla="*/ 5752 h 10000"/>
                <a:gd name="connsiteX14" fmla="*/ 8480 w 10000"/>
                <a:gd name="connsiteY14" fmla="*/ 5687 h 10000"/>
                <a:gd name="connsiteX15" fmla="*/ 8340 w 10000"/>
                <a:gd name="connsiteY15" fmla="*/ 5619 h 10000"/>
                <a:gd name="connsiteX16" fmla="*/ 8199 w 10000"/>
                <a:gd name="connsiteY16" fmla="*/ 5545 h 10000"/>
                <a:gd name="connsiteX17" fmla="*/ 8058 w 10000"/>
                <a:gd name="connsiteY17" fmla="*/ 5467 h 10000"/>
                <a:gd name="connsiteX18" fmla="*/ 7924 w 10000"/>
                <a:gd name="connsiteY18" fmla="*/ 5385 h 10000"/>
                <a:gd name="connsiteX19" fmla="*/ 7798 w 10000"/>
                <a:gd name="connsiteY19" fmla="*/ 5302 h 10000"/>
                <a:gd name="connsiteX20" fmla="*/ 7672 w 10000"/>
                <a:gd name="connsiteY20" fmla="*/ 5215 h 10000"/>
                <a:gd name="connsiteX21" fmla="*/ 7554 w 10000"/>
                <a:gd name="connsiteY21" fmla="*/ 5128 h 10000"/>
                <a:gd name="connsiteX22" fmla="*/ 7450 w 10000"/>
                <a:gd name="connsiteY22" fmla="*/ 5032 h 10000"/>
                <a:gd name="connsiteX23" fmla="*/ 7346 w 10000"/>
                <a:gd name="connsiteY23" fmla="*/ 4936 h 10000"/>
                <a:gd name="connsiteX24" fmla="*/ 7250 w 10000"/>
                <a:gd name="connsiteY24" fmla="*/ 4840 h 10000"/>
                <a:gd name="connsiteX25" fmla="*/ 7161 w 10000"/>
                <a:gd name="connsiteY25" fmla="*/ 4739 h 10000"/>
                <a:gd name="connsiteX26" fmla="*/ 7072 w 10000"/>
                <a:gd name="connsiteY26" fmla="*/ 4638 h 10000"/>
                <a:gd name="connsiteX27" fmla="*/ 6990 w 10000"/>
                <a:gd name="connsiteY27" fmla="*/ 4528 h 10000"/>
                <a:gd name="connsiteX28" fmla="*/ 6953 w 10000"/>
                <a:gd name="connsiteY28" fmla="*/ 4478 h 10000"/>
                <a:gd name="connsiteX29" fmla="*/ 6916 w 10000"/>
                <a:gd name="connsiteY29" fmla="*/ 4423 h 10000"/>
                <a:gd name="connsiteX30" fmla="*/ 6887 w 10000"/>
                <a:gd name="connsiteY30" fmla="*/ 4368 h 10000"/>
                <a:gd name="connsiteX31" fmla="*/ 6850 w 10000"/>
                <a:gd name="connsiteY31" fmla="*/ 4313 h 10000"/>
                <a:gd name="connsiteX32" fmla="*/ 6820 w 10000"/>
                <a:gd name="connsiteY32" fmla="*/ 4258 h 10000"/>
                <a:gd name="connsiteX33" fmla="*/ 6790 w 10000"/>
                <a:gd name="connsiteY33" fmla="*/ 4203 h 10000"/>
                <a:gd name="connsiteX34" fmla="*/ 6768 w 10000"/>
                <a:gd name="connsiteY34" fmla="*/ 4143 h 10000"/>
                <a:gd name="connsiteX35" fmla="*/ 6738 w 10000"/>
                <a:gd name="connsiteY35" fmla="*/ 4088 h 10000"/>
                <a:gd name="connsiteX36" fmla="*/ 6723 w 10000"/>
                <a:gd name="connsiteY36" fmla="*/ 4028 h 10000"/>
                <a:gd name="connsiteX37" fmla="*/ 6694 w 10000"/>
                <a:gd name="connsiteY37" fmla="*/ 3973 h 10000"/>
                <a:gd name="connsiteX38" fmla="*/ 6679 w 10000"/>
                <a:gd name="connsiteY38" fmla="*/ 3914 h 10000"/>
                <a:gd name="connsiteX39" fmla="*/ 6664 w 10000"/>
                <a:gd name="connsiteY39" fmla="*/ 3854 h 10000"/>
                <a:gd name="connsiteX40" fmla="*/ 6649 w 10000"/>
                <a:gd name="connsiteY40" fmla="*/ 3795 h 10000"/>
                <a:gd name="connsiteX41" fmla="*/ 6635 w 10000"/>
                <a:gd name="connsiteY41" fmla="*/ 3740 h 10000"/>
                <a:gd name="connsiteX42" fmla="*/ 6620 w 10000"/>
                <a:gd name="connsiteY42" fmla="*/ 3680 h 10000"/>
                <a:gd name="connsiteX43" fmla="*/ 6612 w 10000"/>
                <a:gd name="connsiteY43" fmla="*/ 3621 h 10000"/>
                <a:gd name="connsiteX44" fmla="*/ 6605 w 10000"/>
                <a:gd name="connsiteY44" fmla="*/ 3561 h 10000"/>
                <a:gd name="connsiteX45" fmla="*/ 6597 w 10000"/>
                <a:gd name="connsiteY45" fmla="*/ 3497 h 10000"/>
                <a:gd name="connsiteX46" fmla="*/ 6597 w 10000"/>
                <a:gd name="connsiteY46" fmla="*/ 3437 h 10000"/>
                <a:gd name="connsiteX47" fmla="*/ 6590 w 10000"/>
                <a:gd name="connsiteY47" fmla="*/ 3373 h 10000"/>
                <a:gd name="connsiteX48" fmla="*/ 6597 w 10000"/>
                <a:gd name="connsiteY48" fmla="*/ 3313 h 10000"/>
                <a:gd name="connsiteX49" fmla="*/ 6605 w 10000"/>
                <a:gd name="connsiteY49" fmla="*/ 3245 h 10000"/>
                <a:gd name="connsiteX50" fmla="*/ 6605 w 10000"/>
                <a:gd name="connsiteY50" fmla="*/ 3181 h 10000"/>
                <a:gd name="connsiteX51" fmla="*/ 6612 w 10000"/>
                <a:gd name="connsiteY51" fmla="*/ 3116 h 10000"/>
                <a:gd name="connsiteX52" fmla="*/ 6620 w 10000"/>
                <a:gd name="connsiteY52" fmla="*/ 3052 h 10000"/>
                <a:gd name="connsiteX53" fmla="*/ 6635 w 10000"/>
                <a:gd name="connsiteY53" fmla="*/ 2993 h 10000"/>
                <a:gd name="connsiteX54" fmla="*/ 6649 w 10000"/>
                <a:gd name="connsiteY54" fmla="*/ 2929 h 10000"/>
                <a:gd name="connsiteX55" fmla="*/ 6664 w 10000"/>
                <a:gd name="connsiteY55" fmla="*/ 2869 h 10000"/>
                <a:gd name="connsiteX56" fmla="*/ 6686 w 10000"/>
                <a:gd name="connsiteY56" fmla="*/ 2805 h 10000"/>
                <a:gd name="connsiteX57" fmla="*/ 6709 w 10000"/>
                <a:gd name="connsiteY57" fmla="*/ 2745 h 10000"/>
                <a:gd name="connsiteX58" fmla="*/ 6731 w 10000"/>
                <a:gd name="connsiteY58" fmla="*/ 2686 h 10000"/>
                <a:gd name="connsiteX59" fmla="*/ 6753 w 10000"/>
                <a:gd name="connsiteY59" fmla="*/ 2621 h 10000"/>
                <a:gd name="connsiteX60" fmla="*/ 6783 w 10000"/>
                <a:gd name="connsiteY60" fmla="*/ 2566 h 10000"/>
                <a:gd name="connsiteX61" fmla="*/ 6812 w 10000"/>
                <a:gd name="connsiteY61" fmla="*/ 2507 h 10000"/>
                <a:gd name="connsiteX62" fmla="*/ 6842 w 10000"/>
                <a:gd name="connsiteY62" fmla="*/ 2447 h 10000"/>
                <a:gd name="connsiteX63" fmla="*/ 6879 w 10000"/>
                <a:gd name="connsiteY63" fmla="*/ 2388 h 10000"/>
                <a:gd name="connsiteX64" fmla="*/ 6909 w 10000"/>
                <a:gd name="connsiteY64" fmla="*/ 2333 h 10000"/>
                <a:gd name="connsiteX65" fmla="*/ 6946 w 10000"/>
                <a:gd name="connsiteY65" fmla="*/ 2273 h 10000"/>
                <a:gd name="connsiteX66" fmla="*/ 6990 w 10000"/>
                <a:gd name="connsiteY66" fmla="*/ 2218 h 10000"/>
                <a:gd name="connsiteX67" fmla="*/ 7027 w 10000"/>
                <a:gd name="connsiteY67" fmla="*/ 2163 h 10000"/>
                <a:gd name="connsiteX68" fmla="*/ 7072 w 10000"/>
                <a:gd name="connsiteY68" fmla="*/ 2108 h 10000"/>
                <a:gd name="connsiteX69" fmla="*/ 7109 w 10000"/>
                <a:gd name="connsiteY69" fmla="*/ 2053 h 10000"/>
                <a:gd name="connsiteX70" fmla="*/ 7161 w 10000"/>
                <a:gd name="connsiteY70" fmla="*/ 2003 h 10000"/>
                <a:gd name="connsiteX71" fmla="*/ 7213 w 10000"/>
                <a:gd name="connsiteY71" fmla="*/ 1948 h 10000"/>
                <a:gd name="connsiteX72" fmla="*/ 7257 w 10000"/>
                <a:gd name="connsiteY72" fmla="*/ 1893 h 10000"/>
                <a:gd name="connsiteX73" fmla="*/ 7309 w 10000"/>
                <a:gd name="connsiteY73" fmla="*/ 1842 h 10000"/>
                <a:gd name="connsiteX74" fmla="*/ 7361 w 10000"/>
                <a:gd name="connsiteY74" fmla="*/ 1792 h 10000"/>
                <a:gd name="connsiteX75" fmla="*/ 7413 w 10000"/>
                <a:gd name="connsiteY75" fmla="*/ 1742 h 10000"/>
                <a:gd name="connsiteX76" fmla="*/ 7472 w 10000"/>
                <a:gd name="connsiteY76" fmla="*/ 1691 h 10000"/>
                <a:gd name="connsiteX77" fmla="*/ 7524 w 10000"/>
                <a:gd name="connsiteY77" fmla="*/ 1645 h 10000"/>
                <a:gd name="connsiteX78" fmla="*/ 7583 w 10000"/>
                <a:gd name="connsiteY78" fmla="*/ 1599 h 10000"/>
                <a:gd name="connsiteX79" fmla="*/ 7643 w 10000"/>
                <a:gd name="connsiteY79" fmla="*/ 1549 h 10000"/>
                <a:gd name="connsiteX80" fmla="*/ 5456 w 10000"/>
                <a:gd name="connsiteY80" fmla="*/ 0 h 10000"/>
                <a:gd name="connsiteX81" fmla="*/ 1401 w 10000"/>
                <a:gd name="connsiteY81" fmla="*/ 0 h 10000"/>
                <a:gd name="connsiteX82" fmla="*/ 1305 w 10000"/>
                <a:gd name="connsiteY82" fmla="*/ 128 h 10000"/>
                <a:gd name="connsiteX83" fmla="*/ 1223 w 10000"/>
                <a:gd name="connsiteY83" fmla="*/ 220 h 10000"/>
                <a:gd name="connsiteX84" fmla="*/ 1149 w 10000"/>
                <a:gd name="connsiteY84" fmla="*/ 316 h 10000"/>
                <a:gd name="connsiteX85" fmla="*/ 1067 w 10000"/>
                <a:gd name="connsiteY85" fmla="*/ 412 h 10000"/>
                <a:gd name="connsiteX86" fmla="*/ 1001 w 10000"/>
                <a:gd name="connsiteY86" fmla="*/ 509 h 10000"/>
                <a:gd name="connsiteX87" fmla="*/ 927 w 10000"/>
                <a:gd name="connsiteY87" fmla="*/ 605 h 10000"/>
                <a:gd name="connsiteX88" fmla="*/ 860 w 10000"/>
                <a:gd name="connsiteY88" fmla="*/ 706 h 10000"/>
                <a:gd name="connsiteX89" fmla="*/ 793 w 10000"/>
                <a:gd name="connsiteY89" fmla="*/ 807 h 10000"/>
                <a:gd name="connsiteX90" fmla="*/ 734 w 10000"/>
                <a:gd name="connsiteY90" fmla="*/ 903 h 10000"/>
                <a:gd name="connsiteX91" fmla="*/ 675 w 10000"/>
                <a:gd name="connsiteY91" fmla="*/ 1004 h 10000"/>
                <a:gd name="connsiteX92" fmla="*/ 615 w 10000"/>
                <a:gd name="connsiteY92" fmla="*/ 1104 h 10000"/>
                <a:gd name="connsiteX93" fmla="*/ 556 w 10000"/>
                <a:gd name="connsiteY93" fmla="*/ 1210 h 10000"/>
                <a:gd name="connsiteX94" fmla="*/ 504 w 10000"/>
                <a:gd name="connsiteY94" fmla="*/ 1306 h 10000"/>
                <a:gd name="connsiteX95" fmla="*/ 452 w 10000"/>
                <a:gd name="connsiteY95" fmla="*/ 1412 h 10000"/>
                <a:gd name="connsiteX96" fmla="*/ 408 w 10000"/>
                <a:gd name="connsiteY96" fmla="*/ 1512 h 10000"/>
                <a:gd name="connsiteX97" fmla="*/ 363 w 10000"/>
                <a:gd name="connsiteY97" fmla="*/ 1618 h 10000"/>
                <a:gd name="connsiteX98" fmla="*/ 319 w 10000"/>
                <a:gd name="connsiteY98" fmla="*/ 1723 h 10000"/>
                <a:gd name="connsiteX99" fmla="*/ 282 w 10000"/>
                <a:gd name="connsiteY99" fmla="*/ 1829 h 10000"/>
                <a:gd name="connsiteX100" fmla="*/ 237 w 10000"/>
                <a:gd name="connsiteY100" fmla="*/ 1939 h 10000"/>
                <a:gd name="connsiteX101" fmla="*/ 208 w 10000"/>
                <a:gd name="connsiteY101" fmla="*/ 2044 h 10000"/>
                <a:gd name="connsiteX102" fmla="*/ 170 w 10000"/>
                <a:gd name="connsiteY102" fmla="*/ 2154 h 10000"/>
                <a:gd name="connsiteX103" fmla="*/ 148 w 10000"/>
                <a:gd name="connsiteY103" fmla="*/ 2264 h 10000"/>
                <a:gd name="connsiteX104" fmla="*/ 119 w 10000"/>
                <a:gd name="connsiteY104" fmla="*/ 2369 h 10000"/>
                <a:gd name="connsiteX105" fmla="*/ 96 w 10000"/>
                <a:gd name="connsiteY105" fmla="*/ 2479 h 10000"/>
                <a:gd name="connsiteX106" fmla="*/ 74 w 10000"/>
                <a:gd name="connsiteY106" fmla="*/ 2589 h 10000"/>
                <a:gd name="connsiteX107" fmla="*/ 52 w 10000"/>
                <a:gd name="connsiteY107" fmla="*/ 2704 h 10000"/>
                <a:gd name="connsiteX108" fmla="*/ 37 w 10000"/>
                <a:gd name="connsiteY108" fmla="*/ 2814 h 10000"/>
                <a:gd name="connsiteX109" fmla="*/ 22 w 10000"/>
                <a:gd name="connsiteY109" fmla="*/ 2924 h 10000"/>
                <a:gd name="connsiteX110" fmla="*/ 15 w 10000"/>
                <a:gd name="connsiteY110" fmla="*/ 3034 h 10000"/>
                <a:gd name="connsiteX111" fmla="*/ 7 w 10000"/>
                <a:gd name="connsiteY111" fmla="*/ 3148 h 10000"/>
                <a:gd name="connsiteX112" fmla="*/ 0 w 10000"/>
                <a:gd name="connsiteY112" fmla="*/ 3258 h 10000"/>
                <a:gd name="connsiteX113" fmla="*/ 0 w 10000"/>
                <a:gd name="connsiteY113" fmla="*/ 3373 h 10000"/>
                <a:gd name="connsiteX114" fmla="*/ 7 w 10000"/>
                <a:gd name="connsiteY114" fmla="*/ 3520 h 10000"/>
                <a:gd name="connsiteX115" fmla="*/ 7 w 10000"/>
                <a:gd name="connsiteY115" fmla="*/ 3666 h 10000"/>
                <a:gd name="connsiteX116" fmla="*/ 22 w 10000"/>
                <a:gd name="connsiteY116" fmla="*/ 3804 h 10000"/>
                <a:gd name="connsiteX117" fmla="*/ 37 w 10000"/>
                <a:gd name="connsiteY117" fmla="*/ 3946 h 10000"/>
                <a:gd name="connsiteX118" fmla="*/ 59 w 10000"/>
                <a:gd name="connsiteY118" fmla="*/ 4088 h 10000"/>
                <a:gd name="connsiteX119" fmla="*/ 89 w 10000"/>
                <a:gd name="connsiteY119" fmla="*/ 4230 h 10000"/>
                <a:gd name="connsiteX120" fmla="*/ 119 w 10000"/>
                <a:gd name="connsiteY120" fmla="*/ 4372 h 10000"/>
                <a:gd name="connsiteX121" fmla="*/ 148 w 10000"/>
                <a:gd name="connsiteY121" fmla="*/ 4514 h 10000"/>
                <a:gd name="connsiteX122" fmla="*/ 193 w 10000"/>
                <a:gd name="connsiteY122" fmla="*/ 4652 h 10000"/>
                <a:gd name="connsiteX123" fmla="*/ 237 w 10000"/>
                <a:gd name="connsiteY123" fmla="*/ 4789 h 10000"/>
                <a:gd name="connsiteX124" fmla="*/ 282 w 10000"/>
                <a:gd name="connsiteY124" fmla="*/ 4927 h 10000"/>
                <a:gd name="connsiteX125" fmla="*/ 334 w 10000"/>
                <a:gd name="connsiteY125" fmla="*/ 5064 h 10000"/>
                <a:gd name="connsiteX126" fmla="*/ 393 w 10000"/>
                <a:gd name="connsiteY126" fmla="*/ 5197 h 10000"/>
                <a:gd name="connsiteX127" fmla="*/ 452 w 10000"/>
                <a:gd name="connsiteY127" fmla="*/ 5330 h 10000"/>
                <a:gd name="connsiteX128" fmla="*/ 519 w 10000"/>
                <a:gd name="connsiteY128" fmla="*/ 5463 h 10000"/>
                <a:gd name="connsiteX129" fmla="*/ 586 w 10000"/>
                <a:gd name="connsiteY129" fmla="*/ 5596 h 10000"/>
                <a:gd name="connsiteX130" fmla="*/ 660 w 10000"/>
                <a:gd name="connsiteY130" fmla="*/ 5724 h 10000"/>
                <a:gd name="connsiteX131" fmla="*/ 741 w 10000"/>
                <a:gd name="connsiteY131" fmla="*/ 5852 h 10000"/>
                <a:gd name="connsiteX132" fmla="*/ 823 w 10000"/>
                <a:gd name="connsiteY132" fmla="*/ 5985 h 10000"/>
                <a:gd name="connsiteX133" fmla="*/ 904 w 10000"/>
                <a:gd name="connsiteY133" fmla="*/ 6109 h 10000"/>
                <a:gd name="connsiteX134" fmla="*/ 993 w 10000"/>
                <a:gd name="connsiteY134" fmla="*/ 6233 h 10000"/>
                <a:gd name="connsiteX135" fmla="*/ 1090 w 10000"/>
                <a:gd name="connsiteY135" fmla="*/ 6352 h 10000"/>
                <a:gd name="connsiteX136" fmla="*/ 1186 w 10000"/>
                <a:gd name="connsiteY136" fmla="*/ 6476 h 10000"/>
                <a:gd name="connsiteX137" fmla="*/ 1290 w 10000"/>
                <a:gd name="connsiteY137" fmla="*/ 6599 h 10000"/>
                <a:gd name="connsiteX138" fmla="*/ 1386 w 10000"/>
                <a:gd name="connsiteY138" fmla="*/ 6719 h 10000"/>
                <a:gd name="connsiteX139" fmla="*/ 1497 w 10000"/>
                <a:gd name="connsiteY139" fmla="*/ 6838 h 10000"/>
                <a:gd name="connsiteX140" fmla="*/ 1609 w 10000"/>
                <a:gd name="connsiteY140" fmla="*/ 6952 h 10000"/>
                <a:gd name="connsiteX141" fmla="*/ 1727 w 10000"/>
                <a:gd name="connsiteY141" fmla="*/ 7071 h 10000"/>
                <a:gd name="connsiteX142" fmla="*/ 1846 w 10000"/>
                <a:gd name="connsiteY142" fmla="*/ 7186 h 10000"/>
                <a:gd name="connsiteX143" fmla="*/ 1964 w 10000"/>
                <a:gd name="connsiteY143" fmla="*/ 7296 h 10000"/>
                <a:gd name="connsiteX144" fmla="*/ 2090 w 10000"/>
                <a:gd name="connsiteY144" fmla="*/ 7406 h 10000"/>
                <a:gd name="connsiteX145" fmla="*/ 2224 w 10000"/>
                <a:gd name="connsiteY145" fmla="*/ 7516 h 10000"/>
                <a:gd name="connsiteX146" fmla="*/ 2350 w 10000"/>
                <a:gd name="connsiteY146" fmla="*/ 7626 h 10000"/>
                <a:gd name="connsiteX147" fmla="*/ 2491 w 10000"/>
                <a:gd name="connsiteY147" fmla="*/ 7731 h 10000"/>
                <a:gd name="connsiteX148" fmla="*/ 2617 w 10000"/>
                <a:gd name="connsiteY148" fmla="*/ 7837 h 10000"/>
                <a:gd name="connsiteX149" fmla="*/ 2765 w 10000"/>
                <a:gd name="connsiteY149" fmla="*/ 7938 h 10000"/>
                <a:gd name="connsiteX150" fmla="*/ 2906 w 10000"/>
                <a:gd name="connsiteY150" fmla="*/ 8038 h 10000"/>
                <a:gd name="connsiteX151" fmla="*/ 3054 w 10000"/>
                <a:gd name="connsiteY151" fmla="*/ 8139 h 10000"/>
                <a:gd name="connsiteX152" fmla="*/ 3210 w 10000"/>
                <a:gd name="connsiteY152" fmla="*/ 8236 h 10000"/>
                <a:gd name="connsiteX153" fmla="*/ 3358 w 10000"/>
                <a:gd name="connsiteY153" fmla="*/ 8332 h 10000"/>
                <a:gd name="connsiteX154" fmla="*/ 3514 w 10000"/>
                <a:gd name="connsiteY154" fmla="*/ 8428 h 10000"/>
                <a:gd name="connsiteX155" fmla="*/ 3677 w 10000"/>
                <a:gd name="connsiteY155" fmla="*/ 8520 h 10000"/>
                <a:gd name="connsiteX156" fmla="*/ 3840 w 10000"/>
                <a:gd name="connsiteY156" fmla="*/ 8607 h 10000"/>
                <a:gd name="connsiteX157" fmla="*/ 4010 w 10000"/>
                <a:gd name="connsiteY157" fmla="*/ 8698 h 10000"/>
                <a:gd name="connsiteX158" fmla="*/ 4181 w 10000"/>
                <a:gd name="connsiteY158" fmla="*/ 8776 h 10000"/>
                <a:gd name="connsiteX159" fmla="*/ 4351 w 10000"/>
                <a:gd name="connsiteY159" fmla="*/ 8863 h 10000"/>
                <a:gd name="connsiteX160" fmla="*/ 4522 w 10000"/>
                <a:gd name="connsiteY160" fmla="*/ 8941 h 10000"/>
                <a:gd name="connsiteX161" fmla="*/ 4700 w 10000"/>
                <a:gd name="connsiteY161" fmla="*/ 9024 h 10000"/>
                <a:gd name="connsiteX162" fmla="*/ 4878 w 10000"/>
                <a:gd name="connsiteY162" fmla="*/ 9102 h 10000"/>
                <a:gd name="connsiteX163" fmla="*/ 5063 w 10000"/>
                <a:gd name="connsiteY163" fmla="*/ 9175 h 10000"/>
                <a:gd name="connsiteX164" fmla="*/ 5248 w 10000"/>
                <a:gd name="connsiteY164" fmla="*/ 9253 h 10000"/>
                <a:gd name="connsiteX165" fmla="*/ 5426 w 10000"/>
                <a:gd name="connsiteY165" fmla="*/ 9322 h 10000"/>
                <a:gd name="connsiteX166" fmla="*/ 5619 w 10000"/>
                <a:gd name="connsiteY166" fmla="*/ 9390 h 10000"/>
                <a:gd name="connsiteX167" fmla="*/ 5812 w 10000"/>
                <a:gd name="connsiteY167" fmla="*/ 9459 h 10000"/>
                <a:gd name="connsiteX168" fmla="*/ 6004 w 10000"/>
                <a:gd name="connsiteY168" fmla="*/ 9523 h 10000"/>
                <a:gd name="connsiteX169" fmla="*/ 6205 w 10000"/>
                <a:gd name="connsiteY169" fmla="*/ 9588 h 10000"/>
                <a:gd name="connsiteX170" fmla="*/ 6397 w 10000"/>
                <a:gd name="connsiteY170" fmla="*/ 9647 h 10000"/>
                <a:gd name="connsiteX171" fmla="*/ 6605 w 10000"/>
                <a:gd name="connsiteY171" fmla="*/ 9702 h 10000"/>
                <a:gd name="connsiteX172" fmla="*/ 6805 w 10000"/>
                <a:gd name="connsiteY172" fmla="*/ 9757 h 10000"/>
                <a:gd name="connsiteX173" fmla="*/ 7005 w 10000"/>
                <a:gd name="connsiteY173" fmla="*/ 9812 h 10000"/>
                <a:gd name="connsiteX174" fmla="*/ 7213 w 10000"/>
                <a:gd name="connsiteY174" fmla="*/ 9863 h 10000"/>
                <a:gd name="connsiteX175" fmla="*/ 7420 w 10000"/>
                <a:gd name="connsiteY175" fmla="*/ 9908 h 10000"/>
                <a:gd name="connsiteX176" fmla="*/ 7628 w 10000"/>
                <a:gd name="connsiteY176" fmla="*/ 9954 h 10000"/>
                <a:gd name="connsiteX177" fmla="*/ 7835 w 10000"/>
                <a:gd name="connsiteY177" fmla="*/ 10000 h 10000"/>
                <a:gd name="connsiteX178" fmla="*/ 7539 w 10000"/>
                <a:gd name="connsiteY178" fmla="*/ 7754 h 10000"/>
                <a:gd name="connsiteX179" fmla="*/ 10000 w 10000"/>
                <a:gd name="connsiteY179" fmla="*/ 6141 h 10000"/>
                <a:gd name="connsiteX0" fmla="*/ 10000 w 10000"/>
                <a:gd name="connsiteY0" fmla="*/ 6141 h 10000"/>
                <a:gd name="connsiteX1" fmla="*/ 10000 w 10000"/>
                <a:gd name="connsiteY1" fmla="*/ 6141 h 10000"/>
                <a:gd name="connsiteX2" fmla="*/ 9911 w 10000"/>
                <a:gd name="connsiteY2" fmla="*/ 6127 h 10000"/>
                <a:gd name="connsiteX3" fmla="*/ 9815 w 10000"/>
                <a:gd name="connsiteY3" fmla="*/ 6109 h 10000"/>
                <a:gd name="connsiteX4" fmla="*/ 9726 w 10000"/>
                <a:gd name="connsiteY4" fmla="*/ 6091 h 10000"/>
                <a:gd name="connsiteX5" fmla="*/ 9637 w 10000"/>
                <a:gd name="connsiteY5" fmla="*/ 6068 h 10000"/>
                <a:gd name="connsiteX6" fmla="*/ 9548 w 10000"/>
                <a:gd name="connsiteY6" fmla="*/ 6049 h 10000"/>
                <a:gd name="connsiteX7" fmla="*/ 9466 w 10000"/>
                <a:gd name="connsiteY7" fmla="*/ 6027 h 10000"/>
                <a:gd name="connsiteX8" fmla="*/ 9377 w 10000"/>
                <a:gd name="connsiteY8" fmla="*/ 6004 h 10000"/>
                <a:gd name="connsiteX9" fmla="*/ 9288 w 10000"/>
                <a:gd name="connsiteY9" fmla="*/ 5981 h 10000"/>
                <a:gd name="connsiteX10" fmla="*/ 9118 w 10000"/>
                <a:gd name="connsiteY10" fmla="*/ 5930 h 10000"/>
                <a:gd name="connsiteX11" fmla="*/ 8955 w 10000"/>
                <a:gd name="connsiteY11" fmla="*/ 5875 h 10000"/>
                <a:gd name="connsiteX12" fmla="*/ 8792 w 10000"/>
                <a:gd name="connsiteY12" fmla="*/ 5816 h 10000"/>
                <a:gd name="connsiteX13" fmla="*/ 8636 w 10000"/>
                <a:gd name="connsiteY13" fmla="*/ 5752 h 10000"/>
                <a:gd name="connsiteX14" fmla="*/ 8480 w 10000"/>
                <a:gd name="connsiteY14" fmla="*/ 5687 h 10000"/>
                <a:gd name="connsiteX15" fmla="*/ 8340 w 10000"/>
                <a:gd name="connsiteY15" fmla="*/ 5619 h 10000"/>
                <a:gd name="connsiteX16" fmla="*/ 8199 w 10000"/>
                <a:gd name="connsiteY16" fmla="*/ 5545 h 10000"/>
                <a:gd name="connsiteX17" fmla="*/ 8058 w 10000"/>
                <a:gd name="connsiteY17" fmla="*/ 5467 h 10000"/>
                <a:gd name="connsiteX18" fmla="*/ 7924 w 10000"/>
                <a:gd name="connsiteY18" fmla="*/ 5385 h 10000"/>
                <a:gd name="connsiteX19" fmla="*/ 7798 w 10000"/>
                <a:gd name="connsiteY19" fmla="*/ 5302 h 10000"/>
                <a:gd name="connsiteX20" fmla="*/ 7672 w 10000"/>
                <a:gd name="connsiteY20" fmla="*/ 5215 h 10000"/>
                <a:gd name="connsiteX21" fmla="*/ 7554 w 10000"/>
                <a:gd name="connsiteY21" fmla="*/ 5128 h 10000"/>
                <a:gd name="connsiteX22" fmla="*/ 7450 w 10000"/>
                <a:gd name="connsiteY22" fmla="*/ 5032 h 10000"/>
                <a:gd name="connsiteX23" fmla="*/ 7346 w 10000"/>
                <a:gd name="connsiteY23" fmla="*/ 4936 h 10000"/>
                <a:gd name="connsiteX24" fmla="*/ 7250 w 10000"/>
                <a:gd name="connsiteY24" fmla="*/ 4840 h 10000"/>
                <a:gd name="connsiteX25" fmla="*/ 7161 w 10000"/>
                <a:gd name="connsiteY25" fmla="*/ 4739 h 10000"/>
                <a:gd name="connsiteX26" fmla="*/ 7072 w 10000"/>
                <a:gd name="connsiteY26" fmla="*/ 4638 h 10000"/>
                <a:gd name="connsiteX27" fmla="*/ 6990 w 10000"/>
                <a:gd name="connsiteY27" fmla="*/ 4528 h 10000"/>
                <a:gd name="connsiteX28" fmla="*/ 6953 w 10000"/>
                <a:gd name="connsiteY28" fmla="*/ 4478 h 10000"/>
                <a:gd name="connsiteX29" fmla="*/ 6916 w 10000"/>
                <a:gd name="connsiteY29" fmla="*/ 4423 h 10000"/>
                <a:gd name="connsiteX30" fmla="*/ 6887 w 10000"/>
                <a:gd name="connsiteY30" fmla="*/ 4368 h 10000"/>
                <a:gd name="connsiteX31" fmla="*/ 6850 w 10000"/>
                <a:gd name="connsiteY31" fmla="*/ 4313 h 10000"/>
                <a:gd name="connsiteX32" fmla="*/ 6820 w 10000"/>
                <a:gd name="connsiteY32" fmla="*/ 4258 h 10000"/>
                <a:gd name="connsiteX33" fmla="*/ 6790 w 10000"/>
                <a:gd name="connsiteY33" fmla="*/ 4203 h 10000"/>
                <a:gd name="connsiteX34" fmla="*/ 6768 w 10000"/>
                <a:gd name="connsiteY34" fmla="*/ 4143 h 10000"/>
                <a:gd name="connsiteX35" fmla="*/ 6738 w 10000"/>
                <a:gd name="connsiteY35" fmla="*/ 4088 h 10000"/>
                <a:gd name="connsiteX36" fmla="*/ 6723 w 10000"/>
                <a:gd name="connsiteY36" fmla="*/ 4028 h 10000"/>
                <a:gd name="connsiteX37" fmla="*/ 6694 w 10000"/>
                <a:gd name="connsiteY37" fmla="*/ 3973 h 10000"/>
                <a:gd name="connsiteX38" fmla="*/ 6679 w 10000"/>
                <a:gd name="connsiteY38" fmla="*/ 3914 h 10000"/>
                <a:gd name="connsiteX39" fmla="*/ 6664 w 10000"/>
                <a:gd name="connsiteY39" fmla="*/ 3854 h 10000"/>
                <a:gd name="connsiteX40" fmla="*/ 6649 w 10000"/>
                <a:gd name="connsiteY40" fmla="*/ 3795 h 10000"/>
                <a:gd name="connsiteX41" fmla="*/ 6635 w 10000"/>
                <a:gd name="connsiteY41" fmla="*/ 3740 h 10000"/>
                <a:gd name="connsiteX42" fmla="*/ 6620 w 10000"/>
                <a:gd name="connsiteY42" fmla="*/ 3680 h 10000"/>
                <a:gd name="connsiteX43" fmla="*/ 6612 w 10000"/>
                <a:gd name="connsiteY43" fmla="*/ 3621 h 10000"/>
                <a:gd name="connsiteX44" fmla="*/ 6605 w 10000"/>
                <a:gd name="connsiteY44" fmla="*/ 3561 h 10000"/>
                <a:gd name="connsiteX45" fmla="*/ 6597 w 10000"/>
                <a:gd name="connsiteY45" fmla="*/ 3497 h 10000"/>
                <a:gd name="connsiteX46" fmla="*/ 6597 w 10000"/>
                <a:gd name="connsiteY46" fmla="*/ 3437 h 10000"/>
                <a:gd name="connsiteX47" fmla="*/ 6590 w 10000"/>
                <a:gd name="connsiteY47" fmla="*/ 3373 h 10000"/>
                <a:gd name="connsiteX48" fmla="*/ 6597 w 10000"/>
                <a:gd name="connsiteY48" fmla="*/ 3313 h 10000"/>
                <a:gd name="connsiteX49" fmla="*/ 6605 w 10000"/>
                <a:gd name="connsiteY49" fmla="*/ 3245 h 10000"/>
                <a:gd name="connsiteX50" fmla="*/ 6605 w 10000"/>
                <a:gd name="connsiteY50" fmla="*/ 3181 h 10000"/>
                <a:gd name="connsiteX51" fmla="*/ 6612 w 10000"/>
                <a:gd name="connsiteY51" fmla="*/ 3116 h 10000"/>
                <a:gd name="connsiteX52" fmla="*/ 6620 w 10000"/>
                <a:gd name="connsiteY52" fmla="*/ 3052 h 10000"/>
                <a:gd name="connsiteX53" fmla="*/ 6635 w 10000"/>
                <a:gd name="connsiteY53" fmla="*/ 2993 h 10000"/>
                <a:gd name="connsiteX54" fmla="*/ 6649 w 10000"/>
                <a:gd name="connsiteY54" fmla="*/ 2929 h 10000"/>
                <a:gd name="connsiteX55" fmla="*/ 6664 w 10000"/>
                <a:gd name="connsiteY55" fmla="*/ 2869 h 10000"/>
                <a:gd name="connsiteX56" fmla="*/ 6686 w 10000"/>
                <a:gd name="connsiteY56" fmla="*/ 2805 h 10000"/>
                <a:gd name="connsiteX57" fmla="*/ 6709 w 10000"/>
                <a:gd name="connsiteY57" fmla="*/ 2745 h 10000"/>
                <a:gd name="connsiteX58" fmla="*/ 6731 w 10000"/>
                <a:gd name="connsiteY58" fmla="*/ 2686 h 10000"/>
                <a:gd name="connsiteX59" fmla="*/ 6753 w 10000"/>
                <a:gd name="connsiteY59" fmla="*/ 2621 h 10000"/>
                <a:gd name="connsiteX60" fmla="*/ 6783 w 10000"/>
                <a:gd name="connsiteY60" fmla="*/ 2566 h 10000"/>
                <a:gd name="connsiteX61" fmla="*/ 6812 w 10000"/>
                <a:gd name="connsiteY61" fmla="*/ 2507 h 10000"/>
                <a:gd name="connsiteX62" fmla="*/ 6842 w 10000"/>
                <a:gd name="connsiteY62" fmla="*/ 2447 h 10000"/>
                <a:gd name="connsiteX63" fmla="*/ 6879 w 10000"/>
                <a:gd name="connsiteY63" fmla="*/ 2388 h 10000"/>
                <a:gd name="connsiteX64" fmla="*/ 6909 w 10000"/>
                <a:gd name="connsiteY64" fmla="*/ 2333 h 10000"/>
                <a:gd name="connsiteX65" fmla="*/ 6946 w 10000"/>
                <a:gd name="connsiteY65" fmla="*/ 2273 h 10000"/>
                <a:gd name="connsiteX66" fmla="*/ 6990 w 10000"/>
                <a:gd name="connsiteY66" fmla="*/ 2218 h 10000"/>
                <a:gd name="connsiteX67" fmla="*/ 7027 w 10000"/>
                <a:gd name="connsiteY67" fmla="*/ 2163 h 10000"/>
                <a:gd name="connsiteX68" fmla="*/ 7072 w 10000"/>
                <a:gd name="connsiteY68" fmla="*/ 2108 h 10000"/>
                <a:gd name="connsiteX69" fmla="*/ 7109 w 10000"/>
                <a:gd name="connsiteY69" fmla="*/ 2053 h 10000"/>
                <a:gd name="connsiteX70" fmla="*/ 7161 w 10000"/>
                <a:gd name="connsiteY70" fmla="*/ 2003 h 10000"/>
                <a:gd name="connsiteX71" fmla="*/ 7213 w 10000"/>
                <a:gd name="connsiteY71" fmla="*/ 1948 h 10000"/>
                <a:gd name="connsiteX72" fmla="*/ 7257 w 10000"/>
                <a:gd name="connsiteY72" fmla="*/ 1893 h 10000"/>
                <a:gd name="connsiteX73" fmla="*/ 7309 w 10000"/>
                <a:gd name="connsiteY73" fmla="*/ 1842 h 10000"/>
                <a:gd name="connsiteX74" fmla="*/ 7361 w 10000"/>
                <a:gd name="connsiteY74" fmla="*/ 1792 h 10000"/>
                <a:gd name="connsiteX75" fmla="*/ 7413 w 10000"/>
                <a:gd name="connsiteY75" fmla="*/ 1742 h 10000"/>
                <a:gd name="connsiteX76" fmla="*/ 7472 w 10000"/>
                <a:gd name="connsiteY76" fmla="*/ 1691 h 10000"/>
                <a:gd name="connsiteX77" fmla="*/ 7524 w 10000"/>
                <a:gd name="connsiteY77" fmla="*/ 1645 h 10000"/>
                <a:gd name="connsiteX78" fmla="*/ 7583 w 10000"/>
                <a:gd name="connsiteY78" fmla="*/ 1599 h 10000"/>
                <a:gd name="connsiteX79" fmla="*/ 7643 w 10000"/>
                <a:gd name="connsiteY79" fmla="*/ 1549 h 10000"/>
                <a:gd name="connsiteX80" fmla="*/ 5434 w 10000"/>
                <a:gd name="connsiteY80" fmla="*/ 0 h 10000"/>
                <a:gd name="connsiteX81" fmla="*/ 1401 w 10000"/>
                <a:gd name="connsiteY81" fmla="*/ 0 h 10000"/>
                <a:gd name="connsiteX82" fmla="*/ 1305 w 10000"/>
                <a:gd name="connsiteY82" fmla="*/ 128 h 10000"/>
                <a:gd name="connsiteX83" fmla="*/ 1223 w 10000"/>
                <a:gd name="connsiteY83" fmla="*/ 220 h 10000"/>
                <a:gd name="connsiteX84" fmla="*/ 1149 w 10000"/>
                <a:gd name="connsiteY84" fmla="*/ 316 h 10000"/>
                <a:gd name="connsiteX85" fmla="*/ 1067 w 10000"/>
                <a:gd name="connsiteY85" fmla="*/ 412 h 10000"/>
                <a:gd name="connsiteX86" fmla="*/ 1001 w 10000"/>
                <a:gd name="connsiteY86" fmla="*/ 509 h 10000"/>
                <a:gd name="connsiteX87" fmla="*/ 927 w 10000"/>
                <a:gd name="connsiteY87" fmla="*/ 605 h 10000"/>
                <a:gd name="connsiteX88" fmla="*/ 860 w 10000"/>
                <a:gd name="connsiteY88" fmla="*/ 706 h 10000"/>
                <a:gd name="connsiteX89" fmla="*/ 793 w 10000"/>
                <a:gd name="connsiteY89" fmla="*/ 807 h 10000"/>
                <a:gd name="connsiteX90" fmla="*/ 734 w 10000"/>
                <a:gd name="connsiteY90" fmla="*/ 903 h 10000"/>
                <a:gd name="connsiteX91" fmla="*/ 675 w 10000"/>
                <a:gd name="connsiteY91" fmla="*/ 1004 h 10000"/>
                <a:gd name="connsiteX92" fmla="*/ 615 w 10000"/>
                <a:gd name="connsiteY92" fmla="*/ 1104 h 10000"/>
                <a:gd name="connsiteX93" fmla="*/ 556 w 10000"/>
                <a:gd name="connsiteY93" fmla="*/ 1210 h 10000"/>
                <a:gd name="connsiteX94" fmla="*/ 504 w 10000"/>
                <a:gd name="connsiteY94" fmla="*/ 1306 h 10000"/>
                <a:gd name="connsiteX95" fmla="*/ 452 w 10000"/>
                <a:gd name="connsiteY95" fmla="*/ 1412 h 10000"/>
                <a:gd name="connsiteX96" fmla="*/ 408 w 10000"/>
                <a:gd name="connsiteY96" fmla="*/ 1512 h 10000"/>
                <a:gd name="connsiteX97" fmla="*/ 363 w 10000"/>
                <a:gd name="connsiteY97" fmla="*/ 1618 h 10000"/>
                <a:gd name="connsiteX98" fmla="*/ 319 w 10000"/>
                <a:gd name="connsiteY98" fmla="*/ 1723 h 10000"/>
                <a:gd name="connsiteX99" fmla="*/ 282 w 10000"/>
                <a:gd name="connsiteY99" fmla="*/ 1829 h 10000"/>
                <a:gd name="connsiteX100" fmla="*/ 237 w 10000"/>
                <a:gd name="connsiteY100" fmla="*/ 1939 h 10000"/>
                <a:gd name="connsiteX101" fmla="*/ 208 w 10000"/>
                <a:gd name="connsiteY101" fmla="*/ 2044 h 10000"/>
                <a:gd name="connsiteX102" fmla="*/ 170 w 10000"/>
                <a:gd name="connsiteY102" fmla="*/ 2154 h 10000"/>
                <a:gd name="connsiteX103" fmla="*/ 148 w 10000"/>
                <a:gd name="connsiteY103" fmla="*/ 2264 h 10000"/>
                <a:gd name="connsiteX104" fmla="*/ 119 w 10000"/>
                <a:gd name="connsiteY104" fmla="*/ 2369 h 10000"/>
                <a:gd name="connsiteX105" fmla="*/ 96 w 10000"/>
                <a:gd name="connsiteY105" fmla="*/ 2479 h 10000"/>
                <a:gd name="connsiteX106" fmla="*/ 74 w 10000"/>
                <a:gd name="connsiteY106" fmla="*/ 2589 h 10000"/>
                <a:gd name="connsiteX107" fmla="*/ 52 w 10000"/>
                <a:gd name="connsiteY107" fmla="*/ 2704 h 10000"/>
                <a:gd name="connsiteX108" fmla="*/ 37 w 10000"/>
                <a:gd name="connsiteY108" fmla="*/ 2814 h 10000"/>
                <a:gd name="connsiteX109" fmla="*/ 22 w 10000"/>
                <a:gd name="connsiteY109" fmla="*/ 2924 h 10000"/>
                <a:gd name="connsiteX110" fmla="*/ 15 w 10000"/>
                <a:gd name="connsiteY110" fmla="*/ 3034 h 10000"/>
                <a:gd name="connsiteX111" fmla="*/ 7 w 10000"/>
                <a:gd name="connsiteY111" fmla="*/ 3148 h 10000"/>
                <a:gd name="connsiteX112" fmla="*/ 0 w 10000"/>
                <a:gd name="connsiteY112" fmla="*/ 3258 h 10000"/>
                <a:gd name="connsiteX113" fmla="*/ 0 w 10000"/>
                <a:gd name="connsiteY113" fmla="*/ 3373 h 10000"/>
                <a:gd name="connsiteX114" fmla="*/ 7 w 10000"/>
                <a:gd name="connsiteY114" fmla="*/ 3520 h 10000"/>
                <a:gd name="connsiteX115" fmla="*/ 7 w 10000"/>
                <a:gd name="connsiteY115" fmla="*/ 3666 h 10000"/>
                <a:gd name="connsiteX116" fmla="*/ 22 w 10000"/>
                <a:gd name="connsiteY116" fmla="*/ 3804 h 10000"/>
                <a:gd name="connsiteX117" fmla="*/ 37 w 10000"/>
                <a:gd name="connsiteY117" fmla="*/ 3946 h 10000"/>
                <a:gd name="connsiteX118" fmla="*/ 59 w 10000"/>
                <a:gd name="connsiteY118" fmla="*/ 4088 h 10000"/>
                <a:gd name="connsiteX119" fmla="*/ 89 w 10000"/>
                <a:gd name="connsiteY119" fmla="*/ 4230 h 10000"/>
                <a:gd name="connsiteX120" fmla="*/ 119 w 10000"/>
                <a:gd name="connsiteY120" fmla="*/ 4372 h 10000"/>
                <a:gd name="connsiteX121" fmla="*/ 148 w 10000"/>
                <a:gd name="connsiteY121" fmla="*/ 4514 h 10000"/>
                <a:gd name="connsiteX122" fmla="*/ 193 w 10000"/>
                <a:gd name="connsiteY122" fmla="*/ 4652 h 10000"/>
                <a:gd name="connsiteX123" fmla="*/ 237 w 10000"/>
                <a:gd name="connsiteY123" fmla="*/ 4789 h 10000"/>
                <a:gd name="connsiteX124" fmla="*/ 282 w 10000"/>
                <a:gd name="connsiteY124" fmla="*/ 4927 h 10000"/>
                <a:gd name="connsiteX125" fmla="*/ 334 w 10000"/>
                <a:gd name="connsiteY125" fmla="*/ 5064 h 10000"/>
                <a:gd name="connsiteX126" fmla="*/ 393 w 10000"/>
                <a:gd name="connsiteY126" fmla="*/ 5197 h 10000"/>
                <a:gd name="connsiteX127" fmla="*/ 452 w 10000"/>
                <a:gd name="connsiteY127" fmla="*/ 5330 h 10000"/>
                <a:gd name="connsiteX128" fmla="*/ 519 w 10000"/>
                <a:gd name="connsiteY128" fmla="*/ 5463 h 10000"/>
                <a:gd name="connsiteX129" fmla="*/ 586 w 10000"/>
                <a:gd name="connsiteY129" fmla="*/ 5596 h 10000"/>
                <a:gd name="connsiteX130" fmla="*/ 660 w 10000"/>
                <a:gd name="connsiteY130" fmla="*/ 5724 h 10000"/>
                <a:gd name="connsiteX131" fmla="*/ 741 w 10000"/>
                <a:gd name="connsiteY131" fmla="*/ 5852 h 10000"/>
                <a:gd name="connsiteX132" fmla="*/ 823 w 10000"/>
                <a:gd name="connsiteY132" fmla="*/ 5985 h 10000"/>
                <a:gd name="connsiteX133" fmla="*/ 904 w 10000"/>
                <a:gd name="connsiteY133" fmla="*/ 6109 h 10000"/>
                <a:gd name="connsiteX134" fmla="*/ 993 w 10000"/>
                <a:gd name="connsiteY134" fmla="*/ 6233 h 10000"/>
                <a:gd name="connsiteX135" fmla="*/ 1090 w 10000"/>
                <a:gd name="connsiteY135" fmla="*/ 6352 h 10000"/>
                <a:gd name="connsiteX136" fmla="*/ 1186 w 10000"/>
                <a:gd name="connsiteY136" fmla="*/ 6476 h 10000"/>
                <a:gd name="connsiteX137" fmla="*/ 1290 w 10000"/>
                <a:gd name="connsiteY137" fmla="*/ 6599 h 10000"/>
                <a:gd name="connsiteX138" fmla="*/ 1386 w 10000"/>
                <a:gd name="connsiteY138" fmla="*/ 6719 h 10000"/>
                <a:gd name="connsiteX139" fmla="*/ 1497 w 10000"/>
                <a:gd name="connsiteY139" fmla="*/ 6838 h 10000"/>
                <a:gd name="connsiteX140" fmla="*/ 1609 w 10000"/>
                <a:gd name="connsiteY140" fmla="*/ 6952 h 10000"/>
                <a:gd name="connsiteX141" fmla="*/ 1727 w 10000"/>
                <a:gd name="connsiteY141" fmla="*/ 7071 h 10000"/>
                <a:gd name="connsiteX142" fmla="*/ 1846 w 10000"/>
                <a:gd name="connsiteY142" fmla="*/ 7186 h 10000"/>
                <a:gd name="connsiteX143" fmla="*/ 1964 w 10000"/>
                <a:gd name="connsiteY143" fmla="*/ 7296 h 10000"/>
                <a:gd name="connsiteX144" fmla="*/ 2090 w 10000"/>
                <a:gd name="connsiteY144" fmla="*/ 7406 h 10000"/>
                <a:gd name="connsiteX145" fmla="*/ 2224 w 10000"/>
                <a:gd name="connsiteY145" fmla="*/ 7516 h 10000"/>
                <a:gd name="connsiteX146" fmla="*/ 2350 w 10000"/>
                <a:gd name="connsiteY146" fmla="*/ 7626 h 10000"/>
                <a:gd name="connsiteX147" fmla="*/ 2491 w 10000"/>
                <a:gd name="connsiteY147" fmla="*/ 7731 h 10000"/>
                <a:gd name="connsiteX148" fmla="*/ 2617 w 10000"/>
                <a:gd name="connsiteY148" fmla="*/ 7837 h 10000"/>
                <a:gd name="connsiteX149" fmla="*/ 2765 w 10000"/>
                <a:gd name="connsiteY149" fmla="*/ 7938 h 10000"/>
                <a:gd name="connsiteX150" fmla="*/ 2906 w 10000"/>
                <a:gd name="connsiteY150" fmla="*/ 8038 h 10000"/>
                <a:gd name="connsiteX151" fmla="*/ 3054 w 10000"/>
                <a:gd name="connsiteY151" fmla="*/ 8139 h 10000"/>
                <a:gd name="connsiteX152" fmla="*/ 3210 w 10000"/>
                <a:gd name="connsiteY152" fmla="*/ 8236 h 10000"/>
                <a:gd name="connsiteX153" fmla="*/ 3358 w 10000"/>
                <a:gd name="connsiteY153" fmla="*/ 8332 h 10000"/>
                <a:gd name="connsiteX154" fmla="*/ 3514 w 10000"/>
                <a:gd name="connsiteY154" fmla="*/ 8428 h 10000"/>
                <a:gd name="connsiteX155" fmla="*/ 3677 w 10000"/>
                <a:gd name="connsiteY155" fmla="*/ 8520 h 10000"/>
                <a:gd name="connsiteX156" fmla="*/ 3840 w 10000"/>
                <a:gd name="connsiteY156" fmla="*/ 8607 h 10000"/>
                <a:gd name="connsiteX157" fmla="*/ 4010 w 10000"/>
                <a:gd name="connsiteY157" fmla="*/ 8698 h 10000"/>
                <a:gd name="connsiteX158" fmla="*/ 4181 w 10000"/>
                <a:gd name="connsiteY158" fmla="*/ 8776 h 10000"/>
                <a:gd name="connsiteX159" fmla="*/ 4351 w 10000"/>
                <a:gd name="connsiteY159" fmla="*/ 8863 h 10000"/>
                <a:gd name="connsiteX160" fmla="*/ 4522 w 10000"/>
                <a:gd name="connsiteY160" fmla="*/ 8941 h 10000"/>
                <a:gd name="connsiteX161" fmla="*/ 4700 w 10000"/>
                <a:gd name="connsiteY161" fmla="*/ 9024 h 10000"/>
                <a:gd name="connsiteX162" fmla="*/ 4878 w 10000"/>
                <a:gd name="connsiteY162" fmla="*/ 9102 h 10000"/>
                <a:gd name="connsiteX163" fmla="*/ 5063 w 10000"/>
                <a:gd name="connsiteY163" fmla="*/ 9175 h 10000"/>
                <a:gd name="connsiteX164" fmla="*/ 5248 w 10000"/>
                <a:gd name="connsiteY164" fmla="*/ 9253 h 10000"/>
                <a:gd name="connsiteX165" fmla="*/ 5426 w 10000"/>
                <a:gd name="connsiteY165" fmla="*/ 9322 h 10000"/>
                <a:gd name="connsiteX166" fmla="*/ 5619 w 10000"/>
                <a:gd name="connsiteY166" fmla="*/ 9390 h 10000"/>
                <a:gd name="connsiteX167" fmla="*/ 5812 w 10000"/>
                <a:gd name="connsiteY167" fmla="*/ 9459 h 10000"/>
                <a:gd name="connsiteX168" fmla="*/ 6004 w 10000"/>
                <a:gd name="connsiteY168" fmla="*/ 9523 h 10000"/>
                <a:gd name="connsiteX169" fmla="*/ 6205 w 10000"/>
                <a:gd name="connsiteY169" fmla="*/ 9588 h 10000"/>
                <a:gd name="connsiteX170" fmla="*/ 6397 w 10000"/>
                <a:gd name="connsiteY170" fmla="*/ 9647 h 10000"/>
                <a:gd name="connsiteX171" fmla="*/ 6605 w 10000"/>
                <a:gd name="connsiteY171" fmla="*/ 9702 h 10000"/>
                <a:gd name="connsiteX172" fmla="*/ 6805 w 10000"/>
                <a:gd name="connsiteY172" fmla="*/ 9757 h 10000"/>
                <a:gd name="connsiteX173" fmla="*/ 7005 w 10000"/>
                <a:gd name="connsiteY173" fmla="*/ 9812 h 10000"/>
                <a:gd name="connsiteX174" fmla="*/ 7213 w 10000"/>
                <a:gd name="connsiteY174" fmla="*/ 9863 h 10000"/>
                <a:gd name="connsiteX175" fmla="*/ 7420 w 10000"/>
                <a:gd name="connsiteY175" fmla="*/ 9908 h 10000"/>
                <a:gd name="connsiteX176" fmla="*/ 7628 w 10000"/>
                <a:gd name="connsiteY176" fmla="*/ 9954 h 10000"/>
                <a:gd name="connsiteX177" fmla="*/ 7835 w 10000"/>
                <a:gd name="connsiteY177" fmla="*/ 10000 h 10000"/>
                <a:gd name="connsiteX178" fmla="*/ 7539 w 10000"/>
                <a:gd name="connsiteY178" fmla="*/ 7754 h 10000"/>
                <a:gd name="connsiteX179" fmla="*/ 10000 w 10000"/>
                <a:gd name="connsiteY179" fmla="*/ 6141 h 10000"/>
                <a:gd name="connsiteX0" fmla="*/ 10000 w 10000"/>
                <a:gd name="connsiteY0" fmla="*/ 6162 h 10021"/>
                <a:gd name="connsiteX1" fmla="*/ 10000 w 10000"/>
                <a:gd name="connsiteY1" fmla="*/ 6162 h 10021"/>
                <a:gd name="connsiteX2" fmla="*/ 9911 w 10000"/>
                <a:gd name="connsiteY2" fmla="*/ 6148 h 10021"/>
                <a:gd name="connsiteX3" fmla="*/ 9815 w 10000"/>
                <a:gd name="connsiteY3" fmla="*/ 6130 h 10021"/>
                <a:gd name="connsiteX4" fmla="*/ 9726 w 10000"/>
                <a:gd name="connsiteY4" fmla="*/ 6112 h 10021"/>
                <a:gd name="connsiteX5" fmla="*/ 9637 w 10000"/>
                <a:gd name="connsiteY5" fmla="*/ 6089 h 10021"/>
                <a:gd name="connsiteX6" fmla="*/ 9548 w 10000"/>
                <a:gd name="connsiteY6" fmla="*/ 6070 h 10021"/>
                <a:gd name="connsiteX7" fmla="*/ 9466 w 10000"/>
                <a:gd name="connsiteY7" fmla="*/ 6048 h 10021"/>
                <a:gd name="connsiteX8" fmla="*/ 9377 w 10000"/>
                <a:gd name="connsiteY8" fmla="*/ 6025 h 10021"/>
                <a:gd name="connsiteX9" fmla="*/ 9288 w 10000"/>
                <a:gd name="connsiteY9" fmla="*/ 6002 h 10021"/>
                <a:gd name="connsiteX10" fmla="*/ 9118 w 10000"/>
                <a:gd name="connsiteY10" fmla="*/ 5951 h 10021"/>
                <a:gd name="connsiteX11" fmla="*/ 8955 w 10000"/>
                <a:gd name="connsiteY11" fmla="*/ 5896 h 10021"/>
                <a:gd name="connsiteX12" fmla="*/ 8792 w 10000"/>
                <a:gd name="connsiteY12" fmla="*/ 5837 h 10021"/>
                <a:gd name="connsiteX13" fmla="*/ 8636 w 10000"/>
                <a:gd name="connsiteY13" fmla="*/ 5773 h 10021"/>
                <a:gd name="connsiteX14" fmla="*/ 8480 w 10000"/>
                <a:gd name="connsiteY14" fmla="*/ 5708 h 10021"/>
                <a:gd name="connsiteX15" fmla="*/ 8340 w 10000"/>
                <a:gd name="connsiteY15" fmla="*/ 5640 h 10021"/>
                <a:gd name="connsiteX16" fmla="*/ 8199 w 10000"/>
                <a:gd name="connsiteY16" fmla="*/ 5566 h 10021"/>
                <a:gd name="connsiteX17" fmla="*/ 8058 w 10000"/>
                <a:gd name="connsiteY17" fmla="*/ 5488 h 10021"/>
                <a:gd name="connsiteX18" fmla="*/ 7924 w 10000"/>
                <a:gd name="connsiteY18" fmla="*/ 5406 h 10021"/>
                <a:gd name="connsiteX19" fmla="*/ 7798 w 10000"/>
                <a:gd name="connsiteY19" fmla="*/ 5323 h 10021"/>
                <a:gd name="connsiteX20" fmla="*/ 7672 w 10000"/>
                <a:gd name="connsiteY20" fmla="*/ 5236 h 10021"/>
                <a:gd name="connsiteX21" fmla="*/ 7554 w 10000"/>
                <a:gd name="connsiteY21" fmla="*/ 5149 h 10021"/>
                <a:gd name="connsiteX22" fmla="*/ 7450 w 10000"/>
                <a:gd name="connsiteY22" fmla="*/ 5053 h 10021"/>
                <a:gd name="connsiteX23" fmla="*/ 7346 w 10000"/>
                <a:gd name="connsiteY23" fmla="*/ 4957 h 10021"/>
                <a:gd name="connsiteX24" fmla="*/ 7250 w 10000"/>
                <a:gd name="connsiteY24" fmla="*/ 4861 h 10021"/>
                <a:gd name="connsiteX25" fmla="*/ 7161 w 10000"/>
                <a:gd name="connsiteY25" fmla="*/ 4760 h 10021"/>
                <a:gd name="connsiteX26" fmla="*/ 7072 w 10000"/>
                <a:gd name="connsiteY26" fmla="*/ 4659 h 10021"/>
                <a:gd name="connsiteX27" fmla="*/ 6990 w 10000"/>
                <a:gd name="connsiteY27" fmla="*/ 4549 h 10021"/>
                <a:gd name="connsiteX28" fmla="*/ 6953 w 10000"/>
                <a:gd name="connsiteY28" fmla="*/ 4499 h 10021"/>
                <a:gd name="connsiteX29" fmla="*/ 6916 w 10000"/>
                <a:gd name="connsiteY29" fmla="*/ 4444 h 10021"/>
                <a:gd name="connsiteX30" fmla="*/ 6887 w 10000"/>
                <a:gd name="connsiteY30" fmla="*/ 4389 h 10021"/>
                <a:gd name="connsiteX31" fmla="*/ 6850 w 10000"/>
                <a:gd name="connsiteY31" fmla="*/ 4334 h 10021"/>
                <a:gd name="connsiteX32" fmla="*/ 6820 w 10000"/>
                <a:gd name="connsiteY32" fmla="*/ 4279 h 10021"/>
                <a:gd name="connsiteX33" fmla="*/ 6790 w 10000"/>
                <a:gd name="connsiteY33" fmla="*/ 4224 h 10021"/>
                <a:gd name="connsiteX34" fmla="*/ 6768 w 10000"/>
                <a:gd name="connsiteY34" fmla="*/ 4164 h 10021"/>
                <a:gd name="connsiteX35" fmla="*/ 6738 w 10000"/>
                <a:gd name="connsiteY35" fmla="*/ 4109 h 10021"/>
                <a:gd name="connsiteX36" fmla="*/ 6723 w 10000"/>
                <a:gd name="connsiteY36" fmla="*/ 4049 h 10021"/>
                <a:gd name="connsiteX37" fmla="*/ 6694 w 10000"/>
                <a:gd name="connsiteY37" fmla="*/ 3994 h 10021"/>
                <a:gd name="connsiteX38" fmla="*/ 6679 w 10000"/>
                <a:gd name="connsiteY38" fmla="*/ 3935 h 10021"/>
                <a:gd name="connsiteX39" fmla="*/ 6664 w 10000"/>
                <a:gd name="connsiteY39" fmla="*/ 3875 h 10021"/>
                <a:gd name="connsiteX40" fmla="*/ 6649 w 10000"/>
                <a:gd name="connsiteY40" fmla="*/ 3816 h 10021"/>
                <a:gd name="connsiteX41" fmla="*/ 6635 w 10000"/>
                <a:gd name="connsiteY41" fmla="*/ 3761 h 10021"/>
                <a:gd name="connsiteX42" fmla="*/ 6620 w 10000"/>
                <a:gd name="connsiteY42" fmla="*/ 3701 h 10021"/>
                <a:gd name="connsiteX43" fmla="*/ 6612 w 10000"/>
                <a:gd name="connsiteY43" fmla="*/ 3642 h 10021"/>
                <a:gd name="connsiteX44" fmla="*/ 6605 w 10000"/>
                <a:gd name="connsiteY44" fmla="*/ 3582 h 10021"/>
                <a:gd name="connsiteX45" fmla="*/ 6597 w 10000"/>
                <a:gd name="connsiteY45" fmla="*/ 3518 h 10021"/>
                <a:gd name="connsiteX46" fmla="*/ 6597 w 10000"/>
                <a:gd name="connsiteY46" fmla="*/ 3458 h 10021"/>
                <a:gd name="connsiteX47" fmla="*/ 6590 w 10000"/>
                <a:gd name="connsiteY47" fmla="*/ 3394 h 10021"/>
                <a:gd name="connsiteX48" fmla="*/ 6597 w 10000"/>
                <a:gd name="connsiteY48" fmla="*/ 3334 h 10021"/>
                <a:gd name="connsiteX49" fmla="*/ 6605 w 10000"/>
                <a:gd name="connsiteY49" fmla="*/ 3266 h 10021"/>
                <a:gd name="connsiteX50" fmla="*/ 6605 w 10000"/>
                <a:gd name="connsiteY50" fmla="*/ 3202 h 10021"/>
                <a:gd name="connsiteX51" fmla="*/ 6612 w 10000"/>
                <a:gd name="connsiteY51" fmla="*/ 3137 h 10021"/>
                <a:gd name="connsiteX52" fmla="*/ 6620 w 10000"/>
                <a:gd name="connsiteY52" fmla="*/ 3073 h 10021"/>
                <a:gd name="connsiteX53" fmla="*/ 6635 w 10000"/>
                <a:gd name="connsiteY53" fmla="*/ 3014 h 10021"/>
                <a:gd name="connsiteX54" fmla="*/ 6649 w 10000"/>
                <a:gd name="connsiteY54" fmla="*/ 2950 h 10021"/>
                <a:gd name="connsiteX55" fmla="*/ 6664 w 10000"/>
                <a:gd name="connsiteY55" fmla="*/ 2890 h 10021"/>
                <a:gd name="connsiteX56" fmla="*/ 6686 w 10000"/>
                <a:gd name="connsiteY56" fmla="*/ 2826 h 10021"/>
                <a:gd name="connsiteX57" fmla="*/ 6709 w 10000"/>
                <a:gd name="connsiteY57" fmla="*/ 2766 h 10021"/>
                <a:gd name="connsiteX58" fmla="*/ 6731 w 10000"/>
                <a:gd name="connsiteY58" fmla="*/ 2707 h 10021"/>
                <a:gd name="connsiteX59" fmla="*/ 6753 w 10000"/>
                <a:gd name="connsiteY59" fmla="*/ 2642 h 10021"/>
                <a:gd name="connsiteX60" fmla="*/ 6783 w 10000"/>
                <a:gd name="connsiteY60" fmla="*/ 2587 h 10021"/>
                <a:gd name="connsiteX61" fmla="*/ 6812 w 10000"/>
                <a:gd name="connsiteY61" fmla="*/ 2528 h 10021"/>
                <a:gd name="connsiteX62" fmla="*/ 6842 w 10000"/>
                <a:gd name="connsiteY62" fmla="*/ 2468 h 10021"/>
                <a:gd name="connsiteX63" fmla="*/ 6879 w 10000"/>
                <a:gd name="connsiteY63" fmla="*/ 2409 h 10021"/>
                <a:gd name="connsiteX64" fmla="*/ 6909 w 10000"/>
                <a:gd name="connsiteY64" fmla="*/ 2354 h 10021"/>
                <a:gd name="connsiteX65" fmla="*/ 6946 w 10000"/>
                <a:gd name="connsiteY65" fmla="*/ 2294 h 10021"/>
                <a:gd name="connsiteX66" fmla="*/ 6990 w 10000"/>
                <a:gd name="connsiteY66" fmla="*/ 2239 h 10021"/>
                <a:gd name="connsiteX67" fmla="*/ 7027 w 10000"/>
                <a:gd name="connsiteY67" fmla="*/ 2184 h 10021"/>
                <a:gd name="connsiteX68" fmla="*/ 7072 w 10000"/>
                <a:gd name="connsiteY68" fmla="*/ 2129 h 10021"/>
                <a:gd name="connsiteX69" fmla="*/ 7109 w 10000"/>
                <a:gd name="connsiteY69" fmla="*/ 2074 h 10021"/>
                <a:gd name="connsiteX70" fmla="*/ 7161 w 10000"/>
                <a:gd name="connsiteY70" fmla="*/ 2024 h 10021"/>
                <a:gd name="connsiteX71" fmla="*/ 7213 w 10000"/>
                <a:gd name="connsiteY71" fmla="*/ 1969 h 10021"/>
                <a:gd name="connsiteX72" fmla="*/ 7257 w 10000"/>
                <a:gd name="connsiteY72" fmla="*/ 1914 h 10021"/>
                <a:gd name="connsiteX73" fmla="*/ 7309 w 10000"/>
                <a:gd name="connsiteY73" fmla="*/ 1863 h 10021"/>
                <a:gd name="connsiteX74" fmla="*/ 7361 w 10000"/>
                <a:gd name="connsiteY74" fmla="*/ 1813 h 10021"/>
                <a:gd name="connsiteX75" fmla="*/ 7413 w 10000"/>
                <a:gd name="connsiteY75" fmla="*/ 1763 h 10021"/>
                <a:gd name="connsiteX76" fmla="*/ 7472 w 10000"/>
                <a:gd name="connsiteY76" fmla="*/ 1712 h 10021"/>
                <a:gd name="connsiteX77" fmla="*/ 7524 w 10000"/>
                <a:gd name="connsiteY77" fmla="*/ 1666 h 10021"/>
                <a:gd name="connsiteX78" fmla="*/ 7583 w 10000"/>
                <a:gd name="connsiteY78" fmla="*/ 1620 h 10021"/>
                <a:gd name="connsiteX79" fmla="*/ 7643 w 10000"/>
                <a:gd name="connsiteY79" fmla="*/ 1570 h 10021"/>
                <a:gd name="connsiteX80" fmla="*/ 5434 w 10000"/>
                <a:gd name="connsiteY80" fmla="*/ 21 h 10021"/>
                <a:gd name="connsiteX81" fmla="*/ 1401 w 10000"/>
                <a:gd name="connsiteY81" fmla="*/ 0 h 10021"/>
                <a:gd name="connsiteX82" fmla="*/ 1305 w 10000"/>
                <a:gd name="connsiteY82" fmla="*/ 149 h 10021"/>
                <a:gd name="connsiteX83" fmla="*/ 1223 w 10000"/>
                <a:gd name="connsiteY83" fmla="*/ 241 h 10021"/>
                <a:gd name="connsiteX84" fmla="*/ 1149 w 10000"/>
                <a:gd name="connsiteY84" fmla="*/ 337 h 10021"/>
                <a:gd name="connsiteX85" fmla="*/ 1067 w 10000"/>
                <a:gd name="connsiteY85" fmla="*/ 433 h 10021"/>
                <a:gd name="connsiteX86" fmla="*/ 1001 w 10000"/>
                <a:gd name="connsiteY86" fmla="*/ 530 h 10021"/>
                <a:gd name="connsiteX87" fmla="*/ 927 w 10000"/>
                <a:gd name="connsiteY87" fmla="*/ 626 h 10021"/>
                <a:gd name="connsiteX88" fmla="*/ 860 w 10000"/>
                <a:gd name="connsiteY88" fmla="*/ 727 h 10021"/>
                <a:gd name="connsiteX89" fmla="*/ 793 w 10000"/>
                <a:gd name="connsiteY89" fmla="*/ 828 h 10021"/>
                <a:gd name="connsiteX90" fmla="*/ 734 w 10000"/>
                <a:gd name="connsiteY90" fmla="*/ 924 h 10021"/>
                <a:gd name="connsiteX91" fmla="*/ 675 w 10000"/>
                <a:gd name="connsiteY91" fmla="*/ 1025 h 10021"/>
                <a:gd name="connsiteX92" fmla="*/ 615 w 10000"/>
                <a:gd name="connsiteY92" fmla="*/ 1125 h 10021"/>
                <a:gd name="connsiteX93" fmla="*/ 556 w 10000"/>
                <a:gd name="connsiteY93" fmla="*/ 1231 h 10021"/>
                <a:gd name="connsiteX94" fmla="*/ 504 w 10000"/>
                <a:gd name="connsiteY94" fmla="*/ 1327 h 10021"/>
                <a:gd name="connsiteX95" fmla="*/ 452 w 10000"/>
                <a:gd name="connsiteY95" fmla="*/ 1433 h 10021"/>
                <a:gd name="connsiteX96" fmla="*/ 408 w 10000"/>
                <a:gd name="connsiteY96" fmla="*/ 1533 h 10021"/>
                <a:gd name="connsiteX97" fmla="*/ 363 w 10000"/>
                <a:gd name="connsiteY97" fmla="*/ 1639 h 10021"/>
                <a:gd name="connsiteX98" fmla="*/ 319 w 10000"/>
                <a:gd name="connsiteY98" fmla="*/ 1744 h 10021"/>
                <a:gd name="connsiteX99" fmla="*/ 282 w 10000"/>
                <a:gd name="connsiteY99" fmla="*/ 1850 h 10021"/>
                <a:gd name="connsiteX100" fmla="*/ 237 w 10000"/>
                <a:gd name="connsiteY100" fmla="*/ 1960 h 10021"/>
                <a:gd name="connsiteX101" fmla="*/ 208 w 10000"/>
                <a:gd name="connsiteY101" fmla="*/ 2065 h 10021"/>
                <a:gd name="connsiteX102" fmla="*/ 170 w 10000"/>
                <a:gd name="connsiteY102" fmla="*/ 2175 h 10021"/>
                <a:gd name="connsiteX103" fmla="*/ 148 w 10000"/>
                <a:gd name="connsiteY103" fmla="*/ 2285 h 10021"/>
                <a:gd name="connsiteX104" fmla="*/ 119 w 10000"/>
                <a:gd name="connsiteY104" fmla="*/ 2390 h 10021"/>
                <a:gd name="connsiteX105" fmla="*/ 96 w 10000"/>
                <a:gd name="connsiteY105" fmla="*/ 2500 h 10021"/>
                <a:gd name="connsiteX106" fmla="*/ 74 w 10000"/>
                <a:gd name="connsiteY106" fmla="*/ 2610 h 10021"/>
                <a:gd name="connsiteX107" fmla="*/ 52 w 10000"/>
                <a:gd name="connsiteY107" fmla="*/ 2725 h 10021"/>
                <a:gd name="connsiteX108" fmla="*/ 37 w 10000"/>
                <a:gd name="connsiteY108" fmla="*/ 2835 h 10021"/>
                <a:gd name="connsiteX109" fmla="*/ 22 w 10000"/>
                <a:gd name="connsiteY109" fmla="*/ 2945 h 10021"/>
                <a:gd name="connsiteX110" fmla="*/ 15 w 10000"/>
                <a:gd name="connsiteY110" fmla="*/ 3055 h 10021"/>
                <a:gd name="connsiteX111" fmla="*/ 7 w 10000"/>
                <a:gd name="connsiteY111" fmla="*/ 3169 h 10021"/>
                <a:gd name="connsiteX112" fmla="*/ 0 w 10000"/>
                <a:gd name="connsiteY112" fmla="*/ 3279 h 10021"/>
                <a:gd name="connsiteX113" fmla="*/ 0 w 10000"/>
                <a:gd name="connsiteY113" fmla="*/ 3394 h 10021"/>
                <a:gd name="connsiteX114" fmla="*/ 7 w 10000"/>
                <a:gd name="connsiteY114" fmla="*/ 3541 h 10021"/>
                <a:gd name="connsiteX115" fmla="*/ 7 w 10000"/>
                <a:gd name="connsiteY115" fmla="*/ 3687 h 10021"/>
                <a:gd name="connsiteX116" fmla="*/ 22 w 10000"/>
                <a:gd name="connsiteY116" fmla="*/ 3825 h 10021"/>
                <a:gd name="connsiteX117" fmla="*/ 37 w 10000"/>
                <a:gd name="connsiteY117" fmla="*/ 3967 h 10021"/>
                <a:gd name="connsiteX118" fmla="*/ 59 w 10000"/>
                <a:gd name="connsiteY118" fmla="*/ 4109 h 10021"/>
                <a:gd name="connsiteX119" fmla="*/ 89 w 10000"/>
                <a:gd name="connsiteY119" fmla="*/ 4251 h 10021"/>
                <a:gd name="connsiteX120" fmla="*/ 119 w 10000"/>
                <a:gd name="connsiteY120" fmla="*/ 4393 h 10021"/>
                <a:gd name="connsiteX121" fmla="*/ 148 w 10000"/>
                <a:gd name="connsiteY121" fmla="*/ 4535 h 10021"/>
                <a:gd name="connsiteX122" fmla="*/ 193 w 10000"/>
                <a:gd name="connsiteY122" fmla="*/ 4673 h 10021"/>
                <a:gd name="connsiteX123" fmla="*/ 237 w 10000"/>
                <a:gd name="connsiteY123" fmla="*/ 4810 h 10021"/>
                <a:gd name="connsiteX124" fmla="*/ 282 w 10000"/>
                <a:gd name="connsiteY124" fmla="*/ 4948 h 10021"/>
                <a:gd name="connsiteX125" fmla="*/ 334 w 10000"/>
                <a:gd name="connsiteY125" fmla="*/ 5085 h 10021"/>
                <a:gd name="connsiteX126" fmla="*/ 393 w 10000"/>
                <a:gd name="connsiteY126" fmla="*/ 5218 h 10021"/>
                <a:gd name="connsiteX127" fmla="*/ 452 w 10000"/>
                <a:gd name="connsiteY127" fmla="*/ 5351 h 10021"/>
                <a:gd name="connsiteX128" fmla="*/ 519 w 10000"/>
                <a:gd name="connsiteY128" fmla="*/ 5484 h 10021"/>
                <a:gd name="connsiteX129" fmla="*/ 586 w 10000"/>
                <a:gd name="connsiteY129" fmla="*/ 5617 h 10021"/>
                <a:gd name="connsiteX130" fmla="*/ 660 w 10000"/>
                <a:gd name="connsiteY130" fmla="*/ 5745 h 10021"/>
                <a:gd name="connsiteX131" fmla="*/ 741 w 10000"/>
                <a:gd name="connsiteY131" fmla="*/ 5873 h 10021"/>
                <a:gd name="connsiteX132" fmla="*/ 823 w 10000"/>
                <a:gd name="connsiteY132" fmla="*/ 6006 h 10021"/>
                <a:gd name="connsiteX133" fmla="*/ 904 w 10000"/>
                <a:gd name="connsiteY133" fmla="*/ 6130 h 10021"/>
                <a:gd name="connsiteX134" fmla="*/ 993 w 10000"/>
                <a:gd name="connsiteY134" fmla="*/ 6254 h 10021"/>
                <a:gd name="connsiteX135" fmla="*/ 1090 w 10000"/>
                <a:gd name="connsiteY135" fmla="*/ 6373 h 10021"/>
                <a:gd name="connsiteX136" fmla="*/ 1186 w 10000"/>
                <a:gd name="connsiteY136" fmla="*/ 6497 h 10021"/>
                <a:gd name="connsiteX137" fmla="*/ 1290 w 10000"/>
                <a:gd name="connsiteY137" fmla="*/ 6620 h 10021"/>
                <a:gd name="connsiteX138" fmla="*/ 1386 w 10000"/>
                <a:gd name="connsiteY138" fmla="*/ 6740 h 10021"/>
                <a:gd name="connsiteX139" fmla="*/ 1497 w 10000"/>
                <a:gd name="connsiteY139" fmla="*/ 6859 h 10021"/>
                <a:gd name="connsiteX140" fmla="*/ 1609 w 10000"/>
                <a:gd name="connsiteY140" fmla="*/ 6973 h 10021"/>
                <a:gd name="connsiteX141" fmla="*/ 1727 w 10000"/>
                <a:gd name="connsiteY141" fmla="*/ 7092 h 10021"/>
                <a:gd name="connsiteX142" fmla="*/ 1846 w 10000"/>
                <a:gd name="connsiteY142" fmla="*/ 7207 h 10021"/>
                <a:gd name="connsiteX143" fmla="*/ 1964 w 10000"/>
                <a:gd name="connsiteY143" fmla="*/ 7317 h 10021"/>
                <a:gd name="connsiteX144" fmla="*/ 2090 w 10000"/>
                <a:gd name="connsiteY144" fmla="*/ 7427 h 10021"/>
                <a:gd name="connsiteX145" fmla="*/ 2224 w 10000"/>
                <a:gd name="connsiteY145" fmla="*/ 7537 h 10021"/>
                <a:gd name="connsiteX146" fmla="*/ 2350 w 10000"/>
                <a:gd name="connsiteY146" fmla="*/ 7647 h 10021"/>
                <a:gd name="connsiteX147" fmla="*/ 2491 w 10000"/>
                <a:gd name="connsiteY147" fmla="*/ 7752 h 10021"/>
                <a:gd name="connsiteX148" fmla="*/ 2617 w 10000"/>
                <a:gd name="connsiteY148" fmla="*/ 7858 h 10021"/>
                <a:gd name="connsiteX149" fmla="*/ 2765 w 10000"/>
                <a:gd name="connsiteY149" fmla="*/ 7959 h 10021"/>
                <a:gd name="connsiteX150" fmla="*/ 2906 w 10000"/>
                <a:gd name="connsiteY150" fmla="*/ 8059 h 10021"/>
                <a:gd name="connsiteX151" fmla="*/ 3054 w 10000"/>
                <a:gd name="connsiteY151" fmla="*/ 8160 h 10021"/>
                <a:gd name="connsiteX152" fmla="*/ 3210 w 10000"/>
                <a:gd name="connsiteY152" fmla="*/ 8257 h 10021"/>
                <a:gd name="connsiteX153" fmla="*/ 3358 w 10000"/>
                <a:gd name="connsiteY153" fmla="*/ 8353 h 10021"/>
                <a:gd name="connsiteX154" fmla="*/ 3514 w 10000"/>
                <a:gd name="connsiteY154" fmla="*/ 8449 h 10021"/>
                <a:gd name="connsiteX155" fmla="*/ 3677 w 10000"/>
                <a:gd name="connsiteY155" fmla="*/ 8541 h 10021"/>
                <a:gd name="connsiteX156" fmla="*/ 3840 w 10000"/>
                <a:gd name="connsiteY156" fmla="*/ 8628 h 10021"/>
                <a:gd name="connsiteX157" fmla="*/ 4010 w 10000"/>
                <a:gd name="connsiteY157" fmla="*/ 8719 h 10021"/>
                <a:gd name="connsiteX158" fmla="*/ 4181 w 10000"/>
                <a:gd name="connsiteY158" fmla="*/ 8797 h 10021"/>
                <a:gd name="connsiteX159" fmla="*/ 4351 w 10000"/>
                <a:gd name="connsiteY159" fmla="*/ 8884 h 10021"/>
                <a:gd name="connsiteX160" fmla="*/ 4522 w 10000"/>
                <a:gd name="connsiteY160" fmla="*/ 8962 h 10021"/>
                <a:gd name="connsiteX161" fmla="*/ 4700 w 10000"/>
                <a:gd name="connsiteY161" fmla="*/ 9045 h 10021"/>
                <a:gd name="connsiteX162" fmla="*/ 4878 w 10000"/>
                <a:gd name="connsiteY162" fmla="*/ 9123 h 10021"/>
                <a:gd name="connsiteX163" fmla="*/ 5063 w 10000"/>
                <a:gd name="connsiteY163" fmla="*/ 9196 h 10021"/>
                <a:gd name="connsiteX164" fmla="*/ 5248 w 10000"/>
                <a:gd name="connsiteY164" fmla="*/ 9274 h 10021"/>
                <a:gd name="connsiteX165" fmla="*/ 5426 w 10000"/>
                <a:gd name="connsiteY165" fmla="*/ 9343 h 10021"/>
                <a:gd name="connsiteX166" fmla="*/ 5619 w 10000"/>
                <a:gd name="connsiteY166" fmla="*/ 9411 h 10021"/>
                <a:gd name="connsiteX167" fmla="*/ 5812 w 10000"/>
                <a:gd name="connsiteY167" fmla="*/ 9480 h 10021"/>
                <a:gd name="connsiteX168" fmla="*/ 6004 w 10000"/>
                <a:gd name="connsiteY168" fmla="*/ 9544 h 10021"/>
                <a:gd name="connsiteX169" fmla="*/ 6205 w 10000"/>
                <a:gd name="connsiteY169" fmla="*/ 9609 h 10021"/>
                <a:gd name="connsiteX170" fmla="*/ 6397 w 10000"/>
                <a:gd name="connsiteY170" fmla="*/ 9668 h 10021"/>
                <a:gd name="connsiteX171" fmla="*/ 6605 w 10000"/>
                <a:gd name="connsiteY171" fmla="*/ 9723 h 10021"/>
                <a:gd name="connsiteX172" fmla="*/ 6805 w 10000"/>
                <a:gd name="connsiteY172" fmla="*/ 9778 h 10021"/>
                <a:gd name="connsiteX173" fmla="*/ 7005 w 10000"/>
                <a:gd name="connsiteY173" fmla="*/ 9833 h 10021"/>
                <a:gd name="connsiteX174" fmla="*/ 7213 w 10000"/>
                <a:gd name="connsiteY174" fmla="*/ 9884 h 10021"/>
                <a:gd name="connsiteX175" fmla="*/ 7420 w 10000"/>
                <a:gd name="connsiteY175" fmla="*/ 9929 h 10021"/>
                <a:gd name="connsiteX176" fmla="*/ 7628 w 10000"/>
                <a:gd name="connsiteY176" fmla="*/ 9975 h 10021"/>
                <a:gd name="connsiteX177" fmla="*/ 7835 w 10000"/>
                <a:gd name="connsiteY177" fmla="*/ 10021 h 10021"/>
                <a:gd name="connsiteX178" fmla="*/ 7539 w 10000"/>
                <a:gd name="connsiteY178" fmla="*/ 7775 h 10021"/>
                <a:gd name="connsiteX179" fmla="*/ 10000 w 10000"/>
                <a:gd name="connsiteY179" fmla="*/ 6162 h 10021"/>
                <a:gd name="connsiteX0" fmla="*/ 10000 w 10000"/>
                <a:gd name="connsiteY0" fmla="*/ 6162 h 10021"/>
                <a:gd name="connsiteX1" fmla="*/ 10000 w 10000"/>
                <a:gd name="connsiteY1" fmla="*/ 6162 h 10021"/>
                <a:gd name="connsiteX2" fmla="*/ 9911 w 10000"/>
                <a:gd name="connsiteY2" fmla="*/ 6148 h 10021"/>
                <a:gd name="connsiteX3" fmla="*/ 9815 w 10000"/>
                <a:gd name="connsiteY3" fmla="*/ 6130 h 10021"/>
                <a:gd name="connsiteX4" fmla="*/ 9726 w 10000"/>
                <a:gd name="connsiteY4" fmla="*/ 6112 h 10021"/>
                <a:gd name="connsiteX5" fmla="*/ 9637 w 10000"/>
                <a:gd name="connsiteY5" fmla="*/ 6089 h 10021"/>
                <a:gd name="connsiteX6" fmla="*/ 9548 w 10000"/>
                <a:gd name="connsiteY6" fmla="*/ 6070 h 10021"/>
                <a:gd name="connsiteX7" fmla="*/ 9466 w 10000"/>
                <a:gd name="connsiteY7" fmla="*/ 6048 h 10021"/>
                <a:gd name="connsiteX8" fmla="*/ 9377 w 10000"/>
                <a:gd name="connsiteY8" fmla="*/ 6025 h 10021"/>
                <a:gd name="connsiteX9" fmla="*/ 9288 w 10000"/>
                <a:gd name="connsiteY9" fmla="*/ 6002 h 10021"/>
                <a:gd name="connsiteX10" fmla="*/ 9118 w 10000"/>
                <a:gd name="connsiteY10" fmla="*/ 5951 h 10021"/>
                <a:gd name="connsiteX11" fmla="*/ 8955 w 10000"/>
                <a:gd name="connsiteY11" fmla="*/ 5896 h 10021"/>
                <a:gd name="connsiteX12" fmla="*/ 8792 w 10000"/>
                <a:gd name="connsiteY12" fmla="*/ 5837 h 10021"/>
                <a:gd name="connsiteX13" fmla="*/ 8636 w 10000"/>
                <a:gd name="connsiteY13" fmla="*/ 5773 h 10021"/>
                <a:gd name="connsiteX14" fmla="*/ 8480 w 10000"/>
                <a:gd name="connsiteY14" fmla="*/ 5708 h 10021"/>
                <a:gd name="connsiteX15" fmla="*/ 8340 w 10000"/>
                <a:gd name="connsiteY15" fmla="*/ 5640 h 10021"/>
                <a:gd name="connsiteX16" fmla="*/ 8199 w 10000"/>
                <a:gd name="connsiteY16" fmla="*/ 5566 h 10021"/>
                <a:gd name="connsiteX17" fmla="*/ 8058 w 10000"/>
                <a:gd name="connsiteY17" fmla="*/ 5488 h 10021"/>
                <a:gd name="connsiteX18" fmla="*/ 7924 w 10000"/>
                <a:gd name="connsiteY18" fmla="*/ 5406 h 10021"/>
                <a:gd name="connsiteX19" fmla="*/ 7798 w 10000"/>
                <a:gd name="connsiteY19" fmla="*/ 5323 h 10021"/>
                <a:gd name="connsiteX20" fmla="*/ 7672 w 10000"/>
                <a:gd name="connsiteY20" fmla="*/ 5236 h 10021"/>
                <a:gd name="connsiteX21" fmla="*/ 7554 w 10000"/>
                <a:gd name="connsiteY21" fmla="*/ 5149 h 10021"/>
                <a:gd name="connsiteX22" fmla="*/ 7450 w 10000"/>
                <a:gd name="connsiteY22" fmla="*/ 5053 h 10021"/>
                <a:gd name="connsiteX23" fmla="*/ 7346 w 10000"/>
                <a:gd name="connsiteY23" fmla="*/ 4957 h 10021"/>
                <a:gd name="connsiteX24" fmla="*/ 7250 w 10000"/>
                <a:gd name="connsiteY24" fmla="*/ 4861 h 10021"/>
                <a:gd name="connsiteX25" fmla="*/ 7161 w 10000"/>
                <a:gd name="connsiteY25" fmla="*/ 4760 h 10021"/>
                <a:gd name="connsiteX26" fmla="*/ 7072 w 10000"/>
                <a:gd name="connsiteY26" fmla="*/ 4659 h 10021"/>
                <a:gd name="connsiteX27" fmla="*/ 6990 w 10000"/>
                <a:gd name="connsiteY27" fmla="*/ 4549 h 10021"/>
                <a:gd name="connsiteX28" fmla="*/ 6953 w 10000"/>
                <a:gd name="connsiteY28" fmla="*/ 4499 h 10021"/>
                <a:gd name="connsiteX29" fmla="*/ 6916 w 10000"/>
                <a:gd name="connsiteY29" fmla="*/ 4444 h 10021"/>
                <a:gd name="connsiteX30" fmla="*/ 6887 w 10000"/>
                <a:gd name="connsiteY30" fmla="*/ 4389 h 10021"/>
                <a:gd name="connsiteX31" fmla="*/ 6850 w 10000"/>
                <a:gd name="connsiteY31" fmla="*/ 4334 h 10021"/>
                <a:gd name="connsiteX32" fmla="*/ 6820 w 10000"/>
                <a:gd name="connsiteY32" fmla="*/ 4279 h 10021"/>
                <a:gd name="connsiteX33" fmla="*/ 6790 w 10000"/>
                <a:gd name="connsiteY33" fmla="*/ 4224 h 10021"/>
                <a:gd name="connsiteX34" fmla="*/ 6768 w 10000"/>
                <a:gd name="connsiteY34" fmla="*/ 4164 h 10021"/>
                <a:gd name="connsiteX35" fmla="*/ 6738 w 10000"/>
                <a:gd name="connsiteY35" fmla="*/ 4109 h 10021"/>
                <a:gd name="connsiteX36" fmla="*/ 6723 w 10000"/>
                <a:gd name="connsiteY36" fmla="*/ 4049 h 10021"/>
                <a:gd name="connsiteX37" fmla="*/ 6694 w 10000"/>
                <a:gd name="connsiteY37" fmla="*/ 3994 h 10021"/>
                <a:gd name="connsiteX38" fmla="*/ 6679 w 10000"/>
                <a:gd name="connsiteY38" fmla="*/ 3935 h 10021"/>
                <a:gd name="connsiteX39" fmla="*/ 6664 w 10000"/>
                <a:gd name="connsiteY39" fmla="*/ 3875 h 10021"/>
                <a:gd name="connsiteX40" fmla="*/ 6649 w 10000"/>
                <a:gd name="connsiteY40" fmla="*/ 3816 h 10021"/>
                <a:gd name="connsiteX41" fmla="*/ 6635 w 10000"/>
                <a:gd name="connsiteY41" fmla="*/ 3761 h 10021"/>
                <a:gd name="connsiteX42" fmla="*/ 6620 w 10000"/>
                <a:gd name="connsiteY42" fmla="*/ 3701 h 10021"/>
                <a:gd name="connsiteX43" fmla="*/ 6612 w 10000"/>
                <a:gd name="connsiteY43" fmla="*/ 3642 h 10021"/>
                <a:gd name="connsiteX44" fmla="*/ 6605 w 10000"/>
                <a:gd name="connsiteY44" fmla="*/ 3582 h 10021"/>
                <a:gd name="connsiteX45" fmla="*/ 6597 w 10000"/>
                <a:gd name="connsiteY45" fmla="*/ 3518 h 10021"/>
                <a:gd name="connsiteX46" fmla="*/ 6597 w 10000"/>
                <a:gd name="connsiteY46" fmla="*/ 3458 h 10021"/>
                <a:gd name="connsiteX47" fmla="*/ 6590 w 10000"/>
                <a:gd name="connsiteY47" fmla="*/ 3394 h 10021"/>
                <a:gd name="connsiteX48" fmla="*/ 6597 w 10000"/>
                <a:gd name="connsiteY48" fmla="*/ 3334 h 10021"/>
                <a:gd name="connsiteX49" fmla="*/ 6605 w 10000"/>
                <a:gd name="connsiteY49" fmla="*/ 3266 h 10021"/>
                <a:gd name="connsiteX50" fmla="*/ 6605 w 10000"/>
                <a:gd name="connsiteY50" fmla="*/ 3202 h 10021"/>
                <a:gd name="connsiteX51" fmla="*/ 6612 w 10000"/>
                <a:gd name="connsiteY51" fmla="*/ 3137 h 10021"/>
                <a:gd name="connsiteX52" fmla="*/ 6620 w 10000"/>
                <a:gd name="connsiteY52" fmla="*/ 3073 h 10021"/>
                <a:gd name="connsiteX53" fmla="*/ 6635 w 10000"/>
                <a:gd name="connsiteY53" fmla="*/ 3014 h 10021"/>
                <a:gd name="connsiteX54" fmla="*/ 6649 w 10000"/>
                <a:gd name="connsiteY54" fmla="*/ 2950 h 10021"/>
                <a:gd name="connsiteX55" fmla="*/ 6664 w 10000"/>
                <a:gd name="connsiteY55" fmla="*/ 2890 h 10021"/>
                <a:gd name="connsiteX56" fmla="*/ 6686 w 10000"/>
                <a:gd name="connsiteY56" fmla="*/ 2826 h 10021"/>
                <a:gd name="connsiteX57" fmla="*/ 6709 w 10000"/>
                <a:gd name="connsiteY57" fmla="*/ 2766 h 10021"/>
                <a:gd name="connsiteX58" fmla="*/ 6731 w 10000"/>
                <a:gd name="connsiteY58" fmla="*/ 2707 h 10021"/>
                <a:gd name="connsiteX59" fmla="*/ 6753 w 10000"/>
                <a:gd name="connsiteY59" fmla="*/ 2642 h 10021"/>
                <a:gd name="connsiteX60" fmla="*/ 6783 w 10000"/>
                <a:gd name="connsiteY60" fmla="*/ 2587 h 10021"/>
                <a:gd name="connsiteX61" fmla="*/ 6812 w 10000"/>
                <a:gd name="connsiteY61" fmla="*/ 2528 h 10021"/>
                <a:gd name="connsiteX62" fmla="*/ 6842 w 10000"/>
                <a:gd name="connsiteY62" fmla="*/ 2468 h 10021"/>
                <a:gd name="connsiteX63" fmla="*/ 6879 w 10000"/>
                <a:gd name="connsiteY63" fmla="*/ 2409 h 10021"/>
                <a:gd name="connsiteX64" fmla="*/ 6909 w 10000"/>
                <a:gd name="connsiteY64" fmla="*/ 2354 h 10021"/>
                <a:gd name="connsiteX65" fmla="*/ 6946 w 10000"/>
                <a:gd name="connsiteY65" fmla="*/ 2294 h 10021"/>
                <a:gd name="connsiteX66" fmla="*/ 6990 w 10000"/>
                <a:gd name="connsiteY66" fmla="*/ 2239 h 10021"/>
                <a:gd name="connsiteX67" fmla="*/ 7027 w 10000"/>
                <a:gd name="connsiteY67" fmla="*/ 2184 h 10021"/>
                <a:gd name="connsiteX68" fmla="*/ 7072 w 10000"/>
                <a:gd name="connsiteY68" fmla="*/ 2129 h 10021"/>
                <a:gd name="connsiteX69" fmla="*/ 7109 w 10000"/>
                <a:gd name="connsiteY69" fmla="*/ 2074 h 10021"/>
                <a:gd name="connsiteX70" fmla="*/ 7161 w 10000"/>
                <a:gd name="connsiteY70" fmla="*/ 2024 h 10021"/>
                <a:gd name="connsiteX71" fmla="*/ 7213 w 10000"/>
                <a:gd name="connsiteY71" fmla="*/ 1969 h 10021"/>
                <a:gd name="connsiteX72" fmla="*/ 7257 w 10000"/>
                <a:gd name="connsiteY72" fmla="*/ 1914 h 10021"/>
                <a:gd name="connsiteX73" fmla="*/ 7309 w 10000"/>
                <a:gd name="connsiteY73" fmla="*/ 1863 h 10021"/>
                <a:gd name="connsiteX74" fmla="*/ 7361 w 10000"/>
                <a:gd name="connsiteY74" fmla="*/ 1813 h 10021"/>
                <a:gd name="connsiteX75" fmla="*/ 7413 w 10000"/>
                <a:gd name="connsiteY75" fmla="*/ 1763 h 10021"/>
                <a:gd name="connsiteX76" fmla="*/ 7472 w 10000"/>
                <a:gd name="connsiteY76" fmla="*/ 1712 h 10021"/>
                <a:gd name="connsiteX77" fmla="*/ 7524 w 10000"/>
                <a:gd name="connsiteY77" fmla="*/ 1666 h 10021"/>
                <a:gd name="connsiteX78" fmla="*/ 7583 w 10000"/>
                <a:gd name="connsiteY78" fmla="*/ 1620 h 10021"/>
                <a:gd name="connsiteX79" fmla="*/ 7643 w 10000"/>
                <a:gd name="connsiteY79" fmla="*/ 1570 h 10021"/>
                <a:gd name="connsiteX80" fmla="*/ 5423 w 10000"/>
                <a:gd name="connsiteY80" fmla="*/ 28 h 10021"/>
                <a:gd name="connsiteX81" fmla="*/ 1401 w 10000"/>
                <a:gd name="connsiteY81" fmla="*/ 0 h 10021"/>
                <a:gd name="connsiteX82" fmla="*/ 1305 w 10000"/>
                <a:gd name="connsiteY82" fmla="*/ 149 h 10021"/>
                <a:gd name="connsiteX83" fmla="*/ 1223 w 10000"/>
                <a:gd name="connsiteY83" fmla="*/ 241 h 10021"/>
                <a:gd name="connsiteX84" fmla="*/ 1149 w 10000"/>
                <a:gd name="connsiteY84" fmla="*/ 337 h 10021"/>
                <a:gd name="connsiteX85" fmla="*/ 1067 w 10000"/>
                <a:gd name="connsiteY85" fmla="*/ 433 h 10021"/>
                <a:gd name="connsiteX86" fmla="*/ 1001 w 10000"/>
                <a:gd name="connsiteY86" fmla="*/ 530 h 10021"/>
                <a:gd name="connsiteX87" fmla="*/ 927 w 10000"/>
                <a:gd name="connsiteY87" fmla="*/ 626 h 10021"/>
                <a:gd name="connsiteX88" fmla="*/ 860 w 10000"/>
                <a:gd name="connsiteY88" fmla="*/ 727 h 10021"/>
                <a:gd name="connsiteX89" fmla="*/ 793 w 10000"/>
                <a:gd name="connsiteY89" fmla="*/ 828 h 10021"/>
                <a:gd name="connsiteX90" fmla="*/ 734 w 10000"/>
                <a:gd name="connsiteY90" fmla="*/ 924 h 10021"/>
                <a:gd name="connsiteX91" fmla="*/ 675 w 10000"/>
                <a:gd name="connsiteY91" fmla="*/ 1025 h 10021"/>
                <a:gd name="connsiteX92" fmla="*/ 615 w 10000"/>
                <a:gd name="connsiteY92" fmla="*/ 1125 h 10021"/>
                <a:gd name="connsiteX93" fmla="*/ 556 w 10000"/>
                <a:gd name="connsiteY93" fmla="*/ 1231 h 10021"/>
                <a:gd name="connsiteX94" fmla="*/ 504 w 10000"/>
                <a:gd name="connsiteY94" fmla="*/ 1327 h 10021"/>
                <a:gd name="connsiteX95" fmla="*/ 452 w 10000"/>
                <a:gd name="connsiteY95" fmla="*/ 1433 h 10021"/>
                <a:gd name="connsiteX96" fmla="*/ 408 w 10000"/>
                <a:gd name="connsiteY96" fmla="*/ 1533 h 10021"/>
                <a:gd name="connsiteX97" fmla="*/ 363 w 10000"/>
                <a:gd name="connsiteY97" fmla="*/ 1639 h 10021"/>
                <a:gd name="connsiteX98" fmla="*/ 319 w 10000"/>
                <a:gd name="connsiteY98" fmla="*/ 1744 h 10021"/>
                <a:gd name="connsiteX99" fmla="*/ 282 w 10000"/>
                <a:gd name="connsiteY99" fmla="*/ 1850 h 10021"/>
                <a:gd name="connsiteX100" fmla="*/ 237 w 10000"/>
                <a:gd name="connsiteY100" fmla="*/ 1960 h 10021"/>
                <a:gd name="connsiteX101" fmla="*/ 208 w 10000"/>
                <a:gd name="connsiteY101" fmla="*/ 2065 h 10021"/>
                <a:gd name="connsiteX102" fmla="*/ 170 w 10000"/>
                <a:gd name="connsiteY102" fmla="*/ 2175 h 10021"/>
                <a:gd name="connsiteX103" fmla="*/ 148 w 10000"/>
                <a:gd name="connsiteY103" fmla="*/ 2285 h 10021"/>
                <a:gd name="connsiteX104" fmla="*/ 119 w 10000"/>
                <a:gd name="connsiteY104" fmla="*/ 2390 h 10021"/>
                <a:gd name="connsiteX105" fmla="*/ 96 w 10000"/>
                <a:gd name="connsiteY105" fmla="*/ 2500 h 10021"/>
                <a:gd name="connsiteX106" fmla="*/ 74 w 10000"/>
                <a:gd name="connsiteY106" fmla="*/ 2610 h 10021"/>
                <a:gd name="connsiteX107" fmla="*/ 52 w 10000"/>
                <a:gd name="connsiteY107" fmla="*/ 2725 h 10021"/>
                <a:gd name="connsiteX108" fmla="*/ 37 w 10000"/>
                <a:gd name="connsiteY108" fmla="*/ 2835 h 10021"/>
                <a:gd name="connsiteX109" fmla="*/ 22 w 10000"/>
                <a:gd name="connsiteY109" fmla="*/ 2945 h 10021"/>
                <a:gd name="connsiteX110" fmla="*/ 15 w 10000"/>
                <a:gd name="connsiteY110" fmla="*/ 3055 h 10021"/>
                <a:gd name="connsiteX111" fmla="*/ 7 w 10000"/>
                <a:gd name="connsiteY111" fmla="*/ 3169 h 10021"/>
                <a:gd name="connsiteX112" fmla="*/ 0 w 10000"/>
                <a:gd name="connsiteY112" fmla="*/ 3279 h 10021"/>
                <a:gd name="connsiteX113" fmla="*/ 0 w 10000"/>
                <a:gd name="connsiteY113" fmla="*/ 3394 h 10021"/>
                <a:gd name="connsiteX114" fmla="*/ 7 w 10000"/>
                <a:gd name="connsiteY114" fmla="*/ 3541 h 10021"/>
                <a:gd name="connsiteX115" fmla="*/ 7 w 10000"/>
                <a:gd name="connsiteY115" fmla="*/ 3687 h 10021"/>
                <a:gd name="connsiteX116" fmla="*/ 22 w 10000"/>
                <a:gd name="connsiteY116" fmla="*/ 3825 h 10021"/>
                <a:gd name="connsiteX117" fmla="*/ 37 w 10000"/>
                <a:gd name="connsiteY117" fmla="*/ 3967 h 10021"/>
                <a:gd name="connsiteX118" fmla="*/ 59 w 10000"/>
                <a:gd name="connsiteY118" fmla="*/ 4109 h 10021"/>
                <a:gd name="connsiteX119" fmla="*/ 89 w 10000"/>
                <a:gd name="connsiteY119" fmla="*/ 4251 h 10021"/>
                <a:gd name="connsiteX120" fmla="*/ 119 w 10000"/>
                <a:gd name="connsiteY120" fmla="*/ 4393 h 10021"/>
                <a:gd name="connsiteX121" fmla="*/ 148 w 10000"/>
                <a:gd name="connsiteY121" fmla="*/ 4535 h 10021"/>
                <a:gd name="connsiteX122" fmla="*/ 193 w 10000"/>
                <a:gd name="connsiteY122" fmla="*/ 4673 h 10021"/>
                <a:gd name="connsiteX123" fmla="*/ 237 w 10000"/>
                <a:gd name="connsiteY123" fmla="*/ 4810 h 10021"/>
                <a:gd name="connsiteX124" fmla="*/ 282 w 10000"/>
                <a:gd name="connsiteY124" fmla="*/ 4948 h 10021"/>
                <a:gd name="connsiteX125" fmla="*/ 334 w 10000"/>
                <a:gd name="connsiteY125" fmla="*/ 5085 h 10021"/>
                <a:gd name="connsiteX126" fmla="*/ 393 w 10000"/>
                <a:gd name="connsiteY126" fmla="*/ 5218 h 10021"/>
                <a:gd name="connsiteX127" fmla="*/ 452 w 10000"/>
                <a:gd name="connsiteY127" fmla="*/ 5351 h 10021"/>
                <a:gd name="connsiteX128" fmla="*/ 519 w 10000"/>
                <a:gd name="connsiteY128" fmla="*/ 5484 h 10021"/>
                <a:gd name="connsiteX129" fmla="*/ 586 w 10000"/>
                <a:gd name="connsiteY129" fmla="*/ 5617 h 10021"/>
                <a:gd name="connsiteX130" fmla="*/ 660 w 10000"/>
                <a:gd name="connsiteY130" fmla="*/ 5745 h 10021"/>
                <a:gd name="connsiteX131" fmla="*/ 741 w 10000"/>
                <a:gd name="connsiteY131" fmla="*/ 5873 h 10021"/>
                <a:gd name="connsiteX132" fmla="*/ 823 w 10000"/>
                <a:gd name="connsiteY132" fmla="*/ 6006 h 10021"/>
                <a:gd name="connsiteX133" fmla="*/ 904 w 10000"/>
                <a:gd name="connsiteY133" fmla="*/ 6130 h 10021"/>
                <a:gd name="connsiteX134" fmla="*/ 993 w 10000"/>
                <a:gd name="connsiteY134" fmla="*/ 6254 h 10021"/>
                <a:gd name="connsiteX135" fmla="*/ 1090 w 10000"/>
                <a:gd name="connsiteY135" fmla="*/ 6373 h 10021"/>
                <a:gd name="connsiteX136" fmla="*/ 1186 w 10000"/>
                <a:gd name="connsiteY136" fmla="*/ 6497 h 10021"/>
                <a:gd name="connsiteX137" fmla="*/ 1290 w 10000"/>
                <a:gd name="connsiteY137" fmla="*/ 6620 h 10021"/>
                <a:gd name="connsiteX138" fmla="*/ 1386 w 10000"/>
                <a:gd name="connsiteY138" fmla="*/ 6740 h 10021"/>
                <a:gd name="connsiteX139" fmla="*/ 1497 w 10000"/>
                <a:gd name="connsiteY139" fmla="*/ 6859 h 10021"/>
                <a:gd name="connsiteX140" fmla="*/ 1609 w 10000"/>
                <a:gd name="connsiteY140" fmla="*/ 6973 h 10021"/>
                <a:gd name="connsiteX141" fmla="*/ 1727 w 10000"/>
                <a:gd name="connsiteY141" fmla="*/ 7092 h 10021"/>
                <a:gd name="connsiteX142" fmla="*/ 1846 w 10000"/>
                <a:gd name="connsiteY142" fmla="*/ 7207 h 10021"/>
                <a:gd name="connsiteX143" fmla="*/ 1964 w 10000"/>
                <a:gd name="connsiteY143" fmla="*/ 7317 h 10021"/>
                <a:gd name="connsiteX144" fmla="*/ 2090 w 10000"/>
                <a:gd name="connsiteY144" fmla="*/ 7427 h 10021"/>
                <a:gd name="connsiteX145" fmla="*/ 2224 w 10000"/>
                <a:gd name="connsiteY145" fmla="*/ 7537 h 10021"/>
                <a:gd name="connsiteX146" fmla="*/ 2350 w 10000"/>
                <a:gd name="connsiteY146" fmla="*/ 7647 h 10021"/>
                <a:gd name="connsiteX147" fmla="*/ 2491 w 10000"/>
                <a:gd name="connsiteY147" fmla="*/ 7752 h 10021"/>
                <a:gd name="connsiteX148" fmla="*/ 2617 w 10000"/>
                <a:gd name="connsiteY148" fmla="*/ 7858 h 10021"/>
                <a:gd name="connsiteX149" fmla="*/ 2765 w 10000"/>
                <a:gd name="connsiteY149" fmla="*/ 7959 h 10021"/>
                <a:gd name="connsiteX150" fmla="*/ 2906 w 10000"/>
                <a:gd name="connsiteY150" fmla="*/ 8059 h 10021"/>
                <a:gd name="connsiteX151" fmla="*/ 3054 w 10000"/>
                <a:gd name="connsiteY151" fmla="*/ 8160 h 10021"/>
                <a:gd name="connsiteX152" fmla="*/ 3210 w 10000"/>
                <a:gd name="connsiteY152" fmla="*/ 8257 h 10021"/>
                <a:gd name="connsiteX153" fmla="*/ 3358 w 10000"/>
                <a:gd name="connsiteY153" fmla="*/ 8353 h 10021"/>
                <a:gd name="connsiteX154" fmla="*/ 3514 w 10000"/>
                <a:gd name="connsiteY154" fmla="*/ 8449 h 10021"/>
                <a:gd name="connsiteX155" fmla="*/ 3677 w 10000"/>
                <a:gd name="connsiteY155" fmla="*/ 8541 h 10021"/>
                <a:gd name="connsiteX156" fmla="*/ 3840 w 10000"/>
                <a:gd name="connsiteY156" fmla="*/ 8628 h 10021"/>
                <a:gd name="connsiteX157" fmla="*/ 4010 w 10000"/>
                <a:gd name="connsiteY157" fmla="*/ 8719 h 10021"/>
                <a:gd name="connsiteX158" fmla="*/ 4181 w 10000"/>
                <a:gd name="connsiteY158" fmla="*/ 8797 h 10021"/>
                <a:gd name="connsiteX159" fmla="*/ 4351 w 10000"/>
                <a:gd name="connsiteY159" fmla="*/ 8884 h 10021"/>
                <a:gd name="connsiteX160" fmla="*/ 4522 w 10000"/>
                <a:gd name="connsiteY160" fmla="*/ 8962 h 10021"/>
                <a:gd name="connsiteX161" fmla="*/ 4700 w 10000"/>
                <a:gd name="connsiteY161" fmla="*/ 9045 h 10021"/>
                <a:gd name="connsiteX162" fmla="*/ 4878 w 10000"/>
                <a:gd name="connsiteY162" fmla="*/ 9123 h 10021"/>
                <a:gd name="connsiteX163" fmla="*/ 5063 w 10000"/>
                <a:gd name="connsiteY163" fmla="*/ 9196 h 10021"/>
                <a:gd name="connsiteX164" fmla="*/ 5248 w 10000"/>
                <a:gd name="connsiteY164" fmla="*/ 9274 h 10021"/>
                <a:gd name="connsiteX165" fmla="*/ 5426 w 10000"/>
                <a:gd name="connsiteY165" fmla="*/ 9343 h 10021"/>
                <a:gd name="connsiteX166" fmla="*/ 5619 w 10000"/>
                <a:gd name="connsiteY166" fmla="*/ 9411 h 10021"/>
                <a:gd name="connsiteX167" fmla="*/ 5812 w 10000"/>
                <a:gd name="connsiteY167" fmla="*/ 9480 h 10021"/>
                <a:gd name="connsiteX168" fmla="*/ 6004 w 10000"/>
                <a:gd name="connsiteY168" fmla="*/ 9544 h 10021"/>
                <a:gd name="connsiteX169" fmla="*/ 6205 w 10000"/>
                <a:gd name="connsiteY169" fmla="*/ 9609 h 10021"/>
                <a:gd name="connsiteX170" fmla="*/ 6397 w 10000"/>
                <a:gd name="connsiteY170" fmla="*/ 9668 h 10021"/>
                <a:gd name="connsiteX171" fmla="*/ 6605 w 10000"/>
                <a:gd name="connsiteY171" fmla="*/ 9723 h 10021"/>
                <a:gd name="connsiteX172" fmla="*/ 6805 w 10000"/>
                <a:gd name="connsiteY172" fmla="*/ 9778 h 10021"/>
                <a:gd name="connsiteX173" fmla="*/ 7005 w 10000"/>
                <a:gd name="connsiteY173" fmla="*/ 9833 h 10021"/>
                <a:gd name="connsiteX174" fmla="*/ 7213 w 10000"/>
                <a:gd name="connsiteY174" fmla="*/ 9884 h 10021"/>
                <a:gd name="connsiteX175" fmla="*/ 7420 w 10000"/>
                <a:gd name="connsiteY175" fmla="*/ 9929 h 10021"/>
                <a:gd name="connsiteX176" fmla="*/ 7628 w 10000"/>
                <a:gd name="connsiteY176" fmla="*/ 9975 h 10021"/>
                <a:gd name="connsiteX177" fmla="*/ 7835 w 10000"/>
                <a:gd name="connsiteY177" fmla="*/ 10021 h 10021"/>
                <a:gd name="connsiteX178" fmla="*/ 7539 w 10000"/>
                <a:gd name="connsiteY178" fmla="*/ 7775 h 10021"/>
                <a:gd name="connsiteX179" fmla="*/ 10000 w 10000"/>
                <a:gd name="connsiteY179" fmla="*/ 6162 h 10021"/>
                <a:gd name="connsiteX0" fmla="*/ 10000 w 10000"/>
                <a:gd name="connsiteY0" fmla="*/ 6162 h 10021"/>
                <a:gd name="connsiteX1" fmla="*/ 10000 w 10000"/>
                <a:gd name="connsiteY1" fmla="*/ 6162 h 10021"/>
                <a:gd name="connsiteX2" fmla="*/ 9911 w 10000"/>
                <a:gd name="connsiteY2" fmla="*/ 6148 h 10021"/>
                <a:gd name="connsiteX3" fmla="*/ 9815 w 10000"/>
                <a:gd name="connsiteY3" fmla="*/ 6130 h 10021"/>
                <a:gd name="connsiteX4" fmla="*/ 9726 w 10000"/>
                <a:gd name="connsiteY4" fmla="*/ 6112 h 10021"/>
                <a:gd name="connsiteX5" fmla="*/ 9637 w 10000"/>
                <a:gd name="connsiteY5" fmla="*/ 6089 h 10021"/>
                <a:gd name="connsiteX6" fmla="*/ 9548 w 10000"/>
                <a:gd name="connsiteY6" fmla="*/ 6070 h 10021"/>
                <a:gd name="connsiteX7" fmla="*/ 9466 w 10000"/>
                <a:gd name="connsiteY7" fmla="*/ 6048 h 10021"/>
                <a:gd name="connsiteX8" fmla="*/ 9377 w 10000"/>
                <a:gd name="connsiteY8" fmla="*/ 6025 h 10021"/>
                <a:gd name="connsiteX9" fmla="*/ 9288 w 10000"/>
                <a:gd name="connsiteY9" fmla="*/ 6002 h 10021"/>
                <a:gd name="connsiteX10" fmla="*/ 9118 w 10000"/>
                <a:gd name="connsiteY10" fmla="*/ 5951 h 10021"/>
                <a:gd name="connsiteX11" fmla="*/ 8955 w 10000"/>
                <a:gd name="connsiteY11" fmla="*/ 5896 h 10021"/>
                <a:gd name="connsiteX12" fmla="*/ 8792 w 10000"/>
                <a:gd name="connsiteY12" fmla="*/ 5837 h 10021"/>
                <a:gd name="connsiteX13" fmla="*/ 8636 w 10000"/>
                <a:gd name="connsiteY13" fmla="*/ 5773 h 10021"/>
                <a:gd name="connsiteX14" fmla="*/ 8480 w 10000"/>
                <a:gd name="connsiteY14" fmla="*/ 5708 h 10021"/>
                <a:gd name="connsiteX15" fmla="*/ 8340 w 10000"/>
                <a:gd name="connsiteY15" fmla="*/ 5640 h 10021"/>
                <a:gd name="connsiteX16" fmla="*/ 8199 w 10000"/>
                <a:gd name="connsiteY16" fmla="*/ 5566 h 10021"/>
                <a:gd name="connsiteX17" fmla="*/ 8058 w 10000"/>
                <a:gd name="connsiteY17" fmla="*/ 5488 h 10021"/>
                <a:gd name="connsiteX18" fmla="*/ 7924 w 10000"/>
                <a:gd name="connsiteY18" fmla="*/ 5406 h 10021"/>
                <a:gd name="connsiteX19" fmla="*/ 7798 w 10000"/>
                <a:gd name="connsiteY19" fmla="*/ 5323 h 10021"/>
                <a:gd name="connsiteX20" fmla="*/ 7672 w 10000"/>
                <a:gd name="connsiteY20" fmla="*/ 5236 h 10021"/>
                <a:gd name="connsiteX21" fmla="*/ 7554 w 10000"/>
                <a:gd name="connsiteY21" fmla="*/ 5149 h 10021"/>
                <a:gd name="connsiteX22" fmla="*/ 7450 w 10000"/>
                <a:gd name="connsiteY22" fmla="*/ 5053 h 10021"/>
                <a:gd name="connsiteX23" fmla="*/ 7346 w 10000"/>
                <a:gd name="connsiteY23" fmla="*/ 4957 h 10021"/>
                <a:gd name="connsiteX24" fmla="*/ 7250 w 10000"/>
                <a:gd name="connsiteY24" fmla="*/ 4861 h 10021"/>
                <a:gd name="connsiteX25" fmla="*/ 7161 w 10000"/>
                <a:gd name="connsiteY25" fmla="*/ 4760 h 10021"/>
                <a:gd name="connsiteX26" fmla="*/ 7072 w 10000"/>
                <a:gd name="connsiteY26" fmla="*/ 4659 h 10021"/>
                <a:gd name="connsiteX27" fmla="*/ 6990 w 10000"/>
                <a:gd name="connsiteY27" fmla="*/ 4549 h 10021"/>
                <a:gd name="connsiteX28" fmla="*/ 6953 w 10000"/>
                <a:gd name="connsiteY28" fmla="*/ 4499 h 10021"/>
                <a:gd name="connsiteX29" fmla="*/ 6916 w 10000"/>
                <a:gd name="connsiteY29" fmla="*/ 4444 h 10021"/>
                <a:gd name="connsiteX30" fmla="*/ 6887 w 10000"/>
                <a:gd name="connsiteY30" fmla="*/ 4389 h 10021"/>
                <a:gd name="connsiteX31" fmla="*/ 6850 w 10000"/>
                <a:gd name="connsiteY31" fmla="*/ 4334 h 10021"/>
                <a:gd name="connsiteX32" fmla="*/ 6820 w 10000"/>
                <a:gd name="connsiteY32" fmla="*/ 4279 h 10021"/>
                <a:gd name="connsiteX33" fmla="*/ 6790 w 10000"/>
                <a:gd name="connsiteY33" fmla="*/ 4224 h 10021"/>
                <a:gd name="connsiteX34" fmla="*/ 6768 w 10000"/>
                <a:gd name="connsiteY34" fmla="*/ 4164 h 10021"/>
                <a:gd name="connsiteX35" fmla="*/ 6738 w 10000"/>
                <a:gd name="connsiteY35" fmla="*/ 4109 h 10021"/>
                <a:gd name="connsiteX36" fmla="*/ 6723 w 10000"/>
                <a:gd name="connsiteY36" fmla="*/ 4049 h 10021"/>
                <a:gd name="connsiteX37" fmla="*/ 6694 w 10000"/>
                <a:gd name="connsiteY37" fmla="*/ 3994 h 10021"/>
                <a:gd name="connsiteX38" fmla="*/ 6679 w 10000"/>
                <a:gd name="connsiteY38" fmla="*/ 3935 h 10021"/>
                <a:gd name="connsiteX39" fmla="*/ 6664 w 10000"/>
                <a:gd name="connsiteY39" fmla="*/ 3875 h 10021"/>
                <a:gd name="connsiteX40" fmla="*/ 6649 w 10000"/>
                <a:gd name="connsiteY40" fmla="*/ 3816 h 10021"/>
                <a:gd name="connsiteX41" fmla="*/ 6635 w 10000"/>
                <a:gd name="connsiteY41" fmla="*/ 3761 h 10021"/>
                <a:gd name="connsiteX42" fmla="*/ 6620 w 10000"/>
                <a:gd name="connsiteY42" fmla="*/ 3701 h 10021"/>
                <a:gd name="connsiteX43" fmla="*/ 6612 w 10000"/>
                <a:gd name="connsiteY43" fmla="*/ 3642 h 10021"/>
                <a:gd name="connsiteX44" fmla="*/ 6605 w 10000"/>
                <a:gd name="connsiteY44" fmla="*/ 3582 h 10021"/>
                <a:gd name="connsiteX45" fmla="*/ 6597 w 10000"/>
                <a:gd name="connsiteY45" fmla="*/ 3518 h 10021"/>
                <a:gd name="connsiteX46" fmla="*/ 6597 w 10000"/>
                <a:gd name="connsiteY46" fmla="*/ 3458 h 10021"/>
                <a:gd name="connsiteX47" fmla="*/ 6590 w 10000"/>
                <a:gd name="connsiteY47" fmla="*/ 3394 h 10021"/>
                <a:gd name="connsiteX48" fmla="*/ 6597 w 10000"/>
                <a:gd name="connsiteY48" fmla="*/ 3334 h 10021"/>
                <a:gd name="connsiteX49" fmla="*/ 6605 w 10000"/>
                <a:gd name="connsiteY49" fmla="*/ 3266 h 10021"/>
                <a:gd name="connsiteX50" fmla="*/ 6605 w 10000"/>
                <a:gd name="connsiteY50" fmla="*/ 3202 h 10021"/>
                <a:gd name="connsiteX51" fmla="*/ 6612 w 10000"/>
                <a:gd name="connsiteY51" fmla="*/ 3137 h 10021"/>
                <a:gd name="connsiteX52" fmla="*/ 6620 w 10000"/>
                <a:gd name="connsiteY52" fmla="*/ 3073 h 10021"/>
                <a:gd name="connsiteX53" fmla="*/ 6635 w 10000"/>
                <a:gd name="connsiteY53" fmla="*/ 3014 h 10021"/>
                <a:gd name="connsiteX54" fmla="*/ 6649 w 10000"/>
                <a:gd name="connsiteY54" fmla="*/ 2950 h 10021"/>
                <a:gd name="connsiteX55" fmla="*/ 6664 w 10000"/>
                <a:gd name="connsiteY55" fmla="*/ 2890 h 10021"/>
                <a:gd name="connsiteX56" fmla="*/ 6686 w 10000"/>
                <a:gd name="connsiteY56" fmla="*/ 2826 h 10021"/>
                <a:gd name="connsiteX57" fmla="*/ 6709 w 10000"/>
                <a:gd name="connsiteY57" fmla="*/ 2766 h 10021"/>
                <a:gd name="connsiteX58" fmla="*/ 6731 w 10000"/>
                <a:gd name="connsiteY58" fmla="*/ 2707 h 10021"/>
                <a:gd name="connsiteX59" fmla="*/ 6753 w 10000"/>
                <a:gd name="connsiteY59" fmla="*/ 2642 h 10021"/>
                <a:gd name="connsiteX60" fmla="*/ 6783 w 10000"/>
                <a:gd name="connsiteY60" fmla="*/ 2587 h 10021"/>
                <a:gd name="connsiteX61" fmla="*/ 6812 w 10000"/>
                <a:gd name="connsiteY61" fmla="*/ 2528 h 10021"/>
                <a:gd name="connsiteX62" fmla="*/ 6842 w 10000"/>
                <a:gd name="connsiteY62" fmla="*/ 2468 h 10021"/>
                <a:gd name="connsiteX63" fmla="*/ 6879 w 10000"/>
                <a:gd name="connsiteY63" fmla="*/ 2409 h 10021"/>
                <a:gd name="connsiteX64" fmla="*/ 6909 w 10000"/>
                <a:gd name="connsiteY64" fmla="*/ 2354 h 10021"/>
                <a:gd name="connsiteX65" fmla="*/ 6946 w 10000"/>
                <a:gd name="connsiteY65" fmla="*/ 2294 h 10021"/>
                <a:gd name="connsiteX66" fmla="*/ 6990 w 10000"/>
                <a:gd name="connsiteY66" fmla="*/ 2239 h 10021"/>
                <a:gd name="connsiteX67" fmla="*/ 7027 w 10000"/>
                <a:gd name="connsiteY67" fmla="*/ 2184 h 10021"/>
                <a:gd name="connsiteX68" fmla="*/ 7072 w 10000"/>
                <a:gd name="connsiteY68" fmla="*/ 2129 h 10021"/>
                <a:gd name="connsiteX69" fmla="*/ 7109 w 10000"/>
                <a:gd name="connsiteY69" fmla="*/ 2074 h 10021"/>
                <a:gd name="connsiteX70" fmla="*/ 7161 w 10000"/>
                <a:gd name="connsiteY70" fmla="*/ 2024 h 10021"/>
                <a:gd name="connsiteX71" fmla="*/ 7213 w 10000"/>
                <a:gd name="connsiteY71" fmla="*/ 1969 h 10021"/>
                <a:gd name="connsiteX72" fmla="*/ 7257 w 10000"/>
                <a:gd name="connsiteY72" fmla="*/ 1914 h 10021"/>
                <a:gd name="connsiteX73" fmla="*/ 7309 w 10000"/>
                <a:gd name="connsiteY73" fmla="*/ 1863 h 10021"/>
                <a:gd name="connsiteX74" fmla="*/ 7361 w 10000"/>
                <a:gd name="connsiteY74" fmla="*/ 1813 h 10021"/>
                <a:gd name="connsiteX75" fmla="*/ 7413 w 10000"/>
                <a:gd name="connsiteY75" fmla="*/ 1763 h 10021"/>
                <a:gd name="connsiteX76" fmla="*/ 7472 w 10000"/>
                <a:gd name="connsiteY76" fmla="*/ 1712 h 10021"/>
                <a:gd name="connsiteX77" fmla="*/ 7524 w 10000"/>
                <a:gd name="connsiteY77" fmla="*/ 1666 h 10021"/>
                <a:gd name="connsiteX78" fmla="*/ 7583 w 10000"/>
                <a:gd name="connsiteY78" fmla="*/ 1620 h 10021"/>
                <a:gd name="connsiteX79" fmla="*/ 7643 w 10000"/>
                <a:gd name="connsiteY79" fmla="*/ 1570 h 10021"/>
                <a:gd name="connsiteX80" fmla="*/ 5390 w 10000"/>
                <a:gd name="connsiteY80" fmla="*/ 14 h 10021"/>
                <a:gd name="connsiteX81" fmla="*/ 1401 w 10000"/>
                <a:gd name="connsiteY81" fmla="*/ 0 h 10021"/>
                <a:gd name="connsiteX82" fmla="*/ 1305 w 10000"/>
                <a:gd name="connsiteY82" fmla="*/ 149 h 10021"/>
                <a:gd name="connsiteX83" fmla="*/ 1223 w 10000"/>
                <a:gd name="connsiteY83" fmla="*/ 241 h 10021"/>
                <a:gd name="connsiteX84" fmla="*/ 1149 w 10000"/>
                <a:gd name="connsiteY84" fmla="*/ 337 h 10021"/>
                <a:gd name="connsiteX85" fmla="*/ 1067 w 10000"/>
                <a:gd name="connsiteY85" fmla="*/ 433 h 10021"/>
                <a:gd name="connsiteX86" fmla="*/ 1001 w 10000"/>
                <a:gd name="connsiteY86" fmla="*/ 530 h 10021"/>
                <a:gd name="connsiteX87" fmla="*/ 927 w 10000"/>
                <a:gd name="connsiteY87" fmla="*/ 626 h 10021"/>
                <a:gd name="connsiteX88" fmla="*/ 860 w 10000"/>
                <a:gd name="connsiteY88" fmla="*/ 727 h 10021"/>
                <a:gd name="connsiteX89" fmla="*/ 793 w 10000"/>
                <a:gd name="connsiteY89" fmla="*/ 828 h 10021"/>
                <a:gd name="connsiteX90" fmla="*/ 734 w 10000"/>
                <a:gd name="connsiteY90" fmla="*/ 924 h 10021"/>
                <a:gd name="connsiteX91" fmla="*/ 675 w 10000"/>
                <a:gd name="connsiteY91" fmla="*/ 1025 h 10021"/>
                <a:gd name="connsiteX92" fmla="*/ 615 w 10000"/>
                <a:gd name="connsiteY92" fmla="*/ 1125 h 10021"/>
                <a:gd name="connsiteX93" fmla="*/ 556 w 10000"/>
                <a:gd name="connsiteY93" fmla="*/ 1231 h 10021"/>
                <a:gd name="connsiteX94" fmla="*/ 504 w 10000"/>
                <a:gd name="connsiteY94" fmla="*/ 1327 h 10021"/>
                <a:gd name="connsiteX95" fmla="*/ 452 w 10000"/>
                <a:gd name="connsiteY95" fmla="*/ 1433 h 10021"/>
                <a:gd name="connsiteX96" fmla="*/ 408 w 10000"/>
                <a:gd name="connsiteY96" fmla="*/ 1533 h 10021"/>
                <a:gd name="connsiteX97" fmla="*/ 363 w 10000"/>
                <a:gd name="connsiteY97" fmla="*/ 1639 h 10021"/>
                <a:gd name="connsiteX98" fmla="*/ 319 w 10000"/>
                <a:gd name="connsiteY98" fmla="*/ 1744 h 10021"/>
                <a:gd name="connsiteX99" fmla="*/ 282 w 10000"/>
                <a:gd name="connsiteY99" fmla="*/ 1850 h 10021"/>
                <a:gd name="connsiteX100" fmla="*/ 237 w 10000"/>
                <a:gd name="connsiteY100" fmla="*/ 1960 h 10021"/>
                <a:gd name="connsiteX101" fmla="*/ 208 w 10000"/>
                <a:gd name="connsiteY101" fmla="*/ 2065 h 10021"/>
                <a:gd name="connsiteX102" fmla="*/ 170 w 10000"/>
                <a:gd name="connsiteY102" fmla="*/ 2175 h 10021"/>
                <a:gd name="connsiteX103" fmla="*/ 148 w 10000"/>
                <a:gd name="connsiteY103" fmla="*/ 2285 h 10021"/>
                <a:gd name="connsiteX104" fmla="*/ 119 w 10000"/>
                <a:gd name="connsiteY104" fmla="*/ 2390 h 10021"/>
                <a:gd name="connsiteX105" fmla="*/ 96 w 10000"/>
                <a:gd name="connsiteY105" fmla="*/ 2500 h 10021"/>
                <a:gd name="connsiteX106" fmla="*/ 74 w 10000"/>
                <a:gd name="connsiteY106" fmla="*/ 2610 h 10021"/>
                <a:gd name="connsiteX107" fmla="*/ 52 w 10000"/>
                <a:gd name="connsiteY107" fmla="*/ 2725 h 10021"/>
                <a:gd name="connsiteX108" fmla="*/ 37 w 10000"/>
                <a:gd name="connsiteY108" fmla="*/ 2835 h 10021"/>
                <a:gd name="connsiteX109" fmla="*/ 22 w 10000"/>
                <a:gd name="connsiteY109" fmla="*/ 2945 h 10021"/>
                <a:gd name="connsiteX110" fmla="*/ 15 w 10000"/>
                <a:gd name="connsiteY110" fmla="*/ 3055 h 10021"/>
                <a:gd name="connsiteX111" fmla="*/ 7 w 10000"/>
                <a:gd name="connsiteY111" fmla="*/ 3169 h 10021"/>
                <a:gd name="connsiteX112" fmla="*/ 0 w 10000"/>
                <a:gd name="connsiteY112" fmla="*/ 3279 h 10021"/>
                <a:gd name="connsiteX113" fmla="*/ 0 w 10000"/>
                <a:gd name="connsiteY113" fmla="*/ 3394 h 10021"/>
                <a:gd name="connsiteX114" fmla="*/ 7 w 10000"/>
                <a:gd name="connsiteY114" fmla="*/ 3541 h 10021"/>
                <a:gd name="connsiteX115" fmla="*/ 7 w 10000"/>
                <a:gd name="connsiteY115" fmla="*/ 3687 h 10021"/>
                <a:gd name="connsiteX116" fmla="*/ 22 w 10000"/>
                <a:gd name="connsiteY116" fmla="*/ 3825 h 10021"/>
                <a:gd name="connsiteX117" fmla="*/ 37 w 10000"/>
                <a:gd name="connsiteY117" fmla="*/ 3967 h 10021"/>
                <a:gd name="connsiteX118" fmla="*/ 59 w 10000"/>
                <a:gd name="connsiteY118" fmla="*/ 4109 h 10021"/>
                <a:gd name="connsiteX119" fmla="*/ 89 w 10000"/>
                <a:gd name="connsiteY119" fmla="*/ 4251 h 10021"/>
                <a:gd name="connsiteX120" fmla="*/ 119 w 10000"/>
                <a:gd name="connsiteY120" fmla="*/ 4393 h 10021"/>
                <a:gd name="connsiteX121" fmla="*/ 148 w 10000"/>
                <a:gd name="connsiteY121" fmla="*/ 4535 h 10021"/>
                <a:gd name="connsiteX122" fmla="*/ 193 w 10000"/>
                <a:gd name="connsiteY122" fmla="*/ 4673 h 10021"/>
                <a:gd name="connsiteX123" fmla="*/ 237 w 10000"/>
                <a:gd name="connsiteY123" fmla="*/ 4810 h 10021"/>
                <a:gd name="connsiteX124" fmla="*/ 282 w 10000"/>
                <a:gd name="connsiteY124" fmla="*/ 4948 h 10021"/>
                <a:gd name="connsiteX125" fmla="*/ 334 w 10000"/>
                <a:gd name="connsiteY125" fmla="*/ 5085 h 10021"/>
                <a:gd name="connsiteX126" fmla="*/ 393 w 10000"/>
                <a:gd name="connsiteY126" fmla="*/ 5218 h 10021"/>
                <a:gd name="connsiteX127" fmla="*/ 452 w 10000"/>
                <a:gd name="connsiteY127" fmla="*/ 5351 h 10021"/>
                <a:gd name="connsiteX128" fmla="*/ 519 w 10000"/>
                <a:gd name="connsiteY128" fmla="*/ 5484 h 10021"/>
                <a:gd name="connsiteX129" fmla="*/ 586 w 10000"/>
                <a:gd name="connsiteY129" fmla="*/ 5617 h 10021"/>
                <a:gd name="connsiteX130" fmla="*/ 660 w 10000"/>
                <a:gd name="connsiteY130" fmla="*/ 5745 h 10021"/>
                <a:gd name="connsiteX131" fmla="*/ 741 w 10000"/>
                <a:gd name="connsiteY131" fmla="*/ 5873 h 10021"/>
                <a:gd name="connsiteX132" fmla="*/ 823 w 10000"/>
                <a:gd name="connsiteY132" fmla="*/ 6006 h 10021"/>
                <a:gd name="connsiteX133" fmla="*/ 904 w 10000"/>
                <a:gd name="connsiteY133" fmla="*/ 6130 h 10021"/>
                <a:gd name="connsiteX134" fmla="*/ 993 w 10000"/>
                <a:gd name="connsiteY134" fmla="*/ 6254 h 10021"/>
                <a:gd name="connsiteX135" fmla="*/ 1090 w 10000"/>
                <a:gd name="connsiteY135" fmla="*/ 6373 h 10021"/>
                <a:gd name="connsiteX136" fmla="*/ 1186 w 10000"/>
                <a:gd name="connsiteY136" fmla="*/ 6497 h 10021"/>
                <a:gd name="connsiteX137" fmla="*/ 1290 w 10000"/>
                <a:gd name="connsiteY137" fmla="*/ 6620 h 10021"/>
                <a:gd name="connsiteX138" fmla="*/ 1386 w 10000"/>
                <a:gd name="connsiteY138" fmla="*/ 6740 h 10021"/>
                <a:gd name="connsiteX139" fmla="*/ 1497 w 10000"/>
                <a:gd name="connsiteY139" fmla="*/ 6859 h 10021"/>
                <a:gd name="connsiteX140" fmla="*/ 1609 w 10000"/>
                <a:gd name="connsiteY140" fmla="*/ 6973 h 10021"/>
                <a:gd name="connsiteX141" fmla="*/ 1727 w 10000"/>
                <a:gd name="connsiteY141" fmla="*/ 7092 h 10021"/>
                <a:gd name="connsiteX142" fmla="*/ 1846 w 10000"/>
                <a:gd name="connsiteY142" fmla="*/ 7207 h 10021"/>
                <a:gd name="connsiteX143" fmla="*/ 1964 w 10000"/>
                <a:gd name="connsiteY143" fmla="*/ 7317 h 10021"/>
                <a:gd name="connsiteX144" fmla="*/ 2090 w 10000"/>
                <a:gd name="connsiteY144" fmla="*/ 7427 h 10021"/>
                <a:gd name="connsiteX145" fmla="*/ 2224 w 10000"/>
                <a:gd name="connsiteY145" fmla="*/ 7537 h 10021"/>
                <a:gd name="connsiteX146" fmla="*/ 2350 w 10000"/>
                <a:gd name="connsiteY146" fmla="*/ 7647 h 10021"/>
                <a:gd name="connsiteX147" fmla="*/ 2491 w 10000"/>
                <a:gd name="connsiteY147" fmla="*/ 7752 h 10021"/>
                <a:gd name="connsiteX148" fmla="*/ 2617 w 10000"/>
                <a:gd name="connsiteY148" fmla="*/ 7858 h 10021"/>
                <a:gd name="connsiteX149" fmla="*/ 2765 w 10000"/>
                <a:gd name="connsiteY149" fmla="*/ 7959 h 10021"/>
                <a:gd name="connsiteX150" fmla="*/ 2906 w 10000"/>
                <a:gd name="connsiteY150" fmla="*/ 8059 h 10021"/>
                <a:gd name="connsiteX151" fmla="*/ 3054 w 10000"/>
                <a:gd name="connsiteY151" fmla="*/ 8160 h 10021"/>
                <a:gd name="connsiteX152" fmla="*/ 3210 w 10000"/>
                <a:gd name="connsiteY152" fmla="*/ 8257 h 10021"/>
                <a:gd name="connsiteX153" fmla="*/ 3358 w 10000"/>
                <a:gd name="connsiteY153" fmla="*/ 8353 h 10021"/>
                <a:gd name="connsiteX154" fmla="*/ 3514 w 10000"/>
                <a:gd name="connsiteY154" fmla="*/ 8449 h 10021"/>
                <a:gd name="connsiteX155" fmla="*/ 3677 w 10000"/>
                <a:gd name="connsiteY155" fmla="*/ 8541 h 10021"/>
                <a:gd name="connsiteX156" fmla="*/ 3840 w 10000"/>
                <a:gd name="connsiteY156" fmla="*/ 8628 h 10021"/>
                <a:gd name="connsiteX157" fmla="*/ 4010 w 10000"/>
                <a:gd name="connsiteY157" fmla="*/ 8719 h 10021"/>
                <a:gd name="connsiteX158" fmla="*/ 4181 w 10000"/>
                <a:gd name="connsiteY158" fmla="*/ 8797 h 10021"/>
                <a:gd name="connsiteX159" fmla="*/ 4351 w 10000"/>
                <a:gd name="connsiteY159" fmla="*/ 8884 h 10021"/>
                <a:gd name="connsiteX160" fmla="*/ 4522 w 10000"/>
                <a:gd name="connsiteY160" fmla="*/ 8962 h 10021"/>
                <a:gd name="connsiteX161" fmla="*/ 4700 w 10000"/>
                <a:gd name="connsiteY161" fmla="*/ 9045 h 10021"/>
                <a:gd name="connsiteX162" fmla="*/ 4878 w 10000"/>
                <a:gd name="connsiteY162" fmla="*/ 9123 h 10021"/>
                <a:gd name="connsiteX163" fmla="*/ 5063 w 10000"/>
                <a:gd name="connsiteY163" fmla="*/ 9196 h 10021"/>
                <a:gd name="connsiteX164" fmla="*/ 5248 w 10000"/>
                <a:gd name="connsiteY164" fmla="*/ 9274 h 10021"/>
                <a:gd name="connsiteX165" fmla="*/ 5426 w 10000"/>
                <a:gd name="connsiteY165" fmla="*/ 9343 h 10021"/>
                <a:gd name="connsiteX166" fmla="*/ 5619 w 10000"/>
                <a:gd name="connsiteY166" fmla="*/ 9411 h 10021"/>
                <a:gd name="connsiteX167" fmla="*/ 5812 w 10000"/>
                <a:gd name="connsiteY167" fmla="*/ 9480 h 10021"/>
                <a:gd name="connsiteX168" fmla="*/ 6004 w 10000"/>
                <a:gd name="connsiteY168" fmla="*/ 9544 h 10021"/>
                <a:gd name="connsiteX169" fmla="*/ 6205 w 10000"/>
                <a:gd name="connsiteY169" fmla="*/ 9609 h 10021"/>
                <a:gd name="connsiteX170" fmla="*/ 6397 w 10000"/>
                <a:gd name="connsiteY170" fmla="*/ 9668 h 10021"/>
                <a:gd name="connsiteX171" fmla="*/ 6605 w 10000"/>
                <a:gd name="connsiteY171" fmla="*/ 9723 h 10021"/>
                <a:gd name="connsiteX172" fmla="*/ 6805 w 10000"/>
                <a:gd name="connsiteY172" fmla="*/ 9778 h 10021"/>
                <a:gd name="connsiteX173" fmla="*/ 7005 w 10000"/>
                <a:gd name="connsiteY173" fmla="*/ 9833 h 10021"/>
                <a:gd name="connsiteX174" fmla="*/ 7213 w 10000"/>
                <a:gd name="connsiteY174" fmla="*/ 9884 h 10021"/>
                <a:gd name="connsiteX175" fmla="*/ 7420 w 10000"/>
                <a:gd name="connsiteY175" fmla="*/ 9929 h 10021"/>
                <a:gd name="connsiteX176" fmla="*/ 7628 w 10000"/>
                <a:gd name="connsiteY176" fmla="*/ 9975 h 10021"/>
                <a:gd name="connsiteX177" fmla="*/ 7835 w 10000"/>
                <a:gd name="connsiteY177" fmla="*/ 10021 h 10021"/>
                <a:gd name="connsiteX178" fmla="*/ 7539 w 10000"/>
                <a:gd name="connsiteY178" fmla="*/ 7775 h 10021"/>
                <a:gd name="connsiteX179" fmla="*/ 10000 w 10000"/>
                <a:gd name="connsiteY179" fmla="*/ 6162 h 10021"/>
                <a:gd name="connsiteX0" fmla="*/ 10000 w 10000"/>
                <a:gd name="connsiteY0" fmla="*/ 6148 h 10007"/>
                <a:gd name="connsiteX1" fmla="*/ 10000 w 10000"/>
                <a:gd name="connsiteY1" fmla="*/ 6148 h 10007"/>
                <a:gd name="connsiteX2" fmla="*/ 9911 w 10000"/>
                <a:gd name="connsiteY2" fmla="*/ 6134 h 10007"/>
                <a:gd name="connsiteX3" fmla="*/ 9815 w 10000"/>
                <a:gd name="connsiteY3" fmla="*/ 6116 h 10007"/>
                <a:gd name="connsiteX4" fmla="*/ 9726 w 10000"/>
                <a:gd name="connsiteY4" fmla="*/ 6098 h 10007"/>
                <a:gd name="connsiteX5" fmla="*/ 9637 w 10000"/>
                <a:gd name="connsiteY5" fmla="*/ 6075 h 10007"/>
                <a:gd name="connsiteX6" fmla="*/ 9548 w 10000"/>
                <a:gd name="connsiteY6" fmla="*/ 6056 h 10007"/>
                <a:gd name="connsiteX7" fmla="*/ 9466 w 10000"/>
                <a:gd name="connsiteY7" fmla="*/ 6034 h 10007"/>
                <a:gd name="connsiteX8" fmla="*/ 9377 w 10000"/>
                <a:gd name="connsiteY8" fmla="*/ 6011 h 10007"/>
                <a:gd name="connsiteX9" fmla="*/ 9288 w 10000"/>
                <a:gd name="connsiteY9" fmla="*/ 5988 h 10007"/>
                <a:gd name="connsiteX10" fmla="*/ 9118 w 10000"/>
                <a:gd name="connsiteY10" fmla="*/ 5937 h 10007"/>
                <a:gd name="connsiteX11" fmla="*/ 8955 w 10000"/>
                <a:gd name="connsiteY11" fmla="*/ 5882 h 10007"/>
                <a:gd name="connsiteX12" fmla="*/ 8792 w 10000"/>
                <a:gd name="connsiteY12" fmla="*/ 5823 h 10007"/>
                <a:gd name="connsiteX13" fmla="*/ 8636 w 10000"/>
                <a:gd name="connsiteY13" fmla="*/ 5759 h 10007"/>
                <a:gd name="connsiteX14" fmla="*/ 8480 w 10000"/>
                <a:gd name="connsiteY14" fmla="*/ 5694 h 10007"/>
                <a:gd name="connsiteX15" fmla="*/ 8340 w 10000"/>
                <a:gd name="connsiteY15" fmla="*/ 5626 h 10007"/>
                <a:gd name="connsiteX16" fmla="*/ 8199 w 10000"/>
                <a:gd name="connsiteY16" fmla="*/ 5552 h 10007"/>
                <a:gd name="connsiteX17" fmla="*/ 8058 w 10000"/>
                <a:gd name="connsiteY17" fmla="*/ 5474 h 10007"/>
                <a:gd name="connsiteX18" fmla="*/ 7924 w 10000"/>
                <a:gd name="connsiteY18" fmla="*/ 5392 h 10007"/>
                <a:gd name="connsiteX19" fmla="*/ 7798 w 10000"/>
                <a:gd name="connsiteY19" fmla="*/ 5309 h 10007"/>
                <a:gd name="connsiteX20" fmla="*/ 7672 w 10000"/>
                <a:gd name="connsiteY20" fmla="*/ 5222 h 10007"/>
                <a:gd name="connsiteX21" fmla="*/ 7554 w 10000"/>
                <a:gd name="connsiteY21" fmla="*/ 5135 h 10007"/>
                <a:gd name="connsiteX22" fmla="*/ 7450 w 10000"/>
                <a:gd name="connsiteY22" fmla="*/ 5039 h 10007"/>
                <a:gd name="connsiteX23" fmla="*/ 7346 w 10000"/>
                <a:gd name="connsiteY23" fmla="*/ 4943 h 10007"/>
                <a:gd name="connsiteX24" fmla="*/ 7250 w 10000"/>
                <a:gd name="connsiteY24" fmla="*/ 4847 h 10007"/>
                <a:gd name="connsiteX25" fmla="*/ 7161 w 10000"/>
                <a:gd name="connsiteY25" fmla="*/ 4746 h 10007"/>
                <a:gd name="connsiteX26" fmla="*/ 7072 w 10000"/>
                <a:gd name="connsiteY26" fmla="*/ 4645 h 10007"/>
                <a:gd name="connsiteX27" fmla="*/ 6990 w 10000"/>
                <a:gd name="connsiteY27" fmla="*/ 4535 h 10007"/>
                <a:gd name="connsiteX28" fmla="*/ 6953 w 10000"/>
                <a:gd name="connsiteY28" fmla="*/ 4485 h 10007"/>
                <a:gd name="connsiteX29" fmla="*/ 6916 w 10000"/>
                <a:gd name="connsiteY29" fmla="*/ 4430 h 10007"/>
                <a:gd name="connsiteX30" fmla="*/ 6887 w 10000"/>
                <a:gd name="connsiteY30" fmla="*/ 4375 h 10007"/>
                <a:gd name="connsiteX31" fmla="*/ 6850 w 10000"/>
                <a:gd name="connsiteY31" fmla="*/ 4320 h 10007"/>
                <a:gd name="connsiteX32" fmla="*/ 6820 w 10000"/>
                <a:gd name="connsiteY32" fmla="*/ 4265 h 10007"/>
                <a:gd name="connsiteX33" fmla="*/ 6790 w 10000"/>
                <a:gd name="connsiteY33" fmla="*/ 4210 h 10007"/>
                <a:gd name="connsiteX34" fmla="*/ 6768 w 10000"/>
                <a:gd name="connsiteY34" fmla="*/ 4150 h 10007"/>
                <a:gd name="connsiteX35" fmla="*/ 6738 w 10000"/>
                <a:gd name="connsiteY35" fmla="*/ 4095 h 10007"/>
                <a:gd name="connsiteX36" fmla="*/ 6723 w 10000"/>
                <a:gd name="connsiteY36" fmla="*/ 4035 h 10007"/>
                <a:gd name="connsiteX37" fmla="*/ 6694 w 10000"/>
                <a:gd name="connsiteY37" fmla="*/ 3980 h 10007"/>
                <a:gd name="connsiteX38" fmla="*/ 6679 w 10000"/>
                <a:gd name="connsiteY38" fmla="*/ 3921 h 10007"/>
                <a:gd name="connsiteX39" fmla="*/ 6664 w 10000"/>
                <a:gd name="connsiteY39" fmla="*/ 3861 h 10007"/>
                <a:gd name="connsiteX40" fmla="*/ 6649 w 10000"/>
                <a:gd name="connsiteY40" fmla="*/ 3802 h 10007"/>
                <a:gd name="connsiteX41" fmla="*/ 6635 w 10000"/>
                <a:gd name="connsiteY41" fmla="*/ 3747 h 10007"/>
                <a:gd name="connsiteX42" fmla="*/ 6620 w 10000"/>
                <a:gd name="connsiteY42" fmla="*/ 3687 h 10007"/>
                <a:gd name="connsiteX43" fmla="*/ 6612 w 10000"/>
                <a:gd name="connsiteY43" fmla="*/ 3628 h 10007"/>
                <a:gd name="connsiteX44" fmla="*/ 6605 w 10000"/>
                <a:gd name="connsiteY44" fmla="*/ 3568 h 10007"/>
                <a:gd name="connsiteX45" fmla="*/ 6597 w 10000"/>
                <a:gd name="connsiteY45" fmla="*/ 3504 h 10007"/>
                <a:gd name="connsiteX46" fmla="*/ 6597 w 10000"/>
                <a:gd name="connsiteY46" fmla="*/ 3444 h 10007"/>
                <a:gd name="connsiteX47" fmla="*/ 6590 w 10000"/>
                <a:gd name="connsiteY47" fmla="*/ 3380 h 10007"/>
                <a:gd name="connsiteX48" fmla="*/ 6597 w 10000"/>
                <a:gd name="connsiteY48" fmla="*/ 3320 h 10007"/>
                <a:gd name="connsiteX49" fmla="*/ 6605 w 10000"/>
                <a:gd name="connsiteY49" fmla="*/ 3252 h 10007"/>
                <a:gd name="connsiteX50" fmla="*/ 6605 w 10000"/>
                <a:gd name="connsiteY50" fmla="*/ 3188 h 10007"/>
                <a:gd name="connsiteX51" fmla="*/ 6612 w 10000"/>
                <a:gd name="connsiteY51" fmla="*/ 3123 h 10007"/>
                <a:gd name="connsiteX52" fmla="*/ 6620 w 10000"/>
                <a:gd name="connsiteY52" fmla="*/ 3059 h 10007"/>
                <a:gd name="connsiteX53" fmla="*/ 6635 w 10000"/>
                <a:gd name="connsiteY53" fmla="*/ 3000 h 10007"/>
                <a:gd name="connsiteX54" fmla="*/ 6649 w 10000"/>
                <a:gd name="connsiteY54" fmla="*/ 2936 h 10007"/>
                <a:gd name="connsiteX55" fmla="*/ 6664 w 10000"/>
                <a:gd name="connsiteY55" fmla="*/ 2876 h 10007"/>
                <a:gd name="connsiteX56" fmla="*/ 6686 w 10000"/>
                <a:gd name="connsiteY56" fmla="*/ 2812 h 10007"/>
                <a:gd name="connsiteX57" fmla="*/ 6709 w 10000"/>
                <a:gd name="connsiteY57" fmla="*/ 2752 h 10007"/>
                <a:gd name="connsiteX58" fmla="*/ 6731 w 10000"/>
                <a:gd name="connsiteY58" fmla="*/ 2693 h 10007"/>
                <a:gd name="connsiteX59" fmla="*/ 6753 w 10000"/>
                <a:gd name="connsiteY59" fmla="*/ 2628 h 10007"/>
                <a:gd name="connsiteX60" fmla="*/ 6783 w 10000"/>
                <a:gd name="connsiteY60" fmla="*/ 2573 h 10007"/>
                <a:gd name="connsiteX61" fmla="*/ 6812 w 10000"/>
                <a:gd name="connsiteY61" fmla="*/ 2514 h 10007"/>
                <a:gd name="connsiteX62" fmla="*/ 6842 w 10000"/>
                <a:gd name="connsiteY62" fmla="*/ 2454 h 10007"/>
                <a:gd name="connsiteX63" fmla="*/ 6879 w 10000"/>
                <a:gd name="connsiteY63" fmla="*/ 2395 h 10007"/>
                <a:gd name="connsiteX64" fmla="*/ 6909 w 10000"/>
                <a:gd name="connsiteY64" fmla="*/ 2340 h 10007"/>
                <a:gd name="connsiteX65" fmla="*/ 6946 w 10000"/>
                <a:gd name="connsiteY65" fmla="*/ 2280 h 10007"/>
                <a:gd name="connsiteX66" fmla="*/ 6990 w 10000"/>
                <a:gd name="connsiteY66" fmla="*/ 2225 h 10007"/>
                <a:gd name="connsiteX67" fmla="*/ 7027 w 10000"/>
                <a:gd name="connsiteY67" fmla="*/ 2170 h 10007"/>
                <a:gd name="connsiteX68" fmla="*/ 7072 w 10000"/>
                <a:gd name="connsiteY68" fmla="*/ 2115 h 10007"/>
                <a:gd name="connsiteX69" fmla="*/ 7109 w 10000"/>
                <a:gd name="connsiteY69" fmla="*/ 2060 h 10007"/>
                <a:gd name="connsiteX70" fmla="*/ 7161 w 10000"/>
                <a:gd name="connsiteY70" fmla="*/ 2010 h 10007"/>
                <a:gd name="connsiteX71" fmla="*/ 7213 w 10000"/>
                <a:gd name="connsiteY71" fmla="*/ 1955 h 10007"/>
                <a:gd name="connsiteX72" fmla="*/ 7257 w 10000"/>
                <a:gd name="connsiteY72" fmla="*/ 1900 h 10007"/>
                <a:gd name="connsiteX73" fmla="*/ 7309 w 10000"/>
                <a:gd name="connsiteY73" fmla="*/ 1849 h 10007"/>
                <a:gd name="connsiteX74" fmla="*/ 7361 w 10000"/>
                <a:gd name="connsiteY74" fmla="*/ 1799 h 10007"/>
                <a:gd name="connsiteX75" fmla="*/ 7413 w 10000"/>
                <a:gd name="connsiteY75" fmla="*/ 1749 h 10007"/>
                <a:gd name="connsiteX76" fmla="*/ 7472 w 10000"/>
                <a:gd name="connsiteY76" fmla="*/ 1698 h 10007"/>
                <a:gd name="connsiteX77" fmla="*/ 7524 w 10000"/>
                <a:gd name="connsiteY77" fmla="*/ 1652 h 10007"/>
                <a:gd name="connsiteX78" fmla="*/ 7583 w 10000"/>
                <a:gd name="connsiteY78" fmla="*/ 1606 h 10007"/>
                <a:gd name="connsiteX79" fmla="*/ 7643 w 10000"/>
                <a:gd name="connsiteY79" fmla="*/ 1556 h 10007"/>
                <a:gd name="connsiteX80" fmla="*/ 5390 w 10000"/>
                <a:gd name="connsiteY80" fmla="*/ 0 h 10007"/>
                <a:gd name="connsiteX81" fmla="*/ 1401 w 10000"/>
                <a:gd name="connsiteY81" fmla="*/ 0 h 10007"/>
                <a:gd name="connsiteX82" fmla="*/ 1305 w 10000"/>
                <a:gd name="connsiteY82" fmla="*/ 135 h 10007"/>
                <a:gd name="connsiteX83" fmla="*/ 1223 w 10000"/>
                <a:gd name="connsiteY83" fmla="*/ 227 h 10007"/>
                <a:gd name="connsiteX84" fmla="*/ 1149 w 10000"/>
                <a:gd name="connsiteY84" fmla="*/ 323 h 10007"/>
                <a:gd name="connsiteX85" fmla="*/ 1067 w 10000"/>
                <a:gd name="connsiteY85" fmla="*/ 419 h 10007"/>
                <a:gd name="connsiteX86" fmla="*/ 1001 w 10000"/>
                <a:gd name="connsiteY86" fmla="*/ 516 h 10007"/>
                <a:gd name="connsiteX87" fmla="*/ 927 w 10000"/>
                <a:gd name="connsiteY87" fmla="*/ 612 h 10007"/>
                <a:gd name="connsiteX88" fmla="*/ 860 w 10000"/>
                <a:gd name="connsiteY88" fmla="*/ 713 h 10007"/>
                <a:gd name="connsiteX89" fmla="*/ 793 w 10000"/>
                <a:gd name="connsiteY89" fmla="*/ 814 h 10007"/>
                <a:gd name="connsiteX90" fmla="*/ 734 w 10000"/>
                <a:gd name="connsiteY90" fmla="*/ 910 h 10007"/>
                <a:gd name="connsiteX91" fmla="*/ 675 w 10000"/>
                <a:gd name="connsiteY91" fmla="*/ 1011 h 10007"/>
                <a:gd name="connsiteX92" fmla="*/ 615 w 10000"/>
                <a:gd name="connsiteY92" fmla="*/ 1111 h 10007"/>
                <a:gd name="connsiteX93" fmla="*/ 556 w 10000"/>
                <a:gd name="connsiteY93" fmla="*/ 1217 h 10007"/>
                <a:gd name="connsiteX94" fmla="*/ 504 w 10000"/>
                <a:gd name="connsiteY94" fmla="*/ 1313 h 10007"/>
                <a:gd name="connsiteX95" fmla="*/ 452 w 10000"/>
                <a:gd name="connsiteY95" fmla="*/ 1419 h 10007"/>
                <a:gd name="connsiteX96" fmla="*/ 408 w 10000"/>
                <a:gd name="connsiteY96" fmla="*/ 1519 h 10007"/>
                <a:gd name="connsiteX97" fmla="*/ 363 w 10000"/>
                <a:gd name="connsiteY97" fmla="*/ 1625 h 10007"/>
                <a:gd name="connsiteX98" fmla="*/ 319 w 10000"/>
                <a:gd name="connsiteY98" fmla="*/ 1730 h 10007"/>
                <a:gd name="connsiteX99" fmla="*/ 282 w 10000"/>
                <a:gd name="connsiteY99" fmla="*/ 1836 h 10007"/>
                <a:gd name="connsiteX100" fmla="*/ 237 w 10000"/>
                <a:gd name="connsiteY100" fmla="*/ 1946 h 10007"/>
                <a:gd name="connsiteX101" fmla="*/ 208 w 10000"/>
                <a:gd name="connsiteY101" fmla="*/ 2051 h 10007"/>
                <a:gd name="connsiteX102" fmla="*/ 170 w 10000"/>
                <a:gd name="connsiteY102" fmla="*/ 2161 h 10007"/>
                <a:gd name="connsiteX103" fmla="*/ 148 w 10000"/>
                <a:gd name="connsiteY103" fmla="*/ 2271 h 10007"/>
                <a:gd name="connsiteX104" fmla="*/ 119 w 10000"/>
                <a:gd name="connsiteY104" fmla="*/ 2376 h 10007"/>
                <a:gd name="connsiteX105" fmla="*/ 96 w 10000"/>
                <a:gd name="connsiteY105" fmla="*/ 2486 h 10007"/>
                <a:gd name="connsiteX106" fmla="*/ 74 w 10000"/>
                <a:gd name="connsiteY106" fmla="*/ 2596 h 10007"/>
                <a:gd name="connsiteX107" fmla="*/ 52 w 10000"/>
                <a:gd name="connsiteY107" fmla="*/ 2711 h 10007"/>
                <a:gd name="connsiteX108" fmla="*/ 37 w 10000"/>
                <a:gd name="connsiteY108" fmla="*/ 2821 h 10007"/>
                <a:gd name="connsiteX109" fmla="*/ 22 w 10000"/>
                <a:gd name="connsiteY109" fmla="*/ 2931 h 10007"/>
                <a:gd name="connsiteX110" fmla="*/ 15 w 10000"/>
                <a:gd name="connsiteY110" fmla="*/ 3041 h 10007"/>
                <a:gd name="connsiteX111" fmla="*/ 7 w 10000"/>
                <a:gd name="connsiteY111" fmla="*/ 3155 h 10007"/>
                <a:gd name="connsiteX112" fmla="*/ 0 w 10000"/>
                <a:gd name="connsiteY112" fmla="*/ 3265 h 10007"/>
                <a:gd name="connsiteX113" fmla="*/ 0 w 10000"/>
                <a:gd name="connsiteY113" fmla="*/ 3380 h 10007"/>
                <a:gd name="connsiteX114" fmla="*/ 7 w 10000"/>
                <a:gd name="connsiteY114" fmla="*/ 3527 h 10007"/>
                <a:gd name="connsiteX115" fmla="*/ 7 w 10000"/>
                <a:gd name="connsiteY115" fmla="*/ 3673 h 10007"/>
                <a:gd name="connsiteX116" fmla="*/ 22 w 10000"/>
                <a:gd name="connsiteY116" fmla="*/ 3811 h 10007"/>
                <a:gd name="connsiteX117" fmla="*/ 37 w 10000"/>
                <a:gd name="connsiteY117" fmla="*/ 3953 h 10007"/>
                <a:gd name="connsiteX118" fmla="*/ 59 w 10000"/>
                <a:gd name="connsiteY118" fmla="*/ 4095 h 10007"/>
                <a:gd name="connsiteX119" fmla="*/ 89 w 10000"/>
                <a:gd name="connsiteY119" fmla="*/ 4237 h 10007"/>
                <a:gd name="connsiteX120" fmla="*/ 119 w 10000"/>
                <a:gd name="connsiteY120" fmla="*/ 4379 h 10007"/>
                <a:gd name="connsiteX121" fmla="*/ 148 w 10000"/>
                <a:gd name="connsiteY121" fmla="*/ 4521 h 10007"/>
                <a:gd name="connsiteX122" fmla="*/ 193 w 10000"/>
                <a:gd name="connsiteY122" fmla="*/ 4659 h 10007"/>
                <a:gd name="connsiteX123" fmla="*/ 237 w 10000"/>
                <a:gd name="connsiteY123" fmla="*/ 4796 h 10007"/>
                <a:gd name="connsiteX124" fmla="*/ 282 w 10000"/>
                <a:gd name="connsiteY124" fmla="*/ 4934 h 10007"/>
                <a:gd name="connsiteX125" fmla="*/ 334 w 10000"/>
                <a:gd name="connsiteY125" fmla="*/ 5071 h 10007"/>
                <a:gd name="connsiteX126" fmla="*/ 393 w 10000"/>
                <a:gd name="connsiteY126" fmla="*/ 5204 h 10007"/>
                <a:gd name="connsiteX127" fmla="*/ 452 w 10000"/>
                <a:gd name="connsiteY127" fmla="*/ 5337 h 10007"/>
                <a:gd name="connsiteX128" fmla="*/ 519 w 10000"/>
                <a:gd name="connsiteY128" fmla="*/ 5470 h 10007"/>
                <a:gd name="connsiteX129" fmla="*/ 586 w 10000"/>
                <a:gd name="connsiteY129" fmla="*/ 5603 h 10007"/>
                <a:gd name="connsiteX130" fmla="*/ 660 w 10000"/>
                <a:gd name="connsiteY130" fmla="*/ 5731 h 10007"/>
                <a:gd name="connsiteX131" fmla="*/ 741 w 10000"/>
                <a:gd name="connsiteY131" fmla="*/ 5859 h 10007"/>
                <a:gd name="connsiteX132" fmla="*/ 823 w 10000"/>
                <a:gd name="connsiteY132" fmla="*/ 5992 h 10007"/>
                <a:gd name="connsiteX133" fmla="*/ 904 w 10000"/>
                <a:gd name="connsiteY133" fmla="*/ 6116 h 10007"/>
                <a:gd name="connsiteX134" fmla="*/ 993 w 10000"/>
                <a:gd name="connsiteY134" fmla="*/ 6240 h 10007"/>
                <a:gd name="connsiteX135" fmla="*/ 1090 w 10000"/>
                <a:gd name="connsiteY135" fmla="*/ 6359 h 10007"/>
                <a:gd name="connsiteX136" fmla="*/ 1186 w 10000"/>
                <a:gd name="connsiteY136" fmla="*/ 6483 h 10007"/>
                <a:gd name="connsiteX137" fmla="*/ 1290 w 10000"/>
                <a:gd name="connsiteY137" fmla="*/ 6606 h 10007"/>
                <a:gd name="connsiteX138" fmla="*/ 1386 w 10000"/>
                <a:gd name="connsiteY138" fmla="*/ 6726 h 10007"/>
                <a:gd name="connsiteX139" fmla="*/ 1497 w 10000"/>
                <a:gd name="connsiteY139" fmla="*/ 6845 h 10007"/>
                <a:gd name="connsiteX140" fmla="*/ 1609 w 10000"/>
                <a:gd name="connsiteY140" fmla="*/ 6959 h 10007"/>
                <a:gd name="connsiteX141" fmla="*/ 1727 w 10000"/>
                <a:gd name="connsiteY141" fmla="*/ 7078 h 10007"/>
                <a:gd name="connsiteX142" fmla="*/ 1846 w 10000"/>
                <a:gd name="connsiteY142" fmla="*/ 7193 h 10007"/>
                <a:gd name="connsiteX143" fmla="*/ 1964 w 10000"/>
                <a:gd name="connsiteY143" fmla="*/ 7303 h 10007"/>
                <a:gd name="connsiteX144" fmla="*/ 2090 w 10000"/>
                <a:gd name="connsiteY144" fmla="*/ 7413 h 10007"/>
                <a:gd name="connsiteX145" fmla="*/ 2224 w 10000"/>
                <a:gd name="connsiteY145" fmla="*/ 7523 h 10007"/>
                <a:gd name="connsiteX146" fmla="*/ 2350 w 10000"/>
                <a:gd name="connsiteY146" fmla="*/ 7633 h 10007"/>
                <a:gd name="connsiteX147" fmla="*/ 2491 w 10000"/>
                <a:gd name="connsiteY147" fmla="*/ 7738 h 10007"/>
                <a:gd name="connsiteX148" fmla="*/ 2617 w 10000"/>
                <a:gd name="connsiteY148" fmla="*/ 7844 h 10007"/>
                <a:gd name="connsiteX149" fmla="*/ 2765 w 10000"/>
                <a:gd name="connsiteY149" fmla="*/ 7945 h 10007"/>
                <a:gd name="connsiteX150" fmla="*/ 2906 w 10000"/>
                <a:gd name="connsiteY150" fmla="*/ 8045 h 10007"/>
                <a:gd name="connsiteX151" fmla="*/ 3054 w 10000"/>
                <a:gd name="connsiteY151" fmla="*/ 8146 h 10007"/>
                <a:gd name="connsiteX152" fmla="*/ 3210 w 10000"/>
                <a:gd name="connsiteY152" fmla="*/ 8243 h 10007"/>
                <a:gd name="connsiteX153" fmla="*/ 3358 w 10000"/>
                <a:gd name="connsiteY153" fmla="*/ 8339 h 10007"/>
                <a:gd name="connsiteX154" fmla="*/ 3514 w 10000"/>
                <a:gd name="connsiteY154" fmla="*/ 8435 h 10007"/>
                <a:gd name="connsiteX155" fmla="*/ 3677 w 10000"/>
                <a:gd name="connsiteY155" fmla="*/ 8527 h 10007"/>
                <a:gd name="connsiteX156" fmla="*/ 3840 w 10000"/>
                <a:gd name="connsiteY156" fmla="*/ 8614 h 10007"/>
                <a:gd name="connsiteX157" fmla="*/ 4010 w 10000"/>
                <a:gd name="connsiteY157" fmla="*/ 8705 h 10007"/>
                <a:gd name="connsiteX158" fmla="*/ 4181 w 10000"/>
                <a:gd name="connsiteY158" fmla="*/ 8783 h 10007"/>
                <a:gd name="connsiteX159" fmla="*/ 4351 w 10000"/>
                <a:gd name="connsiteY159" fmla="*/ 8870 h 10007"/>
                <a:gd name="connsiteX160" fmla="*/ 4522 w 10000"/>
                <a:gd name="connsiteY160" fmla="*/ 8948 h 10007"/>
                <a:gd name="connsiteX161" fmla="*/ 4700 w 10000"/>
                <a:gd name="connsiteY161" fmla="*/ 9031 h 10007"/>
                <a:gd name="connsiteX162" fmla="*/ 4878 w 10000"/>
                <a:gd name="connsiteY162" fmla="*/ 9109 h 10007"/>
                <a:gd name="connsiteX163" fmla="*/ 5063 w 10000"/>
                <a:gd name="connsiteY163" fmla="*/ 9182 h 10007"/>
                <a:gd name="connsiteX164" fmla="*/ 5248 w 10000"/>
                <a:gd name="connsiteY164" fmla="*/ 9260 h 10007"/>
                <a:gd name="connsiteX165" fmla="*/ 5426 w 10000"/>
                <a:gd name="connsiteY165" fmla="*/ 9329 h 10007"/>
                <a:gd name="connsiteX166" fmla="*/ 5619 w 10000"/>
                <a:gd name="connsiteY166" fmla="*/ 9397 h 10007"/>
                <a:gd name="connsiteX167" fmla="*/ 5812 w 10000"/>
                <a:gd name="connsiteY167" fmla="*/ 9466 h 10007"/>
                <a:gd name="connsiteX168" fmla="*/ 6004 w 10000"/>
                <a:gd name="connsiteY168" fmla="*/ 9530 h 10007"/>
                <a:gd name="connsiteX169" fmla="*/ 6205 w 10000"/>
                <a:gd name="connsiteY169" fmla="*/ 9595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61 h 10007"/>
                <a:gd name="connsiteX179" fmla="*/ 10000 w 10000"/>
                <a:gd name="connsiteY179" fmla="*/ 6148 h 10007"/>
                <a:gd name="connsiteX0" fmla="*/ 10000 w 10000"/>
                <a:gd name="connsiteY0" fmla="*/ 6148 h 10007"/>
                <a:gd name="connsiteX1" fmla="*/ 10000 w 10000"/>
                <a:gd name="connsiteY1" fmla="*/ 6148 h 10007"/>
                <a:gd name="connsiteX2" fmla="*/ 9911 w 10000"/>
                <a:gd name="connsiteY2" fmla="*/ 6134 h 10007"/>
                <a:gd name="connsiteX3" fmla="*/ 9815 w 10000"/>
                <a:gd name="connsiteY3" fmla="*/ 6116 h 10007"/>
                <a:gd name="connsiteX4" fmla="*/ 9726 w 10000"/>
                <a:gd name="connsiteY4" fmla="*/ 6098 h 10007"/>
                <a:gd name="connsiteX5" fmla="*/ 9637 w 10000"/>
                <a:gd name="connsiteY5" fmla="*/ 6075 h 10007"/>
                <a:gd name="connsiteX6" fmla="*/ 9548 w 10000"/>
                <a:gd name="connsiteY6" fmla="*/ 6056 h 10007"/>
                <a:gd name="connsiteX7" fmla="*/ 9466 w 10000"/>
                <a:gd name="connsiteY7" fmla="*/ 6034 h 10007"/>
                <a:gd name="connsiteX8" fmla="*/ 9377 w 10000"/>
                <a:gd name="connsiteY8" fmla="*/ 6011 h 10007"/>
                <a:gd name="connsiteX9" fmla="*/ 9288 w 10000"/>
                <a:gd name="connsiteY9" fmla="*/ 5988 h 10007"/>
                <a:gd name="connsiteX10" fmla="*/ 9118 w 10000"/>
                <a:gd name="connsiteY10" fmla="*/ 5937 h 10007"/>
                <a:gd name="connsiteX11" fmla="*/ 8955 w 10000"/>
                <a:gd name="connsiteY11" fmla="*/ 5882 h 10007"/>
                <a:gd name="connsiteX12" fmla="*/ 8792 w 10000"/>
                <a:gd name="connsiteY12" fmla="*/ 5823 h 10007"/>
                <a:gd name="connsiteX13" fmla="*/ 8636 w 10000"/>
                <a:gd name="connsiteY13" fmla="*/ 5759 h 10007"/>
                <a:gd name="connsiteX14" fmla="*/ 8480 w 10000"/>
                <a:gd name="connsiteY14" fmla="*/ 5694 h 10007"/>
                <a:gd name="connsiteX15" fmla="*/ 8340 w 10000"/>
                <a:gd name="connsiteY15" fmla="*/ 5626 h 10007"/>
                <a:gd name="connsiteX16" fmla="*/ 8199 w 10000"/>
                <a:gd name="connsiteY16" fmla="*/ 5552 h 10007"/>
                <a:gd name="connsiteX17" fmla="*/ 8058 w 10000"/>
                <a:gd name="connsiteY17" fmla="*/ 5474 h 10007"/>
                <a:gd name="connsiteX18" fmla="*/ 7924 w 10000"/>
                <a:gd name="connsiteY18" fmla="*/ 5392 h 10007"/>
                <a:gd name="connsiteX19" fmla="*/ 7798 w 10000"/>
                <a:gd name="connsiteY19" fmla="*/ 5309 h 10007"/>
                <a:gd name="connsiteX20" fmla="*/ 7672 w 10000"/>
                <a:gd name="connsiteY20" fmla="*/ 5222 h 10007"/>
                <a:gd name="connsiteX21" fmla="*/ 7554 w 10000"/>
                <a:gd name="connsiteY21" fmla="*/ 5135 h 10007"/>
                <a:gd name="connsiteX22" fmla="*/ 7450 w 10000"/>
                <a:gd name="connsiteY22" fmla="*/ 5039 h 10007"/>
                <a:gd name="connsiteX23" fmla="*/ 7346 w 10000"/>
                <a:gd name="connsiteY23" fmla="*/ 4943 h 10007"/>
                <a:gd name="connsiteX24" fmla="*/ 7250 w 10000"/>
                <a:gd name="connsiteY24" fmla="*/ 4847 h 10007"/>
                <a:gd name="connsiteX25" fmla="*/ 7161 w 10000"/>
                <a:gd name="connsiteY25" fmla="*/ 4746 h 10007"/>
                <a:gd name="connsiteX26" fmla="*/ 7072 w 10000"/>
                <a:gd name="connsiteY26" fmla="*/ 4645 h 10007"/>
                <a:gd name="connsiteX27" fmla="*/ 6990 w 10000"/>
                <a:gd name="connsiteY27" fmla="*/ 4535 h 10007"/>
                <a:gd name="connsiteX28" fmla="*/ 6953 w 10000"/>
                <a:gd name="connsiteY28" fmla="*/ 4485 h 10007"/>
                <a:gd name="connsiteX29" fmla="*/ 6916 w 10000"/>
                <a:gd name="connsiteY29" fmla="*/ 4430 h 10007"/>
                <a:gd name="connsiteX30" fmla="*/ 6887 w 10000"/>
                <a:gd name="connsiteY30" fmla="*/ 4375 h 10007"/>
                <a:gd name="connsiteX31" fmla="*/ 6850 w 10000"/>
                <a:gd name="connsiteY31" fmla="*/ 4320 h 10007"/>
                <a:gd name="connsiteX32" fmla="*/ 6820 w 10000"/>
                <a:gd name="connsiteY32" fmla="*/ 4265 h 10007"/>
                <a:gd name="connsiteX33" fmla="*/ 6790 w 10000"/>
                <a:gd name="connsiteY33" fmla="*/ 4210 h 10007"/>
                <a:gd name="connsiteX34" fmla="*/ 6768 w 10000"/>
                <a:gd name="connsiteY34" fmla="*/ 4150 h 10007"/>
                <a:gd name="connsiteX35" fmla="*/ 6738 w 10000"/>
                <a:gd name="connsiteY35" fmla="*/ 4095 h 10007"/>
                <a:gd name="connsiteX36" fmla="*/ 6723 w 10000"/>
                <a:gd name="connsiteY36" fmla="*/ 4035 h 10007"/>
                <a:gd name="connsiteX37" fmla="*/ 6694 w 10000"/>
                <a:gd name="connsiteY37" fmla="*/ 3980 h 10007"/>
                <a:gd name="connsiteX38" fmla="*/ 6679 w 10000"/>
                <a:gd name="connsiteY38" fmla="*/ 3921 h 10007"/>
                <a:gd name="connsiteX39" fmla="*/ 6664 w 10000"/>
                <a:gd name="connsiteY39" fmla="*/ 3861 h 10007"/>
                <a:gd name="connsiteX40" fmla="*/ 6649 w 10000"/>
                <a:gd name="connsiteY40" fmla="*/ 3802 h 10007"/>
                <a:gd name="connsiteX41" fmla="*/ 6635 w 10000"/>
                <a:gd name="connsiteY41" fmla="*/ 3747 h 10007"/>
                <a:gd name="connsiteX42" fmla="*/ 6620 w 10000"/>
                <a:gd name="connsiteY42" fmla="*/ 3687 h 10007"/>
                <a:gd name="connsiteX43" fmla="*/ 6612 w 10000"/>
                <a:gd name="connsiteY43" fmla="*/ 3628 h 10007"/>
                <a:gd name="connsiteX44" fmla="*/ 6605 w 10000"/>
                <a:gd name="connsiteY44" fmla="*/ 3568 h 10007"/>
                <a:gd name="connsiteX45" fmla="*/ 6597 w 10000"/>
                <a:gd name="connsiteY45" fmla="*/ 3504 h 10007"/>
                <a:gd name="connsiteX46" fmla="*/ 6597 w 10000"/>
                <a:gd name="connsiteY46" fmla="*/ 3444 h 10007"/>
                <a:gd name="connsiteX47" fmla="*/ 6590 w 10000"/>
                <a:gd name="connsiteY47" fmla="*/ 3380 h 10007"/>
                <a:gd name="connsiteX48" fmla="*/ 6597 w 10000"/>
                <a:gd name="connsiteY48" fmla="*/ 3320 h 10007"/>
                <a:gd name="connsiteX49" fmla="*/ 6605 w 10000"/>
                <a:gd name="connsiteY49" fmla="*/ 3252 h 10007"/>
                <a:gd name="connsiteX50" fmla="*/ 6605 w 10000"/>
                <a:gd name="connsiteY50" fmla="*/ 3188 h 10007"/>
                <a:gd name="connsiteX51" fmla="*/ 6612 w 10000"/>
                <a:gd name="connsiteY51" fmla="*/ 3123 h 10007"/>
                <a:gd name="connsiteX52" fmla="*/ 6620 w 10000"/>
                <a:gd name="connsiteY52" fmla="*/ 3059 h 10007"/>
                <a:gd name="connsiteX53" fmla="*/ 6635 w 10000"/>
                <a:gd name="connsiteY53" fmla="*/ 3000 h 10007"/>
                <a:gd name="connsiteX54" fmla="*/ 6649 w 10000"/>
                <a:gd name="connsiteY54" fmla="*/ 2936 h 10007"/>
                <a:gd name="connsiteX55" fmla="*/ 6664 w 10000"/>
                <a:gd name="connsiteY55" fmla="*/ 2876 h 10007"/>
                <a:gd name="connsiteX56" fmla="*/ 6686 w 10000"/>
                <a:gd name="connsiteY56" fmla="*/ 2812 h 10007"/>
                <a:gd name="connsiteX57" fmla="*/ 6709 w 10000"/>
                <a:gd name="connsiteY57" fmla="*/ 2752 h 10007"/>
                <a:gd name="connsiteX58" fmla="*/ 6731 w 10000"/>
                <a:gd name="connsiteY58" fmla="*/ 2693 h 10007"/>
                <a:gd name="connsiteX59" fmla="*/ 6753 w 10000"/>
                <a:gd name="connsiteY59" fmla="*/ 2628 h 10007"/>
                <a:gd name="connsiteX60" fmla="*/ 6783 w 10000"/>
                <a:gd name="connsiteY60" fmla="*/ 2573 h 10007"/>
                <a:gd name="connsiteX61" fmla="*/ 6812 w 10000"/>
                <a:gd name="connsiteY61" fmla="*/ 2514 h 10007"/>
                <a:gd name="connsiteX62" fmla="*/ 6842 w 10000"/>
                <a:gd name="connsiteY62" fmla="*/ 2454 h 10007"/>
                <a:gd name="connsiteX63" fmla="*/ 6879 w 10000"/>
                <a:gd name="connsiteY63" fmla="*/ 2395 h 10007"/>
                <a:gd name="connsiteX64" fmla="*/ 6909 w 10000"/>
                <a:gd name="connsiteY64" fmla="*/ 2340 h 10007"/>
                <a:gd name="connsiteX65" fmla="*/ 6946 w 10000"/>
                <a:gd name="connsiteY65" fmla="*/ 2280 h 10007"/>
                <a:gd name="connsiteX66" fmla="*/ 6990 w 10000"/>
                <a:gd name="connsiteY66" fmla="*/ 2225 h 10007"/>
                <a:gd name="connsiteX67" fmla="*/ 7027 w 10000"/>
                <a:gd name="connsiteY67" fmla="*/ 2170 h 10007"/>
                <a:gd name="connsiteX68" fmla="*/ 7072 w 10000"/>
                <a:gd name="connsiteY68" fmla="*/ 2115 h 10007"/>
                <a:gd name="connsiteX69" fmla="*/ 7109 w 10000"/>
                <a:gd name="connsiteY69" fmla="*/ 2060 h 10007"/>
                <a:gd name="connsiteX70" fmla="*/ 7161 w 10000"/>
                <a:gd name="connsiteY70" fmla="*/ 2010 h 10007"/>
                <a:gd name="connsiteX71" fmla="*/ 7213 w 10000"/>
                <a:gd name="connsiteY71" fmla="*/ 1955 h 10007"/>
                <a:gd name="connsiteX72" fmla="*/ 7257 w 10000"/>
                <a:gd name="connsiteY72" fmla="*/ 1900 h 10007"/>
                <a:gd name="connsiteX73" fmla="*/ 7309 w 10000"/>
                <a:gd name="connsiteY73" fmla="*/ 1849 h 10007"/>
                <a:gd name="connsiteX74" fmla="*/ 7361 w 10000"/>
                <a:gd name="connsiteY74" fmla="*/ 1799 h 10007"/>
                <a:gd name="connsiteX75" fmla="*/ 7413 w 10000"/>
                <a:gd name="connsiteY75" fmla="*/ 1749 h 10007"/>
                <a:gd name="connsiteX76" fmla="*/ 7472 w 10000"/>
                <a:gd name="connsiteY76" fmla="*/ 1698 h 10007"/>
                <a:gd name="connsiteX77" fmla="*/ 7524 w 10000"/>
                <a:gd name="connsiteY77" fmla="*/ 1652 h 10007"/>
                <a:gd name="connsiteX78" fmla="*/ 7583 w 10000"/>
                <a:gd name="connsiteY78" fmla="*/ 1606 h 10007"/>
                <a:gd name="connsiteX79" fmla="*/ 7643 w 10000"/>
                <a:gd name="connsiteY79" fmla="*/ 1556 h 10007"/>
                <a:gd name="connsiteX80" fmla="*/ 5390 w 10000"/>
                <a:gd name="connsiteY80" fmla="*/ 0 h 10007"/>
                <a:gd name="connsiteX81" fmla="*/ 1401 w 10000"/>
                <a:gd name="connsiteY81" fmla="*/ 21 h 10007"/>
                <a:gd name="connsiteX82" fmla="*/ 1305 w 10000"/>
                <a:gd name="connsiteY82" fmla="*/ 135 h 10007"/>
                <a:gd name="connsiteX83" fmla="*/ 1223 w 10000"/>
                <a:gd name="connsiteY83" fmla="*/ 227 h 10007"/>
                <a:gd name="connsiteX84" fmla="*/ 1149 w 10000"/>
                <a:gd name="connsiteY84" fmla="*/ 323 h 10007"/>
                <a:gd name="connsiteX85" fmla="*/ 1067 w 10000"/>
                <a:gd name="connsiteY85" fmla="*/ 419 h 10007"/>
                <a:gd name="connsiteX86" fmla="*/ 1001 w 10000"/>
                <a:gd name="connsiteY86" fmla="*/ 516 h 10007"/>
                <a:gd name="connsiteX87" fmla="*/ 927 w 10000"/>
                <a:gd name="connsiteY87" fmla="*/ 612 h 10007"/>
                <a:gd name="connsiteX88" fmla="*/ 860 w 10000"/>
                <a:gd name="connsiteY88" fmla="*/ 713 h 10007"/>
                <a:gd name="connsiteX89" fmla="*/ 793 w 10000"/>
                <a:gd name="connsiteY89" fmla="*/ 814 h 10007"/>
                <a:gd name="connsiteX90" fmla="*/ 734 w 10000"/>
                <a:gd name="connsiteY90" fmla="*/ 910 h 10007"/>
                <a:gd name="connsiteX91" fmla="*/ 675 w 10000"/>
                <a:gd name="connsiteY91" fmla="*/ 1011 h 10007"/>
                <a:gd name="connsiteX92" fmla="*/ 615 w 10000"/>
                <a:gd name="connsiteY92" fmla="*/ 1111 h 10007"/>
                <a:gd name="connsiteX93" fmla="*/ 556 w 10000"/>
                <a:gd name="connsiteY93" fmla="*/ 1217 h 10007"/>
                <a:gd name="connsiteX94" fmla="*/ 504 w 10000"/>
                <a:gd name="connsiteY94" fmla="*/ 1313 h 10007"/>
                <a:gd name="connsiteX95" fmla="*/ 452 w 10000"/>
                <a:gd name="connsiteY95" fmla="*/ 1419 h 10007"/>
                <a:gd name="connsiteX96" fmla="*/ 408 w 10000"/>
                <a:gd name="connsiteY96" fmla="*/ 1519 h 10007"/>
                <a:gd name="connsiteX97" fmla="*/ 363 w 10000"/>
                <a:gd name="connsiteY97" fmla="*/ 1625 h 10007"/>
                <a:gd name="connsiteX98" fmla="*/ 319 w 10000"/>
                <a:gd name="connsiteY98" fmla="*/ 1730 h 10007"/>
                <a:gd name="connsiteX99" fmla="*/ 282 w 10000"/>
                <a:gd name="connsiteY99" fmla="*/ 1836 h 10007"/>
                <a:gd name="connsiteX100" fmla="*/ 237 w 10000"/>
                <a:gd name="connsiteY100" fmla="*/ 1946 h 10007"/>
                <a:gd name="connsiteX101" fmla="*/ 208 w 10000"/>
                <a:gd name="connsiteY101" fmla="*/ 2051 h 10007"/>
                <a:gd name="connsiteX102" fmla="*/ 170 w 10000"/>
                <a:gd name="connsiteY102" fmla="*/ 2161 h 10007"/>
                <a:gd name="connsiteX103" fmla="*/ 148 w 10000"/>
                <a:gd name="connsiteY103" fmla="*/ 2271 h 10007"/>
                <a:gd name="connsiteX104" fmla="*/ 119 w 10000"/>
                <a:gd name="connsiteY104" fmla="*/ 2376 h 10007"/>
                <a:gd name="connsiteX105" fmla="*/ 96 w 10000"/>
                <a:gd name="connsiteY105" fmla="*/ 2486 h 10007"/>
                <a:gd name="connsiteX106" fmla="*/ 74 w 10000"/>
                <a:gd name="connsiteY106" fmla="*/ 2596 h 10007"/>
                <a:gd name="connsiteX107" fmla="*/ 52 w 10000"/>
                <a:gd name="connsiteY107" fmla="*/ 2711 h 10007"/>
                <a:gd name="connsiteX108" fmla="*/ 37 w 10000"/>
                <a:gd name="connsiteY108" fmla="*/ 2821 h 10007"/>
                <a:gd name="connsiteX109" fmla="*/ 22 w 10000"/>
                <a:gd name="connsiteY109" fmla="*/ 2931 h 10007"/>
                <a:gd name="connsiteX110" fmla="*/ 15 w 10000"/>
                <a:gd name="connsiteY110" fmla="*/ 3041 h 10007"/>
                <a:gd name="connsiteX111" fmla="*/ 7 w 10000"/>
                <a:gd name="connsiteY111" fmla="*/ 3155 h 10007"/>
                <a:gd name="connsiteX112" fmla="*/ 0 w 10000"/>
                <a:gd name="connsiteY112" fmla="*/ 3265 h 10007"/>
                <a:gd name="connsiteX113" fmla="*/ 0 w 10000"/>
                <a:gd name="connsiteY113" fmla="*/ 3380 h 10007"/>
                <a:gd name="connsiteX114" fmla="*/ 7 w 10000"/>
                <a:gd name="connsiteY114" fmla="*/ 3527 h 10007"/>
                <a:gd name="connsiteX115" fmla="*/ 7 w 10000"/>
                <a:gd name="connsiteY115" fmla="*/ 3673 h 10007"/>
                <a:gd name="connsiteX116" fmla="*/ 22 w 10000"/>
                <a:gd name="connsiteY116" fmla="*/ 3811 h 10007"/>
                <a:gd name="connsiteX117" fmla="*/ 37 w 10000"/>
                <a:gd name="connsiteY117" fmla="*/ 3953 h 10007"/>
                <a:gd name="connsiteX118" fmla="*/ 59 w 10000"/>
                <a:gd name="connsiteY118" fmla="*/ 4095 h 10007"/>
                <a:gd name="connsiteX119" fmla="*/ 89 w 10000"/>
                <a:gd name="connsiteY119" fmla="*/ 4237 h 10007"/>
                <a:gd name="connsiteX120" fmla="*/ 119 w 10000"/>
                <a:gd name="connsiteY120" fmla="*/ 4379 h 10007"/>
                <a:gd name="connsiteX121" fmla="*/ 148 w 10000"/>
                <a:gd name="connsiteY121" fmla="*/ 4521 h 10007"/>
                <a:gd name="connsiteX122" fmla="*/ 193 w 10000"/>
                <a:gd name="connsiteY122" fmla="*/ 4659 h 10007"/>
                <a:gd name="connsiteX123" fmla="*/ 237 w 10000"/>
                <a:gd name="connsiteY123" fmla="*/ 4796 h 10007"/>
                <a:gd name="connsiteX124" fmla="*/ 282 w 10000"/>
                <a:gd name="connsiteY124" fmla="*/ 4934 h 10007"/>
                <a:gd name="connsiteX125" fmla="*/ 334 w 10000"/>
                <a:gd name="connsiteY125" fmla="*/ 5071 h 10007"/>
                <a:gd name="connsiteX126" fmla="*/ 393 w 10000"/>
                <a:gd name="connsiteY126" fmla="*/ 5204 h 10007"/>
                <a:gd name="connsiteX127" fmla="*/ 452 w 10000"/>
                <a:gd name="connsiteY127" fmla="*/ 5337 h 10007"/>
                <a:gd name="connsiteX128" fmla="*/ 519 w 10000"/>
                <a:gd name="connsiteY128" fmla="*/ 5470 h 10007"/>
                <a:gd name="connsiteX129" fmla="*/ 586 w 10000"/>
                <a:gd name="connsiteY129" fmla="*/ 5603 h 10007"/>
                <a:gd name="connsiteX130" fmla="*/ 660 w 10000"/>
                <a:gd name="connsiteY130" fmla="*/ 5731 h 10007"/>
                <a:gd name="connsiteX131" fmla="*/ 741 w 10000"/>
                <a:gd name="connsiteY131" fmla="*/ 5859 h 10007"/>
                <a:gd name="connsiteX132" fmla="*/ 823 w 10000"/>
                <a:gd name="connsiteY132" fmla="*/ 5992 h 10007"/>
                <a:gd name="connsiteX133" fmla="*/ 904 w 10000"/>
                <a:gd name="connsiteY133" fmla="*/ 6116 h 10007"/>
                <a:gd name="connsiteX134" fmla="*/ 993 w 10000"/>
                <a:gd name="connsiteY134" fmla="*/ 6240 h 10007"/>
                <a:gd name="connsiteX135" fmla="*/ 1090 w 10000"/>
                <a:gd name="connsiteY135" fmla="*/ 6359 h 10007"/>
                <a:gd name="connsiteX136" fmla="*/ 1186 w 10000"/>
                <a:gd name="connsiteY136" fmla="*/ 6483 h 10007"/>
                <a:gd name="connsiteX137" fmla="*/ 1290 w 10000"/>
                <a:gd name="connsiteY137" fmla="*/ 6606 h 10007"/>
                <a:gd name="connsiteX138" fmla="*/ 1386 w 10000"/>
                <a:gd name="connsiteY138" fmla="*/ 6726 h 10007"/>
                <a:gd name="connsiteX139" fmla="*/ 1497 w 10000"/>
                <a:gd name="connsiteY139" fmla="*/ 6845 h 10007"/>
                <a:gd name="connsiteX140" fmla="*/ 1609 w 10000"/>
                <a:gd name="connsiteY140" fmla="*/ 6959 h 10007"/>
                <a:gd name="connsiteX141" fmla="*/ 1727 w 10000"/>
                <a:gd name="connsiteY141" fmla="*/ 7078 h 10007"/>
                <a:gd name="connsiteX142" fmla="*/ 1846 w 10000"/>
                <a:gd name="connsiteY142" fmla="*/ 7193 h 10007"/>
                <a:gd name="connsiteX143" fmla="*/ 1964 w 10000"/>
                <a:gd name="connsiteY143" fmla="*/ 7303 h 10007"/>
                <a:gd name="connsiteX144" fmla="*/ 2090 w 10000"/>
                <a:gd name="connsiteY144" fmla="*/ 7413 h 10007"/>
                <a:gd name="connsiteX145" fmla="*/ 2224 w 10000"/>
                <a:gd name="connsiteY145" fmla="*/ 7523 h 10007"/>
                <a:gd name="connsiteX146" fmla="*/ 2350 w 10000"/>
                <a:gd name="connsiteY146" fmla="*/ 7633 h 10007"/>
                <a:gd name="connsiteX147" fmla="*/ 2491 w 10000"/>
                <a:gd name="connsiteY147" fmla="*/ 7738 h 10007"/>
                <a:gd name="connsiteX148" fmla="*/ 2617 w 10000"/>
                <a:gd name="connsiteY148" fmla="*/ 7844 h 10007"/>
                <a:gd name="connsiteX149" fmla="*/ 2765 w 10000"/>
                <a:gd name="connsiteY149" fmla="*/ 7945 h 10007"/>
                <a:gd name="connsiteX150" fmla="*/ 2906 w 10000"/>
                <a:gd name="connsiteY150" fmla="*/ 8045 h 10007"/>
                <a:gd name="connsiteX151" fmla="*/ 3054 w 10000"/>
                <a:gd name="connsiteY151" fmla="*/ 8146 h 10007"/>
                <a:gd name="connsiteX152" fmla="*/ 3210 w 10000"/>
                <a:gd name="connsiteY152" fmla="*/ 8243 h 10007"/>
                <a:gd name="connsiteX153" fmla="*/ 3358 w 10000"/>
                <a:gd name="connsiteY153" fmla="*/ 8339 h 10007"/>
                <a:gd name="connsiteX154" fmla="*/ 3514 w 10000"/>
                <a:gd name="connsiteY154" fmla="*/ 8435 h 10007"/>
                <a:gd name="connsiteX155" fmla="*/ 3677 w 10000"/>
                <a:gd name="connsiteY155" fmla="*/ 8527 h 10007"/>
                <a:gd name="connsiteX156" fmla="*/ 3840 w 10000"/>
                <a:gd name="connsiteY156" fmla="*/ 8614 h 10007"/>
                <a:gd name="connsiteX157" fmla="*/ 4010 w 10000"/>
                <a:gd name="connsiteY157" fmla="*/ 8705 h 10007"/>
                <a:gd name="connsiteX158" fmla="*/ 4181 w 10000"/>
                <a:gd name="connsiteY158" fmla="*/ 8783 h 10007"/>
                <a:gd name="connsiteX159" fmla="*/ 4351 w 10000"/>
                <a:gd name="connsiteY159" fmla="*/ 8870 h 10007"/>
                <a:gd name="connsiteX160" fmla="*/ 4522 w 10000"/>
                <a:gd name="connsiteY160" fmla="*/ 8948 h 10007"/>
                <a:gd name="connsiteX161" fmla="*/ 4700 w 10000"/>
                <a:gd name="connsiteY161" fmla="*/ 9031 h 10007"/>
                <a:gd name="connsiteX162" fmla="*/ 4878 w 10000"/>
                <a:gd name="connsiteY162" fmla="*/ 9109 h 10007"/>
                <a:gd name="connsiteX163" fmla="*/ 5063 w 10000"/>
                <a:gd name="connsiteY163" fmla="*/ 9182 h 10007"/>
                <a:gd name="connsiteX164" fmla="*/ 5248 w 10000"/>
                <a:gd name="connsiteY164" fmla="*/ 9260 h 10007"/>
                <a:gd name="connsiteX165" fmla="*/ 5426 w 10000"/>
                <a:gd name="connsiteY165" fmla="*/ 9329 h 10007"/>
                <a:gd name="connsiteX166" fmla="*/ 5619 w 10000"/>
                <a:gd name="connsiteY166" fmla="*/ 9397 h 10007"/>
                <a:gd name="connsiteX167" fmla="*/ 5812 w 10000"/>
                <a:gd name="connsiteY167" fmla="*/ 9466 h 10007"/>
                <a:gd name="connsiteX168" fmla="*/ 6004 w 10000"/>
                <a:gd name="connsiteY168" fmla="*/ 9530 h 10007"/>
                <a:gd name="connsiteX169" fmla="*/ 6205 w 10000"/>
                <a:gd name="connsiteY169" fmla="*/ 9595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61 h 10007"/>
                <a:gd name="connsiteX179" fmla="*/ 10000 w 10000"/>
                <a:gd name="connsiteY179" fmla="*/ 6148 h 10007"/>
                <a:gd name="connsiteX0" fmla="*/ 10000 w 10000"/>
                <a:gd name="connsiteY0" fmla="*/ 6127 h 9986"/>
                <a:gd name="connsiteX1" fmla="*/ 10000 w 10000"/>
                <a:gd name="connsiteY1" fmla="*/ 6127 h 9986"/>
                <a:gd name="connsiteX2" fmla="*/ 9911 w 10000"/>
                <a:gd name="connsiteY2" fmla="*/ 6113 h 9986"/>
                <a:gd name="connsiteX3" fmla="*/ 9815 w 10000"/>
                <a:gd name="connsiteY3" fmla="*/ 6095 h 9986"/>
                <a:gd name="connsiteX4" fmla="*/ 9726 w 10000"/>
                <a:gd name="connsiteY4" fmla="*/ 6077 h 9986"/>
                <a:gd name="connsiteX5" fmla="*/ 9637 w 10000"/>
                <a:gd name="connsiteY5" fmla="*/ 6054 h 9986"/>
                <a:gd name="connsiteX6" fmla="*/ 9548 w 10000"/>
                <a:gd name="connsiteY6" fmla="*/ 6035 h 9986"/>
                <a:gd name="connsiteX7" fmla="*/ 9466 w 10000"/>
                <a:gd name="connsiteY7" fmla="*/ 6013 h 9986"/>
                <a:gd name="connsiteX8" fmla="*/ 9377 w 10000"/>
                <a:gd name="connsiteY8" fmla="*/ 5990 h 9986"/>
                <a:gd name="connsiteX9" fmla="*/ 9288 w 10000"/>
                <a:gd name="connsiteY9" fmla="*/ 5967 h 9986"/>
                <a:gd name="connsiteX10" fmla="*/ 9118 w 10000"/>
                <a:gd name="connsiteY10" fmla="*/ 5916 h 9986"/>
                <a:gd name="connsiteX11" fmla="*/ 8955 w 10000"/>
                <a:gd name="connsiteY11" fmla="*/ 5861 h 9986"/>
                <a:gd name="connsiteX12" fmla="*/ 8792 w 10000"/>
                <a:gd name="connsiteY12" fmla="*/ 5802 h 9986"/>
                <a:gd name="connsiteX13" fmla="*/ 8636 w 10000"/>
                <a:gd name="connsiteY13" fmla="*/ 5738 h 9986"/>
                <a:gd name="connsiteX14" fmla="*/ 8480 w 10000"/>
                <a:gd name="connsiteY14" fmla="*/ 5673 h 9986"/>
                <a:gd name="connsiteX15" fmla="*/ 8340 w 10000"/>
                <a:gd name="connsiteY15" fmla="*/ 5605 h 9986"/>
                <a:gd name="connsiteX16" fmla="*/ 8199 w 10000"/>
                <a:gd name="connsiteY16" fmla="*/ 5531 h 9986"/>
                <a:gd name="connsiteX17" fmla="*/ 8058 w 10000"/>
                <a:gd name="connsiteY17" fmla="*/ 5453 h 9986"/>
                <a:gd name="connsiteX18" fmla="*/ 7924 w 10000"/>
                <a:gd name="connsiteY18" fmla="*/ 5371 h 9986"/>
                <a:gd name="connsiteX19" fmla="*/ 7798 w 10000"/>
                <a:gd name="connsiteY19" fmla="*/ 5288 h 9986"/>
                <a:gd name="connsiteX20" fmla="*/ 7672 w 10000"/>
                <a:gd name="connsiteY20" fmla="*/ 5201 h 9986"/>
                <a:gd name="connsiteX21" fmla="*/ 7554 w 10000"/>
                <a:gd name="connsiteY21" fmla="*/ 5114 h 9986"/>
                <a:gd name="connsiteX22" fmla="*/ 7450 w 10000"/>
                <a:gd name="connsiteY22" fmla="*/ 5018 h 9986"/>
                <a:gd name="connsiteX23" fmla="*/ 7346 w 10000"/>
                <a:gd name="connsiteY23" fmla="*/ 4922 h 9986"/>
                <a:gd name="connsiteX24" fmla="*/ 7250 w 10000"/>
                <a:gd name="connsiteY24" fmla="*/ 4826 h 9986"/>
                <a:gd name="connsiteX25" fmla="*/ 7161 w 10000"/>
                <a:gd name="connsiteY25" fmla="*/ 4725 h 9986"/>
                <a:gd name="connsiteX26" fmla="*/ 7072 w 10000"/>
                <a:gd name="connsiteY26" fmla="*/ 4624 h 9986"/>
                <a:gd name="connsiteX27" fmla="*/ 6990 w 10000"/>
                <a:gd name="connsiteY27" fmla="*/ 4514 h 9986"/>
                <a:gd name="connsiteX28" fmla="*/ 6953 w 10000"/>
                <a:gd name="connsiteY28" fmla="*/ 4464 h 9986"/>
                <a:gd name="connsiteX29" fmla="*/ 6916 w 10000"/>
                <a:gd name="connsiteY29" fmla="*/ 4409 h 9986"/>
                <a:gd name="connsiteX30" fmla="*/ 6887 w 10000"/>
                <a:gd name="connsiteY30" fmla="*/ 4354 h 9986"/>
                <a:gd name="connsiteX31" fmla="*/ 6850 w 10000"/>
                <a:gd name="connsiteY31" fmla="*/ 4299 h 9986"/>
                <a:gd name="connsiteX32" fmla="*/ 6820 w 10000"/>
                <a:gd name="connsiteY32" fmla="*/ 4244 h 9986"/>
                <a:gd name="connsiteX33" fmla="*/ 6790 w 10000"/>
                <a:gd name="connsiteY33" fmla="*/ 4189 h 9986"/>
                <a:gd name="connsiteX34" fmla="*/ 6768 w 10000"/>
                <a:gd name="connsiteY34" fmla="*/ 4129 h 9986"/>
                <a:gd name="connsiteX35" fmla="*/ 6738 w 10000"/>
                <a:gd name="connsiteY35" fmla="*/ 4074 h 9986"/>
                <a:gd name="connsiteX36" fmla="*/ 6723 w 10000"/>
                <a:gd name="connsiteY36" fmla="*/ 4014 h 9986"/>
                <a:gd name="connsiteX37" fmla="*/ 6694 w 10000"/>
                <a:gd name="connsiteY37" fmla="*/ 3959 h 9986"/>
                <a:gd name="connsiteX38" fmla="*/ 6679 w 10000"/>
                <a:gd name="connsiteY38" fmla="*/ 3900 h 9986"/>
                <a:gd name="connsiteX39" fmla="*/ 6664 w 10000"/>
                <a:gd name="connsiteY39" fmla="*/ 3840 h 9986"/>
                <a:gd name="connsiteX40" fmla="*/ 6649 w 10000"/>
                <a:gd name="connsiteY40" fmla="*/ 3781 h 9986"/>
                <a:gd name="connsiteX41" fmla="*/ 6635 w 10000"/>
                <a:gd name="connsiteY41" fmla="*/ 3726 h 9986"/>
                <a:gd name="connsiteX42" fmla="*/ 6620 w 10000"/>
                <a:gd name="connsiteY42" fmla="*/ 3666 h 9986"/>
                <a:gd name="connsiteX43" fmla="*/ 6612 w 10000"/>
                <a:gd name="connsiteY43" fmla="*/ 3607 h 9986"/>
                <a:gd name="connsiteX44" fmla="*/ 6605 w 10000"/>
                <a:gd name="connsiteY44" fmla="*/ 3547 h 9986"/>
                <a:gd name="connsiteX45" fmla="*/ 6597 w 10000"/>
                <a:gd name="connsiteY45" fmla="*/ 3483 h 9986"/>
                <a:gd name="connsiteX46" fmla="*/ 6597 w 10000"/>
                <a:gd name="connsiteY46" fmla="*/ 3423 h 9986"/>
                <a:gd name="connsiteX47" fmla="*/ 6590 w 10000"/>
                <a:gd name="connsiteY47" fmla="*/ 3359 h 9986"/>
                <a:gd name="connsiteX48" fmla="*/ 6597 w 10000"/>
                <a:gd name="connsiteY48" fmla="*/ 3299 h 9986"/>
                <a:gd name="connsiteX49" fmla="*/ 6605 w 10000"/>
                <a:gd name="connsiteY49" fmla="*/ 3231 h 9986"/>
                <a:gd name="connsiteX50" fmla="*/ 6605 w 10000"/>
                <a:gd name="connsiteY50" fmla="*/ 3167 h 9986"/>
                <a:gd name="connsiteX51" fmla="*/ 6612 w 10000"/>
                <a:gd name="connsiteY51" fmla="*/ 3102 h 9986"/>
                <a:gd name="connsiteX52" fmla="*/ 6620 w 10000"/>
                <a:gd name="connsiteY52" fmla="*/ 3038 h 9986"/>
                <a:gd name="connsiteX53" fmla="*/ 6635 w 10000"/>
                <a:gd name="connsiteY53" fmla="*/ 2979 h 9986"/>
                <a:gd name="connsiteX54" fmla="*/ 6649 w 10000"/>
                <a:gd name="connsiteY54" fmla="*/ 2915 h 9986"/>
                <a:gd name="connsiteX55" fmla="*/ 6664 w 10000"/>
                <a:gd name="connsiteY55" fmla="*/ 2855 h 9986"/>
                <a:gd name="connsiteX56" fmla="*/ 6686 w 10000"/>
                <a:gd name="connsiteY56" fmla="*/ 2791 h 9986"/>
                <a:gd name="connsiteX57" fmla="*/ 6709 w 10000"/>
                <a:gd name="connsiteY57" fmla="*/ 2731 h 9986"/>
                <a:gd name="connsiteX58" fmla="*/ 6731 w 10000"/>
                <a:gd name="connsiteY58" fmla="*/ 2672 h 9986"/>
                <a:gd name="connsiteX59" fmla="*/ 6753 w 10000"/>
                <a:gd name="connsiteY59" fmla="*/ 2607 h 9986"/>
                <a:gd name="connsiteX60" fmla="*/ 6783 w 10000"/>
                <a:gd name="connsiteY60" fmla="*/ 2552 h 9986"/>
                <a:gd name="connsiteX61" fmla="*/ 6812 w 10000"/>
                <a:gd name="connsiteY61" fmla="*/ 2493 h 9986"/>
                <a:gd name="connsiteX62" fmla="*/ 6842 w 10000"/>
                <a:gd name="connsiteY62" fmla="*/ 2433 h 9986"/>
                <a:gd name="connsiteX63" fmla="*/ 6879 w 10000"/>
                <a:gd name="connsiteY63" fmla="*/ 2374 h 9986"/>
                <a:gd name="connsiteX64" fmla="*/ 6909 w 10000"/>
                <a:gd name="connsiteY64" fmla="*/ 2319 h 9986"/>
                <a:gd name="connsiteX65" fmla="*/ 6946 w 10000"/>
                <a:gd name="connsiteY65" fmla="*/ 2259 h 9986"/>
                <a:gd name="connsiteX66" fmla="*/ 6990 w 10000"/>
                <a:gd name="connsiteY66" fmla="*/ 2204 h 9986"/>
                <a:gd name="connsiteX67" fmla="*/ 7027 w 10000"/>
                <a:gd name="connsiteY67" fmla="*/ 2149 h 9986"/>
                <a:gd name="connsiteX68" fmla="*/ 7072 w 10000"/>
                <a:gd name="connsiteY68" fmla="*/ 2094 h 9986"/>
                <a:gd name="connsiteX69" fmla="*/ 7109 w 10000"/>
                <a:gd name="connsiteY69" fmla="*/ 2039 h 9986"/>
                <a:gd name="connsiteX70" fmla="*/ 7161 w 10000"/>
                <a:gd name="connsiteY70" fmla="*/ 1989 h 9986"/>
                <a:gd name="connsiteX71" fmla="*/ 7213 w 10000"/>
                <a:gd name="connsiteY71" fmla="*/ 1934 h 9986"/>
                <a:gd name="connsiteX72" fmla="*/ 7257 w 10000"/>
                <a:gd name="connsiteY72" fmla="*/ 1879 h 9986"/>
                <a:gd name="connsiteX73" fmla="*/ 7309 w 10000"/>
                <a:gd name="connsiteY73" fmla="*/ 1828 h 9986"/>
                <a:gd name="connsiteX74" fmla="*/ 7361 w 10000"/>
                <a:gd name="connsiteY74" fmla="*/ 1778 h 9986"/>
                <a:gd name="connsiteX75" fmla="*/ 7413 w 10000"/>
                <a:gd name="connsiteY75" fmla="*/ 1728 h 9986"/>
                <a:gd name="connsiteX76" fmla="*/ 7472 w 10000"/>
                <a:gd name="connsiteY76" fmla="*/ 1677 h 9986"/>
                <a:gd name="connsiteX77" fmla="*/ 7524 w 10000"/>
                <a:gd name="connsiteY77" fmla="*/ 1631 h 9986"/>
                <a:gd name="connsiteX78" fmla="*/ 7583 w 10000"/>
                <a:gd name="connsiteY78" fmla="*/ 1585 h 9986"/>
                <a:gd name="connsiteX79" fmla="*/ 7643 w 10000"/>
                <a:gd name="connsiteY79" fmla="*/ 1535 h 9986"/>
                <a:gd name="connsiteX80" fmla="*/ 5390 w 10000"/>
                <a:gd name="connsiteY80" fmla="*/ 6 h 9986"/>
                <a:gd name="connsiteX81" fmla="*/ 1401 w 10000"/>
                <a:gd name="connsiteY81" fmla="*/ 0 h 9986"/>
                <a:gd name="connsiteX82" fmla="*/ 1305 w 10000"/>
                <a:gd name="connsiteY82" fmla="*/ 114 h 9986"/>
                <a:gd name="connsiteX83" fmla="*/ 1223 w 10000"/>
                <a:gd name="connsiteY83" fmla="*/ 206 h 9986"/>
                <a:gd name="connsiteX84" fmla="*/ 1149 w 10000"/>
                <a:gd name="connsiteY84" fmla="*/ 302 h 9986"/>
                <a:gd name="connsiteX85" fmla="*/ 1067 w 10000"/>
                <a:gd name="connsiteY85" fmla="*/ 398 h 9986"/>
                <a:gd name="connsiteX86" fmla="*/ 1001 w 10000"/>
                <a:gd name="connsiteY86" fmla="*/ 495 h 9986"/>
                <a:gd name="connsiteX87" fmla="*/ 927 w 10000"/>
                <a:gd name="connsiteY87" fmla="*/ 591 h 9986"/>
                <a:gd name="connsiteX88" fmla="*/ 860 w 10000"/>
                <a:gd name="connsiteY88" fmla="*/ 692 h 9986"/>
                <a:gd name="connsiteX89" fmla="*/ 793 w 10000"/>
                <a:gd name="connsiteY89" fmla="*/ 793 h 9986"/>
                <a:gd name="connsiteX90" fmla="*/ 734 w 10000"/>
                <a:gd name="connsiteY90" fmla="*/ 889 h 9986"/>
                <a:gd name="connsiteX91" fmla="*/ 675 w 10000"/>
                <a:gd name="connsiteY91" fmla="*/ 990 h 9986"/>
                <a:gd name="connsiteX92" fmla="*/ 615 w 10000"/>
                <a:gd name="connsiteY92" fmla="*/ 1090 h 9986"/>
                <a:gd name="connsiteX93" fmla="*/ 556 w 10000"/>
                <a:gd name="connsiteY93" fmla="*/ 1196 h 9986"/>
                <a:gd name="connsiteX94" fmla="*/ 504 w 10000"/>
                <a:gd name="connsiteY94" fmla="*/ 1292 h 9986"/>
                <a:gd name="connsiteX95" fmla="*/ 452 w 10000"/>
                <a:gd name="connsiteY95" fmla="*/ 1398 h 9986"/>
                <a:gd name="connsiteX96" fmla="*/ 408 w 10000"/>
                <a:gd name="connsiteY96" fmla="*/ 1498 h 9986"/>
                <a:gd name="connsiteX97" fmla="*/ 363 w 10000"/>
                <a:gd name="connsiteY97" fmla="*/ 1604 h 9986"/>
                <a:gd name="connsiteX98" fmla="*/ 319 w 10000"/>
                <a:gd name="connsiteY98" fmla="*/ 1709 h 9986"/>
                <a:gd name="connsiteX99" fmla="*/ 282 w 10000"/>
                <a:gd name="connsiteY99" fmla="*/ 1815 h 9986"/>
                <a:gd name="connsiteX100" fmla="*/ 237 w 10000"/>
                <a:gd name="connsiteY100" fmla="*/ 1925 h 9986"/>
                <a:gd name="connsiteX101" fmla="*/ 208 w 10000"/>
                <a:gd name="connsiteY101" fmla="*/ 2030 h 9986"/>
                <a:gd name="connsiteX102" fmla="*/ 170 w 10000"/>
                <a:gd name="connsiteY102" fmla="*/ 2140 h 9986"/>
                <a:gd name="connsiteX103" fmla="*/ 148 w 10000"/>
                <a:gd name="connsiteY103" fmla="*/ 2250 h 9986"/>
                <a:gd name="connsiteX104" fmla="*/ 119 w 10000"/>
                <a:gd name="connsiteY104" fmla="*/ 2355 h 9986"/>
                <a:gd name="connsiteX105" fmla="*/ 96 w 10000"/>
                <a:gd name="connsiteY105" fmla="*/ 2465 h 9986"/>
                <a:gd name="connsiteX106" fmla="*/ 74 w 10000"/>
                <a:gd name="connsiteY106" fmla="*/ 2575 h 9986"/>
                <a:gd name="connsiteX107" fmla="*/ 52 w 10000"/>
                <a:gd name="connsiteY107" fmla="*/ 2690 h 9986"/>
                <a:gd name="connsiteX108" fmla="*/ 37 w 10000"/>
                <a:gd name="connsiteY108" fmla="*/ 2800 h 9986"/>
                <a:gd name="connsiteX109" fmla="*/ 22 w 10000"/>
                <a:gd name="connsiteY109" fmla="*/ 2910 h 9986"/>
                <a:gd name="connsiteX110" fmla="*/ 15 w 10000"/>
                <a:gd name="connsiteY110" fmla="*/ 3020 h 9986"/>
                <a:gd name="connsiteX111" fmla="*/ 7 w 10000"/>
                <a:gd name="connsiteY111" fmla="*/ 3134 h 9986"/>
                <a:gd name="connsiteX112" fmla="*/ 0 w 10000"/>
                <a:gd name="connsiteY112" fmla="*/ 3244 h 9986"/>
                <a:gd name="connsiteX113" fmla="*/ 0 w 10000"/>
                <a:gd name="connsiteY113" fmla="*/ 3359 h 9986"/>
                <a:gd name="connsiteX114" fmla="*/ 7 w 10000"/>
                <a:gd name="connsiteY114" fmla="*/ 3506 h 9986"/>
                <a:gd name="connsiteX115" fmla="*/ 7 w 10000"/>
                <a:gd name="connsiteY115" fmla="*/ 3652 h 9986"/>
                <a:gd name="connsiteX116" fmla="*/ 22 w 10000"/>
                <a:gd name="connsiteY116" fmla="*/ 3790 h 9986"/>
                <a:gd name="connsiteX117" fmla="*/ 37 w 10000"/>
                <a:gd name="connsiteY117" fmla="*/ 3932 h 9986"/>
                <a:gd name="connsiteX118" fmla="*/ 59 w 10000"/>
                <a:gd name="connsiteY118" fmla="*/ 4074 h 9986"/>
                <a:gd name="connsiteX119" fmla="*/ 89 w 10000"/>
                <a:gd name="connsiteY119" fmla="*/ 4216 h 9986"/>
                <a:gd name="connsiteX120" fmla="*/ 119 w 10000"/>
                <a:gd name="connsiteY120" fmla="*/ 4358 h 9986"/>
                <a:gd name="connsiteX121" fmla="*/ 148 w 10000"/>
                <a:gd name="connsiteY121" fmla="*/ 4500 h 9986"/>
                <a:gd name="connsiteX122" fmla="*/ 193 w 10000"/>
                <a:gd name="connsiteY122" fmla="*/ 4638 h 9986"/>
                <a:gd name="connsiteX123" fmla="*/ 237 w 10000"/>
                <a:gd name="connsiteY123" fmla="*/ 4775 h 9986"/>
                <a:gd name="connsiteX124" fmla="*/ 282 w 10000"/>
                <a:gd name="connsiteY124" fmla="*/ 4913 h 9986"/>
                <a:gd name="connsiteX125" fmla="*/ 334 w 10000"/>
                <a:gd name="connsiteY125" fmla="*/ 5050 h 9986"/>
                <a:gd name="connsiteX126" fmla="*/ 393 w 10000"/>
                <a:gd name="connsiteY126" fmla="*/ 5183 h 9986"/>
                <a:gd name="connsiteX127" fmla="*/ 452 w 10000"/>
                <a:gd name="connsiteY127" fmla="*/ 5316 h 9986"/>
                <a:gd name="connsiteX128" fmla="*/ 519 w 10000"/>
                <a:gd name="connsiteY128" fmla="*/ 5449 h 9986"/>
                <a:gd name="connsiteX129" fmla="*/ 586 w 10000"/>
                <a:gd name="connsiteY129" fmla="*/ 5582 h 9986"/>
                <a:gd name="connsiteX130" fmla="*/ 660 w 10000"/>
                <a:gd name="connsiteY130" fmla="*/ 5710 h 9986"/>
                <a:gd name="connsiteX131" fmla="*/ 741 w 10000"/>
                <a:gd name="connsiteY131" fmla="*/ 5838 h 9986"/>
                <a:gd name="connsiteX132" fmla="*/ 823 w 10000"/>
                <a:gd name="connsiteY132" fmla="*/ 5971 h 9986"/>
                <a:gd name="connsiteX133" fmla="*/ 904 w 10000"/>
                <a:gd name="connsiteY133" fmla="*/ 6095 h 9986"/>
                <a:gd name="connsiteX134" fmla="*/ 993 w 10000"/>
                <a:gd name="connsiteY134" fmla="*/ 6219 h 9986"/>
                <a:gd name="connsiteX135" fmla="*/ 1090 w 10000"/>
                <a:gd name="connsiteY135" fmla="*/ 6338 h 9986"/>
                <a:gd name="connsiteX136" fmla="*/ 1186 w 10000"/>
                <a:gd name="connsiteY136" fmla="*/ 6462 h 9986"/>
                <a:gd name="connsiteX137" fmla="*/ 1290 w 10000"/>
                <a:gd name="connsiteY137" fmla="*/ 6585 h 9986"/>
                <a:gd name="connsiteX138" fmla="*/ 1386 w 10000"/>
                <a:gd name="connsiteY138" fmla="*/ 6705 h 9986"/>
                <a:gd name="connsiteX139" fmla="*/ 1497 w 10000"/>
                <a:gd name="connsiteY139" fmla="*/ 6824 h 9986"/>
                <a:gd name="connsiteX140" fmla="*/ 1609 w 10000"/>
                <a:gd name="connsiteY140" fmla="*/ 6938 h 9986"/>
                <a:gd name="connsiteX141" fmla="*/ 1727 w 10000"/>
                <a:gd name="connsiteY141" fmla="*/ 7057 h 9986"/>
                <a:gd name="connsiteX142" fmla="*/ 1846 w 10000"/>
                <a:gd name="connsiteY142" fmla="*/ 7172 h 9986"/>
                <a:gd name="connsiteX143" fmla="*/ 1964 w 10000"/>
                <a:gd name="connsiteY143" fmla="*/ 7282 h 9986"/>
                <a:gd name="connsiteX144" fmla="*/ 2090 w 10000"/>
                <a:gd name="connsiteY144" fmla="*/ 7392 h 9986"/>
                <a:gd name="connsiteX145" fmla="*/ 2224 w 10000"/>
                <a:gd name="connsiteY145" fmla="*/ 7502 h 9986"/>
                <a:gd name="connsiteX146" fmla="*/ 2350 w 10000"/>
                <a:gd name="connsiteY146" fmla="*/ 7612 h 9986"/>
                <a:gd name="connsiteX147" fmla="*/ 2491 w 10000"/>
                <a:gd name="connsiteY147" fmla="*/ 7717 h 9986"/>
                <a:gd name="connsiteX148" fmla="*/ 2617 w 10000"/>
                <a:gd name="connsiteY148" fmla="*/ 7823 h 9986"/>
                <a:gd name="connsiteX149" fmla="*/ 2765 w 10000"/>
                <a:gd name="connsiteY149" fmla="*/ 7924 h 9986"/>
                <a:gd name="connsiteX150" fmla="*/ 2906 w 10000"/>
                <a:gd name="connsiteY150" fmla="*/ 8024 h 9986"/>
                <a:gd name="connsiteX151" fmla="*/ 3054 w 10000"/>
                <a:gd name="connsiteY151" fmla="*/ 8125 h 9986"/>
                <a:gd name="connsiteX152" fmla="*/ 3210 w 10000"/>
                <a:gd name="connsiteY152" fmla="*/ 8222 h 9986"/>
                <a:gd name="connsiteX153" fmla="*/ 3358 w 10000"/>
                <a:gd name="connsiteY153" fmla="*/ 8318 h 9986"/>
                <a:gd name="connsiteX154" fmla="*/ 3514 w 10000"/>
                <a:gd name="connsiteY154" fmla="*/ 8414 h 9986"/>
                <a:gd name="connsiteX155" fmla="*/ 3677 w 10000"/>
                <a:gd name="connsiteY155" fmla="*/ 8506 h 9986"/>
                <a:gd name="connsiteX156" fmla="*/ 3840 w 10000"/>
                <a:gd name="connsiteY156" fmla="*/ 8593 h 9986"/>
                <a:gd name="connsiteX157" fmla="*/ 4010 w 10000"/>
                <a:gd name="connsiteY157" fmla="*/ 8684 h 9986"/>
                <a:gd name="connsiteX158" fmla="*/ 4181 w 10000"/>
                <a:gd name="connsiteY158" fmla="*/ 8762 h 9986"/>
                <a:gd name="connsiteX159" fmla="*/ 4351 w 10000"/>
                <a:gd name="connsiteY159" fmla="*/ 8849 h 9986"/>
                <a:gd name="connsiteX160" fmla="*/ 4522 w 10000"/>
                <a:gd name="connsiteY160" fmla="*/ 8927 h 9986"/>
                <a:gd name="connsiteX161" fmla="*/ 4700 w 10000"/>
                <a:gd name="connsiteY161" fmla="*/ 9010 h 9986"/>
                <a:gd name="connsiteX162" fmla="*/ 4878 w 10000"/>
                <a:gd name="connsiteY162" fmla="*/ 9088 h 9986"/>
                <a:gd name="connsiteX163" fmla="*/ 5063 w 10000"/>
                <a:gd name="connsiteY163" fmla="*/ 9161 h 9986"/>
                <a:gd name="connsiteX164" fmla="*/ 5248 w 10000"/>
                <a:gd name="connsiteY164" fmla="*/ 9239 h 9986"/>
                <a:gd name="connsiteX165" fmla="*/ 5426 w 10000"/>
                <a:gd name="connsiteY165" fmla="*/ 9308 h 9986"/>
                <a:gd name="connsiteX166" fmla="*/ 5619 w 10000"/>
                <a:gd name="connsiteY166" fmla="*/ 9376 h 9986"/>
                <a:gd name="connsiteX167" fmla="*/ 5812 w 10000"/>
                <a:gd name="connsiteY167" fmla="*/ 9445 h 9986"/>
                <a:gd name="connsiteX168" fmla="*/ 6004 w 10000"/>
                <a:gd name="connsiteY168" fmla="*/ 9509 h 9986"/>
                <a:gd name="connsiteX169" fmla="*/ 6205 w 10000"/>
                <a:gd name="connsiteY169" fmla="*/ 9574 h 9986"/>
                <a:gd name="connsiteX170" fmla="*/ 6397 w 10000"/>
                <a:gd name="connsiteY170" fmla="*/ 9633 h 9986"/>
                <a:gd name="connsiteX171" fmla="*/ 6605 w 10000"/>
                <a:gd name="connsiteY171" fmla="*/ 9688 h 9986"/>
                <a:gd name="connsiteX172" fmla="*/ 6805 w 10000"/>
                <a:gd name="connsiteY172" fmla="*/ 9743 h 9986"/>
                <a:gd name="connsiteX173" fmla="*/ 7005 w 10000"/>
                <a:gd name="connsiteY173" fmla="*/ 9798 h 9986"/>
                <a:gd name="connsiteX174" fmla="*/ 7213 w 10000"/>
                <a:gd name="connsiteY174" fmla="*/ 9849 h 9986"/>
                <a:gd name="connsiteX175" fmla="*/ 7420 w 10000"/>
                <a:gd name="connsiteY175" fmla="*/ 9894 h 9986"/>
                <a:gd name="connsiteX176" fmla="*/ 7628 w 10000"/>
                <a:gd name="connsiteY176" fmla="*/ 9940 h 9986"/>
                <a:gd name="connsiteX177" fmla="*/ 7835 w 10000"/>
                <a:gd name="connsiteY177" fmla="*/ 9986 h 9986"/>
                <a:gd name="connsiteX178" fmla="*/ 7539 w 10000"/>
                <a:gd name="connsiteY178" fmla="*/ 7740 h 9986"/>
                <a:gd name="connsiteX179" fmla="*/ 10000 w 10000"/>
                <a:gd name="connsiteY179" fmla="*/ 6127 h 9986"/>
                <a:gd name="connsiteX0" fmla="*/ 10000 w 10000"/>
                <a:gd name="connsiteY0" fmla="*/ 6136 h 10000"/>
                <a:gd name="connsiteX1" fmla="*/ 10000 w 10000"/>
                <a:gd name="connsiteY1" fmla="*/ 6136 h 10000"/>
                <a:gd name="connsiteX2" fmla="*/ 9911 w 10000"/>
                <a:gd name="connsiteY2" fmla="*/ 6122 h 10000"/>
                <a:gd name="connsiteX3" fmla="*/ 9815 w 10000"/>
                <a:gd name="connsiteY3" fmla="*/ 6104 h 10000"/>
                <a:gd name="connsiteX4" fmla="*/ 9726 w 10000"/>
                <a:gd name="connsiteY4" fmla="*/ 6086 h 10000"/>
                <a:gd name="connsiteX5" fmla="*/ 9637 w 10000"/>
                <a:gd name="connsiteY5" fmla="*/ 6062 h 10000"/>
                <a:gd name="connsiteX6" fmla="*/ 9548 w 10000"/>
                <a:gd name="connsiteY6" fmla="*/ 6043 h 10000"/>
                <a:gd name="connsiteX7" fmla="*/ 9466 w 10000"/>
                <a:gd name="connsiteY7" fmla="*/ 6021 h 10000"/>
                <a:gd name="connsiteX8" fmla="*/ 9377 w 10000"/>
                <a:gd name="connsiteY8" fmla="*/ 5998 h 10000"/>
                <a:gd name="connsiteX9" fmla="*/ 9288 w 10000"/>
                <a:gd name="connsiteY9" fmla="*/ 5975 h 10000"/>
                <a:gd name="connsiteX10" fmla="*/ 9118 w 10000"/>
                <a:gd name="connsiteY10" fmla="*/ 5924 h 10000"/>
                <a:gd name="connsiteX11" fmla="*/ 8955 w 10000"/>
                <a:gd name="connsiteY11" fmla="*/ 5869 h 10000"/>
                <a:gd name="connsiteX12" fmla="*/ 8792 w 10000"/>
                <a:gd name="connsiteY12" fmla="*/ 5810 h 10000"/>
                <a:gd name="connsiteX13" fmla="*/ 8636 w 10000"/>
                <a:gd name="connsiteY13" fmla="*/ 5746 h 10000"/>
                <a:gd name="connsiteX14" fmla="*/ 8480 w 10000"/>
                <a:gd name="connsiteY14" fmla="*/ 5681 h 10000"/>
                <a:gd name="connsiteX15" fmla="*/ 8340 w 10000"/>
                <a:gd name="connsiteY15" fmla="*/ 5613 h 10000"/>
                <a:gd name="connsiteX16" fmla="*/ 8199 w 10000"/>
                <a:gd name="connsiteY16" fmla="*/ 5539 h 10000"/>
                <a:gd name="connsiteX17" fmla="*/ 8058 w 10000"/>
                <a:gd name="connsiteY17" fmla="*/ 5461 h 10000"/>
                <a:gd name="connsiteX18" fmla="*/ 7924 w 10000"/>
                <a:gd name="connsiteY18" fmla="*/ 5379 h 10000"/>
                <a:gd name="connsiteX19" fmla="*/ 7798 w 10000"/>
                <a:gd name="connsiteY19" fmla="*/ 5295 h 10000"/>
                <a:gd name="connsiteX20" fmla="*/ 7672 w 10000"/>
                <a:gd name="connsiteY20" fmla="*/ 5208 h 10000"/>
                <a:gd name="connsiteX21" fmla="*/ 7554 w 10000"/>
                <a:gd name="connsiteY21" fmla="*/ 5121 h 10000"/>
                <a:gd name="connsiteX22" fmla="*/ 7450 w 10000"/>
                <a:gd name="connsiteY22" fmla="*/ 5025 h 10000"/>
                <a:gd name="connsiteX23" fmla="*/ 7346 w 10000"/>
                <a:gd name="connsiteY23" fmla="*/ 4929 h 10000"/>
                <a:gd name="connsiteX24" fmla="*/ 7250 w 10000"/>
                <a:gd name="connsiteY24" fmla="*/ 4833 h 10000"/>
                <a:gd name="connsiteX25" fmla="*/ 7161 w 10000"/>
                <a:gd name="connsiteY25" fmla="*/ 4732 h 10000"/>
                <a:gd name="connsiteX26" fmla="*/ 7072 w 10000"/>
                <a:gd name="connsiteY26" fmla="*/ 4630 h 10000"/>
                <a:gd name="connsiteX27" fmla="*/ 6990 w 10000"/>
                <a:gd name="connsiteY27" fmla="*/ 4520 h 10000"/>
                <a:gd name="connsiteX28" fmla="*/ 6953 w 10000"/>
                <a:gd name="connsiteY28" fmla="*/ 4470 h 10000"/>
                <a:gd name="connsiteX29" fmla="*/ 6916 w 10000"/>
                <a:gd name="connsiteY29" fmla="*/ 4415 h 10000"/>
                <a:gd name="connsiteX30" fmla="*/ 6887 w 10000"/>
                <a:gd name="connsiteY30" fmla="*/ 4360 h 10000"/>
                <a:gd name="connsiteX31" fmla="*/ 6850 w 10000"/>
                <a:gd name="connsiteY31" fmla="*/ 4305 h 10000"/>
                <a:gd name="connsiteX32" fmla="*/ 6820 w 10000"/>
                <a:gd name="connsiteY32" fmla="*/ 4250 h 10000"/>
                <a:gd name="connsiteX33" fmla="*/ 6790 w 10000"/>
                <a:gd name="connsiteY33" fmla="*/ 4195 h 10000"/>
                <a:gd name="connsiteX34" fmla="*/ 6768 w 10000"/>
                <a:gd name="connsiteY34" fmla="*/ 4135 h 10000"/>
                <a:gd name="connsiteX35" fmla="*/ 6738 w 10000"/>
                <a:gd name="connsiteY35" fmla="*/ 4080 h 10000"/>
                <a:gd name="connsiteX36" fmla="*/ 6723 w 10000"/>
                <a:gd name="connsiteY36" fmla="*/ 4020 h 10000"/>
                <a:gd name="connsiteX37" fmla="*/ 6694 w 10000"/>
                <a:gd name="connsiteY37" fmla="*/ 3965 h 10000"/>
                <a:gd name="connsiteX38" fmla="*/ 6679 w 10000"/>
                <a:gd name="connsiteY38" fmla="*/ 3905 h 10000"/>
                <a:gd name="connsiteX39" fmla="*/ 6664 w 10000"/>
                <a:gd name="connsiteY39" fmla="*/ 3845 h 10000"/>
                <a:gd name="connsiteX40" fmla="*/ 6649 w 10000"/>
                <a:gd name="connsiteY40" fmla="*/ 3786 h 10000"/>
                <a:gd name="connsiteX41" fmla="*/ 6635 w 10000"/>
                <a:gd name="connsiteY41" fmla="*/ 3731 h 10000"/>
                <a:gd name="connsiteX42" fmla="*/ 6620 w 10000"/>
                <a:gd name="connsiteY42" fmla="*/ 3671 h 10000"/>
                <a:gd name="connsiteX43" fmla="*/ 6612 w 10000"/>
                <a:gd name="connsiteY43" fmla="*/ 3612 h 10000"/>
                <a:gd name="connsiteX44" fmla="*/ 6605 w 10000"/>
                <a:gd name="connsiteY44" fmla="*/ 3552 h 10000"/>
                <a:gd name="connsiteX45" fmla="*/ 6597 w 10000"/>
                <a:gd name="connsiteY45" fmla="*/ 3488 h 10000"/>
                <a:gd name="connsiteX46" fmla="*/ 6597 w 10000"/>
                <a:gd name="connsiteY46" fmla="*/ 3428 h 10000"/>
                <a:gd name="connsiteX47" fmla="*/ 6590 w 10000"/>
                <a:gd name="connsiteY47" fmla="*/ 3364 h 10000"/>
                <a:gd name="connsiteX48" fmla="*/ 6597 w 10000"/>
                <a:gd name="connsiteY48" fmla="*/ 3304 h 10000"/>
                <a:gd name="connsiteX49" fmla="*/ 6605 w 10000"/>
                <a:gd name="connsiteY49" fmla="*/ 3236 h 10000"/>
                <a:gd name="connsiteX50" fmla="*/ 6605 w 10000"/>
                <a:gd name="connsiteY50" fmla="*/ 3171 h 10000"/>
                <a:gd name="connsiteX51" fmla="*/ 6612 w 10000"/>
                <a:gd name="connsiteY51" fmla="*/ 3106 h 10000"/>
                <a:gd name="connsiteX52" fmla="*/ 6620 w 10000"/>
                <a:gd name="connsiteY52" fmla="*/ 3042 h 10000"/>
                <a:gd name="connsiteX53" fmla="*/ 6635 w 10000"/>
                <a:gd name="connsiteY53" fmla="*/ 2983 h 10000"/>
                <a:gd name="connsiteX54" fmla="*/ 6649 w 10000"/>
                <a:gd name="connsiteY54" fmla="*/ 2919 h 10000"/>
                <a:gd name="connsiteX55" fmla="*/ 6664 w 10000"/>
                <a:gd name="connsiteY55" fmla="*/ 2859 h 10000"/>
                <a:gd name="connsiteX56" fmla="*/ 6686 w 10000"/>
                <a:gd name="connsiteY56" fmla="*/ 2795 h 10000"/>
                <a:gd name="connsiteX57" fmla="*/ 6709 w 10000"/>
                <a:gd name="connsiteY57" fmla="*/ 2735 h 10000"/>
                <a:gd name="connsiteX58" fmla="*/ 6731 w 10000"/>
                <a:gd name="connsiteY58" fmla="*/ 2676 h 10000"/>
                <a:gd name="connsiteX59" fmla="*/ 6753 w 10000"/>
                <a:gd name="connsiteY59" fmla="*/ 2611 h 10000"/>
                <a:gd name="connsiteX60" fmla="*/ 6783 w 10000"/>
                <a:gd name="connsiteY60" fmla="*/ 2556 h 10000"/>
                <a:gd name="connsiteX61" fmla="*/ 6812 w 10000"/>
                <a:gd name="connsiteY61" fmla="*/ 2496 h 10000"/>
                <a:gd name="connsiteX62" fmla="*/ 6842 w 10000"/>
                <a:gd name="connsiteY62" fmla="*/ 2436 h 10000"/>
                <a:gd name="connsiteX63" fmla="*/ 6879 w 10000"/>
                <a:gd name="connsiteY63" fmla="*/ 2377 h 10000"/>
                <a:gd name="connsiteX64" fmla="*/ 6909 w 10000"/>
                <a:gd name="connsiteY64" fmla="*/ 2322 h 10000"/>
                <a:gd name="connsiteX65" fmla="*/ 6946 w 10000"/>
                <a:gd name="connsiteY65" fmla="*/ 2262 h 10000"/>
                <a:gd name="connsiteX66" fmla="*/ 6990 w 10000"/>
                <a:gd name="connsiteY66" fmla="*/ 2207 h 10000"/>
                <a:gd name="connsiteX67" fmla="*/ 7027 w 10000"/>
                <a:gd name="connsiteY67" fmla="*/ 2152 h 10000"/>
                <a:gd name="connsiteX68" fmla="*/ 7072 w 10000"/>
                <a:gd name="connsiteY68" fmla="*/ 2097 h 10000"/>
                <a:gd name="connsiteX69" fmla="*/ 7109 w 10000"/>
                <a:gd name="connsiteY69" fmla="*/ 2042 h 10000"/>
                <a:gd name="connsiteX70" fmla="*/ 7161 w 10000"/>
                <a:gd name="connsiteY70" fmla="*/ 1992 h 10000"/>
                <a:gd name="connsiteX71" fmla="*/ 7213 w 10000"/>
                <a:gd name="connsiteY71" fmla="*/ 1937 h 10000"/>
                <a:gd name="connsiteX72" fmla="*/ 7257 w 10000"/>
                <a:gd name="connsiteY72" fmla="*/ 1882 h 10000"/>
                <a:gd name="connsiteX73" fmla="*/ 7309 w 10000"/>
                <a:gd name="connsiteY73" fmla="*/ 1831 h 10000"/>
                <a:gd name="connsiteX74" fmla="*/ 7361 w 10000"/>
                <a:gd name="connsiteY74" fmla="*/ 1780 h 10000"/>
                <a:gd name="connsiteX75" fmla="*/ 7413 w 10000"/>
                <a:gd name="connsiteY75" fmla="*/ 1730 h 10000"/>
                <a:gd name="connsiteX76" fmla="*/ 7472 w 10000"/>
                <a:gd name="connsiteY76" fmla="*/ 1679 h 10000"/>
                <a:gd name="connsiteX77" fmla="*/ 7524 w 10000"/>
                <a:gd name="connsiteY77" fmla="*/ 1633 h 10000"/>
                <a:gd name="connsiteX78" fmla="*/ 7583 w 10000"/>
                <a:gd name="connsiteY78" fmla="*/ 1587 h 10000"/>
                <a:gd name="connsiteX79" fmla="*/ 7610 w 10000"/>
                <a:gd name="connsiteY79" fmla="*/ 1558 h 10000"/>
                <a:gd name="connsiteX80" fmla="*/ 5390 w 10000"/>
                <a:gd name="connsiteY80" fmla="*/ 6 h 10000"/>
                <a:gd name="connsiteX81" fmla="*/ 1401 w 10000"/>
                <a:gd name="connsiteY81" fmla="*/ 0 h 10000"/>
                <a:gd name="connsiteX82" fmla="*/ 1305 w 10000"/>
                <a:gd name="connsiteY82" fmla="*/ 114 h 10000"/>
                <a:gd name="connsiteX83" fmla="*/ 1223 w 10000"/>
                <a:gd name="connsiteY83" fmla="*/ 206 h 10000"/>
                <a:gd name="connsiteX84" fmla="*/ 1149 w 10000"/>
                <a:gd name="connsiteY84" fmla="*/ 302 h 10000"/>
                <a:gd name="connsiteX85" fmla="*/ 1067 w 10000"/>
                <a:gd name="connsiteY85" fmla="*/ 399 h 10000"/>
                <a:gd name="connsiteX86" fmla="*/ 1001 w 10000"/>
                <a:gd name="connsiteY86" fmla="*/ 496 h 10000"/>
                <a:gd name="connsiteX87" fmla="*/ 927 w 10000"/>
                <a:gd name="connsiteY87" fmla="*/ 592 h 10000"/>
                <a:gd name="connsiteX88" fmla="*/ 860 w 10000"/>
                <a:gd name="connsiteY88" fmla="*/ 693 h 10000"/>
                <a:gd name="connsiteX89" fmla="*/ 793 w 10000"/>
                <a:gd name="connsiteY89" fmla="*/ 794 h 10000"/>
                <a:gd name="connsiteX90" fmla="*/ 734 w 10000"/>
                <a:gd name="connsiteY90" fmla="*/ 890 h 10000"/>
                <a:gd name="connsiteX91" fmla="*/ 675 w 10000"/>
                <a:gd name="connsiteY91" fmla="*/ 991 h 10000"/>
                <a:gd name="connsiteX92" fmla="*/ 615 w 10000"/>
                <a:gd name="connsiteY92" fmla="*/ 1092 h 10000"/>
                <a:gd name="connsiteX93" fmla="*/ 556 w 10000"/>
                <a:gd name="connsiteY93" fmla="*/ 1198 h 10000"/>
                <a:gd name="connsiteX94" fmla="*/ 504 w 10000"/>
                <a:gd name="connsiteY94" fmla="*/ 1294 h 10000"/>
                <a:gd name="connsiteX95" fmla="*/ 452 w 10000"/>
                <a:gd name="connsiteY95" fmla="*/ 1400 h 10000"/>
                <a:gd name="connsiteX96" fmla="*/ 408 w 10000"/>
                <a:gd name="connsiteY96" fmla="*/ 1500 h 10000"/>
                <a:gd name="connsiteX97" fmla="*/ 363 w 10000"/>
                <a:gd name="connsiteY97" fmla="*/ 1606 h 10000"/>
                <a:gd name="connsiteX98" fmla="*/ 319 w 10000"/>
                <a:gd name="connsiteY98" fmla="*/ 1711 h 10000"/>
                <a:gd name="connsiteX99" fmla="*/ 282 w 10000"/>
                <a:gd name="connsiteY99" fmla="*/ 1818 h 10000"/>
                <a:gd name="connsiteX100" fmla="*/ 237 w 10000"/>
                <a:gd name="connsiteY100" fmla="*/ 1928 h 10000"/>
                <a:gd name="connsiteX101" fmla="*/ 208 w 10000"/>
                <a:gd name="connsiteY101" fmla="*/ 2033 h 10000"/>
                <a:gd name="connsiteX102" fmla="*/ 170 w 10000"/>
                <a:gd name="connsiteY102" fmla="*/ 2143 h 10000"/>
                <a:gd name="connsiteX103" fmla="*/ 148 w 10000"/>
                <a:gd name="connsiteY103" fmla="*/ 2253 h 10000"/>
                <a:gd name="connsiteX104" fmla="*/ 119 w 10000"/>
                <a:gd name="connsiteY104" fmla="*/ 2358 h 10000"/>
                <a:gd name="connsiteX105" fmla="*/ 96 w 10000"/>
                <a:gd name="connsiteY105" fmla="*/ 2468 h 10000"/>
                <a:gd name="connsiteX106" fmla="*/ 74 w 10000"/>
                <a:gd name="connsiteY106" fmla="*/ 2579 h 10000"/>
                <a:gd name="connsiteX107" fmla="*/ 52 w 10000"/>
                <a:gd name="connsiteY107" fmla="*/ 2694 h 10000"/>
                <a:gd name="connsiteX108" fmla="*/ 37 w 10000"/>
                <a:gd name="connsiteY108" fmla="*/ 2804 h 10000"/>
                <a:gd name="connsiteX109" fmla="*/ 22 w 10000"/>
                <a:gd name="connsiteY109" fmla="*/ 2914 h 10000"/>
                <a:gd name="connsiteX110" fmla="*/ 15 w 10000"/>
                <a:gd name="connsiteY110" fmla="*/ 3024 h 10000"/>
                <a:gd name="connsiteX111" fmla="*/ 7 w 10000"/>
                <a:gd name="connsiteY111" fmla="*/ 3138 h 10000"/>
                <a:gd name="connsiteX112" fmla="*/ 0 w 10000"/>
                <a:gd name="connsiteY112" fmla="*/ 3249 h 10000"/>
                <a:gd name="connsiteX113" fmla="*/ 0 w 10000"/>
                <a:gd name="connsiteY113" fmla="*/ 3364 h 10000"/>
                <a:gd name="connsiteX114" fmla="*/ 7 w 10000"/>
                <a:gd name="connsiteY114" fmla="*/ 3511 h 10000"/>
                <a:gd name="connsiteX115" fmla="*/ 7 w 10000"/>
                <a:gd name="connsiteY115" fmla="*/ 3657 h 10000"/>
                <a:gd name="connsiteX116" fmla="*/ 22 w 10000"/>
                <a:gd name="connsiteY116" fmla="*/ 3795 h 10000"/>
                <a:gd name="connsiteX117" fmla="*/ 37 w 10000"/>
                <a:gd name="connsiteY117" fmla="*/ 3938 h 10000"/>
                <a:gd name="connsiteX118" fmla="*/ 59 w 10000"/>
                <a:gd name="connsiteY118" fmla="*/ 4080 h 10000"/>
                <a:gd name="connsiteX119" fmla="*/ 89 w 10000"/>
                <a:gd name="connsiteY119" fmla="*/ 4222 h 10000"/>
                <a:gd name="connsiteX120" fmla="*/ 119 w 10000"/>
                <a:gd name="connsiteY120" fmla="*/ 4364 h 10000"/>
                <a:gd name="connsiteX121" fmla="*/ 148 w 10000"/>
                <a:gd name="connsiteY121" fmla="*/ 4506 h 10000"/>
                <a:gd name="connsiteX122" fmla="*/ 193 w 10000"/>
                <a:gd name="connsiteY122" fmla="*/ 4645 h 10000"/>
                <a:gd name="connsiteX123" fmla="*/ 237 w 10000"/>
                <a:gd name="connsiteY123" fmla="*/ 4782 h 10000"/>
                <a:gd name="connsiteX124" fmla="*/ 282 w 10000"/>
                <a:gd name="connsiteY124" fmla="*/ 4920 h 10000"/>
                <a:gd name="connsiteX125" fmla="*/ 334 w 10000"/>
                <a:gd name="connsiteY125" fmla="*/ 5057 h 10000"/>
                <a:gd name="connsiteX126" fmla="*/ 393 w 10000"/>
                <a:gd name="connsiteY126" fmla="*/ 5190 h 10000"/>
                <a:gd name="connsiteX127" fmla="*/ 452 w 10000"/>
                <a:gd name="connsiteY127" fmla="*/ 5323 h 10000"/>
                <a:gd name="connsiteX128" fmla="*/ 519 w 10000"/>
                <a:gd name="connsiteY128" fmla="*/ 5457 h 10000"/>
                <a:gd name="connsiteX129" fmla="*/ 586 w 10000"/>
                <a:gd name="connsiteY129" fmla="*/ 5590 h 10000"/>
                <a:gd name="connsiteX130" fmla="*/ 660 w 10000"/>
                <a:gd name="connsiteY130" fmla="*/ 5718 h 10000"/>
                <a:gd name="connsiteX131" fmla="*/ 741 w 10000"/>
                <a:gd name="connsiteY131" fmla="*/ 5846 h 10000"/>
                <a:gd name="connsiteX132" fmla="*/ 823 w 10000"/>
                <a:gd name="connsiteY132" fmla="*/ 5979 h 10000"/>
                <a:gd name="connsiteX133" fmla="*/ 904 w 10000"/>
                <a:gd name="connsiteY133" fmla="*/ 6104 h 10000"/>
                <a:gd name="connsiteX134" fmla="*/ 993 w 10000"/>
                <a:gd name="connsiteY134" fmla="*/ 6228 h 10000"/>
                <a:gd name="connsiteX135" fmla="*/ 1090 w 10000"/>
                <a:gd name="connsiteY135" fmla="*/ 6347 h 10000"/>
                <a:gd name="connsiteX136" fmla="*/ 1186 w 10000"/>
                <a:gd name="connsiteY136" fmla="*/ 6471 h 10000"/>
                <a:gd name="connsiteX137" fmla="*/ 1290 w 10000"/>
                <a:gd name="connsiteY137" fmla="*/ 6594 h 10000"/>
                <a:gd name="connsiteX138" fmla="*/ 1386 w 10000"/>
                <a:gd name="connsiteY138" fmla="*/ 6714 h 10000"/>
                <a:gd name="connsiteX139" fmla="*/ 1497 w 10000"/>
                <a:gd name="connsiteY139" fmla="*/ 6834 h 10000"/>
                <a:gd name="connsiteX140" fmla="*/ 1609 w 10000"/>
                <a:gd name="connsiteY140" fmla="*/ 6948 h 10000"/>
                <a:gd name="connsiteX141" fmla="*/ 1727 w 10000"/>
                <a:gd name="connsiteY141" fmla="*/ 7067 h 10000"/>
                <a:gd name="connsiteX142" fmla="*/ 1846 w 10000"/>
                <a:gd name="connsiteY142" fmla="*/ 7182 h 10000"/>
                <a:gd name="connsiteX143" fmla="*/ 1964 w 10000"/>
                <a:gd name="connsiteY143" fmla="*/ 7292 h 10000"/>
                <a:gd name="connsiteX144" fmla="*/ 2090 w 10000"/>
                <a:gd name="connsiteY144" fmla="*/ 7402 h 10000"/>
                <a:gd name="connsiteX145" fmla="*/ 2224 w 10000"/>
                <a:gd name="connsiteY145" fmla="*/ 7513 h 10000"/>
                <a:gd name="connsiteX146" fmla="*/ 2350 w 10000"/>
                <a:gd name="connsiteY146" fmla="*/ 7623 h 10000"/>
                <a:gd name="connsiteX147" fmla="*/ 2491 w 10000"/>
                <a:gd name="connsiteY147" fmla="*/ 7728 h 10000"/>
                <a:gd name="connsiteX148" fmla="*/ 2617 w 10000"/>
                <a:gd name="connsiteY148" fmla="*/ 7834 h 10000"/>
                <a:gd name="connsiteX149" fmla="*/ 2765 w 10000"/>
                <a:gd name="connsiteY149" fmla="*/ 7935 h 10000"/>
                <a:gd name="connsiteX150" fmla="*/ 2906 w 10000"/>
                <a:gd name="connsiteY150" fmla="*/ 8035 h 10000"/>
                <a:gd name="connsiteX151" fmla="*/ 3054 w 10000"/>
                <a:gd name="connsiteY151" fmla="*/ 8136 h 10000"/>
                <a:gd name="connsiteX152" fmla="*/ 3210 w 10000"/>
                <a:gd name="connsiteY152" fmla="*/ 8234 h 10000"/>
                <a:gd name="connsiteX153" fmla="*/ 3358 w 10000"/>
                <a:gd name="connsiteY153" fmla="*/ 8330 h 10000"/>
                <a:gd name="connsiteX154" fmla="*/ 3514 w 10000"/>
                <a:gd name="connsiteY154" fmla="*/ 8426 h 10000"/>
                <a:gd name="connsiteX155" fmla="*/ 3677 w 10000"/>
                <a:gd name="connsiteY155" fmla="*/ 8518 h 10000"/>
                <a:gd name="connsiteX156" fmla="*/ 3840 w 10000"/>
                <a:gd name="connsiteY156" fmla="*/ 8605 h 10000"/>
                <a:gd name="connsiteX157" fmla="*/ 4010 w 10000"/>
                <a:gd name="connsiteY157" fmla="*/ 8696 h 10000"/>
                <a:gd name="connsiteX158" fmla="*/ 4181 w 10000"/>
                <a:gd name="connsiteY158" fmla="*/ 8774 h 10000"/>
                <a:gd name="connsiteX159" fmla="*/ 4351 w 10000"/>
                <a:gd name="connsiteY159" fmla="*/ 8861 h 10000"/>
                <a:gd name="connsiteX160" fmla="*/ 4522 w 10000"/>
                <a:gd name="connsiteY160" fmla="*/ 8940 h 10000"/>
                <a:gd name="connsiteX161" fmla="*/ 4700 w 10000"/>
                <a:gd name="connsiteY161" fmla="*/ 9023 h 10000"/>
                <a:gd name="connsiteX162" fmla="*/ 4878 w 10000"/>
                <a:gd name="connsiteY162" fmla="*/ 9101 h 10000"/>
                <a:gd name="connsiteX163" fmla="*/ 5063 w 10000"/>
                <a:gd name="connsiteY163" fmla="*/ 9174 h 10000"/>
                <a:gd name="connsiteX164" fmla="*/ 5248 w 10000"/>
                <a:gd name="connsiteY164" fmla="*/ 9252 h 10000"/>
                <a:gd name="connsiteX165" fmla="*/ 5426 w 10000"/>
                <a:gd name="connsiteY165" fmla="*/ 9321 h 10000"/>
                <a:gd name="connsiteX166" fmla="*/ 5619 w 10000"/>
                <a:gd name="connsiteY166" fmla="*/ 9389 h 10000"/>
                <a:gd name="connsiteX167" fmla="*/ 5812 w 10000"/>
                <a:gd name="connsiteY167" fmla="*/ 9458 h 10000"/>
                <a:gd name="connsiteX168" fmla="*/ 6004 w 10000"/>
                <a:gd name="connsiteY168" fmla="*/ 9522 h 10000"/>
                <a:gd name="connsiteX169" fmla="*/ 6205 w 10000"/>
                <a:gd name="connsiteY169" fmla="*/ 9587 h 10000"/>
                <a:gd name="connsiteX170" fmla="*/ 6397 w 10000"/>
                <a:gd name="connsiteY170" fmla="*/ 9647 h 10000"/>
                <a:gd name="connsiteX171" fmla="*/ 6605 w 10000"/>
                <a:gd name="connsiteY171" fmla="*/ 9702 h 10000"/>
                <a:gd name="connsiteX172" fmla="*/ 6805 w 10000"/>
                <a:gd name="connsiteY172" fmla="*/ 9757 h 10000"/>
                <a:gd name="connsiteX173" fmla="*/ 7005 w 10000"/>
                <a:gd name="connsiteY173" fmla="*/ 9812 h 10000"/>
                <a:gd name="connsiteX174" fmla="*/ 7213 w 10000"/>
                <a:gd name="connsiteY174" fmla="*/ 9863 h 10000"/>
                <a:gd name="connsiteX175" fmla="*/ 7420 w 10000"/>
                <a:gd name="connsiteY175" fmla="*/ 9908 h 10000"/>
                <a:gd name="connsiteX176" fmla="*/ 7628 w 10000"/>
                <a:gd name="connsiteY176" fmla="*/ 9954 h 10000"/>
                <a:gd name="connsiteX177" fmla="*/ 7835 w 10000"/>
                <a:gd name="connsiteY177" fmla="*/ 10000 h 10000"/>
                <a:gd name="connsiteX178" fmla="*/ 7539 w 10000"/>
                <a:gd name="connsiteY178" fmla="*/ 7751 h 10000"/>
                <a:gd name="connsiteX179" fmla="*/ 10000 w 10000"/>
                <a:gd name="connsiteY179" fmla="*/ 6136 h 10000"/>
                <a:gd name="connsiteX0" fmla="*/ 10000 w 10000"/>
                <a:gd name="connsiteY0" fmla="*/ 6151 h 10015"/>
                <a:gd name="connsiteX1" fmla="*/ 10000 w 10000"/>
                <a:gd name="connsiteY1" fmla="*/ 6151 h 10015"/>
                <a:gd name="connsiteX2" fmla="*/ 9911 w 10000"/>
                <a:gd name="connsiteY2" fmla="*/ 6137 h 10015"/>
                <a:gd name="connsiteX3" fmla="*/ 9815 w 10000"/>
                <a:gd name="connsiteY3" fmla="*/ 6119 h 10015"/>
                <a:gd name="connsiteX4" fmla="*/ 9726 w 10000"/>
                <a:gd name="connsiteY4" fmla="*/ 6101 h 10015"/>
                <a:gd name="connsiteX5" fmla="*/ 9637 w 10000"/>
                <a:gd name="connsiteY5" fmla="*/ 6077 h 10015"/>
                <a:gd name="connsiteX6" fmla="*/ 9548 w 10000"/>
                <a:gd name="connsiteY6" fmla="*/ 6058 h 10015"/>
                <a:gd name="connsiteX7" fmla="*/ 9466 w 10000"/>
                <a:gd name="connsiteY7" fmla="*/ 6036 h 10015"/>
                <a:gd name="connsiteX8" fmla="*/ 9377 w 10000"/>
                <a:gd name="connsiteY8" fmla="*/ 6013 h 10015"/>
                <a:gd name="connsiteX9" fmla="*/ 9288 w 10000"/>
                <a:gd name="connsiteY9" fmla="*/ 5990 h 10015"/>
                <a:gd name="connsiteX10" fmla="*/ 9118 w 10000"/>
                <a:gd name="connsiteY10" fmla="*/ 5939 h 10015"/>
                <a:gd name="connsiteX11" fmla="*/ 8955 w 10000"/>
                <a:gd name="connsiteY11" fmla="*/ 5884 h 10015"/>
                <a:gd name="connsiteX12" fmla="*/ 8792 w 10000"/>
                <a:gd name="connsiteY12" fmla="*/ 5825 h 10015"/>
                <a:gd name="connsiteX13" fmla="*/ 8636 w 10000"/>
                <a:gd name="connsiteY13" fmla="*/ 5761 h 10015"/>
                <a:gd name="connsiteX14" fmla="*/ 8480 w 10000"/>
                <a:gd name="connsiteY14" fmla="*/ 5696 h 10015"/>
                <a:gd name="connsiteX15" fmla="*/ 8340 w 10000"/>
                <a:gd name="connsiteY15" fmla="*/ 5628 h 10015"/>
                <a:gd name="connsiteX16" fmla="*/ 8199 w 10000"/>
                <a:gd name="connsiteY16" fmla="*/ 5554 h 10015"/>
                <a:gd name="connsiteX17" fmla="*/ 8058 w 10000"/>
                <a:gd name="connsiteY17" fmla="*/ 5476 h 10015"/>
                <a:gd name="connsiteX18" fmla="*/ 7924 w 10000"/>
                <a:gd name="connsiteY18" fmla="*/ 5394 h 10015"/>
                <a:gd name="connsiteX19" fmla="*/ 7798 w 10000"/>
                <a:gd name="connsiteY19" fmla="*/ 5310 h 10015"/>
                <a:gd name="connsiteX20" fmla="*/ 7672 w 10000"/>
                <a:gd name="connsiteY20" fmla="*/ 5223 h 10015"/>
                <a:gd name="connsiteX21" fmla="*/ 7554 w 10000"/>
                <a:gd name="connsiteY21" fmla="*/ 5136 h 10015"/>
                <a:gd name="connsiteX22" fmla="*/ 7450 w 10000"/>
                <a:gd name="connsiteY22" fmla="*/ 5040 h 10015"/>
                <a:gd name="connsiteX23" fmla="*/ 7346 w 10000"/>
                <a:gd name="connsiteY23" fmla="*/ 4944 h 10015"/>
                <a:gd name="connsiteX24" fmla="*/ 7250 w 10000"/>
                <a:gd name="connsiteY24" fmla="*/ 4848 h 10015"/>
                <a:gd name="connsiteX25" fmla="*/ 7161 w 10000"/>
                <a:gd name="connsiteY25" fmla="*/ 4747 h 10015"/>
                <a:gd name="connsiteX26" fmla="*/ 7072 w 10000"/>
                <a:gd name="connsiteY26" fmla="*/ 4645 h 10015"/>
                <a:gd name="connsiteX27" fmla="*/ 6990 w 10000"/>
                <a:gd name="connsiteY27" fmla="*/ 4535 h 10015"/>
                <a:gd name="connsiteX28" fmla="*/ 6953 w 10000"/>
                <a:gd name="connsiteY28" fmla="*/ 4485 h 10015"/>
                <a:gd name="connsiteX29" fmla="*/ 6916 w 10000"/>
                <a:gd name="connsiteY29" fmla="*/ 4430 h 10015"/>
                <a:gd name="connsiteX30" fmla="*/ 6887 w 10000"/>
                <a:gd name="connsiteY30" fmla="*/ 4375 h 10015"/>
                <a:gd name="connsiteX31" fmla="*/ 6850 w 10000"/>
                <a:gd name="connsiteY31" fmla="*/ 4320 h 10015"/>
                <a:gd name="connsiteX32" fmla="*/ 6820 w 10000"/>
                <a:gd name="connsiteY32" fmla="*/ 4265 h 10015"/>
                <a:gd name="connsiteX33" fmla="*/ 6790 w 10000"/>
                <a:gd name="connsiteY33" fmla="*/ 4210 h 10015"/>
                <a:gd name="connsiteX34" fmla="*/ 6768 w 10000"/>
                <a:gd name="connsiteY34" fmla="*/ 4150 h 10015"/>
                <a:gd name="connsiteX35" fmla="*/ 6738 w 10000"/>
                <a:gd name="connsiteY35" fmla="*/ 4095 h 10015"/>
                <a:gd name="connsiteX36" fmla="*/ 6723 w 10000"/>
                <a:gd name="connsiteY36" fmla="*/ 4035 h 10015"/>
                <a:gd name="connsiteX37" fmla="*/ 6694 w 10000"/>
                <a:gd name="connsiteY37" fmla="*/ 3980 h 10015"/>
                <a:gd name="connsiteX38" fmla="*/ 6679 w 10000"/>
                <a:gd name="connsiteY38" fmla="*/ 3920 h 10015"/>
                <a:gd name="connsiteX39" fmla="*/ 6664 w 10000"/>
                <a:gd name="connsiteY39" fmla="*/ 3860 h 10015"/>
                <a:gd name="connsiteX40" fmla="*/ 6649 w 10000"/>
                <a:gd name="connsiteY40" fmla="*/ 3801 h 10015"/>
                <a:gd name="connsiteX41" fmla="*/ 6635 w 10000"/>
                <a:gd name="connsiteY41" fmla="*/ 3746 h 10015"/>
                <a:gd name="connsiteX42" fmla="*/ 6620 w 10000"/>
                <a:gd name="connsiteY42" fmla="*/ 3686 h 10015"/>
                <a:gd name="connsiteX43" fmla="*/ 6612 w 10000"/>
                <a:gd name="connsiteY43" fmla="*/ 3627 h 10015"/>
                <a:gd name="connsiteX44" fmla="*/ 6605 w 10000"/>
                <a:gd name="connsiteY44" fmla="*/ 3567 h 10015"/>
                <a:gd name="connsiteX45" fmla="*/ 6597 w 10000"/>
                <a:gd name="connsiteY45" fmla="*/ 3503 h 10015"/>
                <a:gd name="connsiteX46" fmla="*/ 6597 w 10000"/>
                <a:gd name="connsiteY46" fmla="*/ 3443 h 10015"/>
                <a:gd name="connsiteX47" fmla="*/ 6590 w 10000"/>
                <a:gd name="connsiteY47" fmla="*/ 3379 h 10015"/>
                <a:gd name="connsiteX48" fmla="*/ 6597 w 10000"/>
                <a:gd name="connsiteY48" fmla="*/ 3319 h 10015"/>
                <a:gd name="connsiteX49" fmla="*/ 6605 w 10000"/>
                <a:gd name="connsiteY49" fmla="*/ 3251 h 10015"/>
                <a:gd name="connsiteX50" fmla="*/ 6605 w 10000"/>
                <a:gd name="connsiteY50" fmla="*/ 3186 h 10015"/>
                <a:gd name="connsiteX51" fmla="*/ 6612 w 10000"/>
                <a:gd name="connsiteY51" fmla="*/ 3121 h 10015"/>
                <a:gd name="connsiteX52" fmla="*/ 6620 w 10000"/>
                <a:gd name="connsiteY52" fmla="*/ 3057 h 10015"/>
                <a:gd name="connsiteX53" fmla="*/ 6635 w 10000"/>
                <a:gd name="connsiteY53" fmla="*/ 2998 h 10015"/>
                <a:gd name="connsiteX54" fmla="*/ 6649 w 10000"/>
                <a:gd name="connsiteY54" fmla="*/ 2934 h 10015"/>
                <a:gd name="connsiteX55" fmla="*/ 6664 w 10000"/>
                <a:gd name="connsiteY55" fmla="*/ 2874 h 10015"/>
                <a:gd name="connsiteX56" fmla="*/ 6686 w 10000"/>
                <a:gd name="connsiteY56" fmla="*/ 2810 h 10015"/>
                <a:gd name="connsiteX57" fmla="*/ 6709 w 10000"/>
                <a:gd name="connsiteY57" fmla="*/ 2750 h 10015"/>
                <a:gd name="connsiteX58" fmla="*/ 6731 w 10000"/>
                <a:gd name="connsiteY58" fmla="*/ 2691 h 10015"/>
                <a:gd name="connsiteX59" fmla="*/ 6753 w 10000"/>
                <a:gd name="connsiteY59" fmla="*/ 2626 h 10015"/>
                <a:gd name="connsiteX60" fmla="*/ 6783 w 10000"/>
                <a:gd name="connsiteY60" fmla="*/ 2571 h 10015"/>
                <a:gd name="connsiteX61" fmla="*/ 6812 w 10000"/>
                <a:gd name="connsiteY61" fmla="*/ 2511 h 10015"/>
                <a:gd name="connsiteX62" fmla="*/ 6842 w 10000"/>
                <a:gd name="connsiteY62" fmla="*/ 2451 h 10015"/>
                <a:gd name="connsiteX63" fmla="*/ 6879 w 10000"/>
                <a:gd name="connsiteY63" fmla="*/ 2392 h 10015"/>
                <a:gd name="connsiteX64" fmla="*/ 6909 w 10000"/>
                <a:gd name="connsiteY64" fmla="*/ 2337 h 10015"/>
                <a:gd name="connsiteX65" fmla="*/ 6946 w 10000"/>
                <a:gd name="connsiteY65" fmla="*/ 2277 h 10015"/>
                <a:gd name="connsiteX66" fmla="*/ 6990 w 10000"/>
                <a:gd name="connsiteY66" fmla="*/ 2222 h 10015"/>
                <a:gd name="connsiteX67" fmla="*/ 7027 w 10000"/>
                <a:gd name="connsiteY67" fmla="*/ 2167 h 10015"/>
                <a:gd name="connsiteX68" fmla="*/ 7072 w 10000"/>
                <a:gd name="connsiteY68" fmla="*/ 2112 h 10015"/>
                <a:gd name="connsiteX69" fmla="*/ 7109 w 10000"/>
                <a:gd name="connsiteY69" fmla="*/ 2057 h 10015"/>
                <a:gd name="connsiteX70" fmla="*/ 7161 w 10000"/>
                <a:gd name="connsiteY70" fmla="*/ 2007 h 10015"/>
                <a:gd name="connsiteX71" fmla="*/ 7213 w 10000"/>
                <a:gd name="connsiteY71" fmla="*/ 1952 h 10015"/>
                <a:gd name="connsiteX72" fmla="*/ 7257 w 10000"/>
                <a:gd name="connsiteY72" fmla="*/ 1897 h 10015"/>
                <a:gd name="connsiteX73" fmla="*/ 7309 w 10000"/>
                <a:gd name="connsiteY73" fmla="*/ 1846 h 10015"/>
                <a:gd name="connsiteX74" fmla="*/ 7361 w 10000"/>
                <a:gd name="connsiteY74" fmla="*/ 1795 h 10015"/>
                <a:gd name="connsiteX75" fmla="*/ 7413 w 10000"/>
                <a:gd name="connsiteY75" fmla="*/ 1745 h 10015"/>
                <a:gd name="connsiteX76" fmla="*/ 7472 w 10000"/>
                <a:gd name="connsiteY76" fmla="*/ 1694 h 10015"/>
                <a:gd name="connsiteX77" fmla="*/ 7524 w 10000"/>
                <a:gd name="connsiteY77" fmla="*/ 1648 h 10015"/>
                <a:gd name="connsiteX78" fmla="*/ 7583 w 10000"/>
                <a:gd name="connsiteY78" fmla="*/ 1602 h 10015"/>
                <a:gd name="connsiteX79" fmla="*/ 7610 w 10000"/>
                <a:gd name="connsiteY79" fmla="*/ 1573 h 10015"/>
                <a:gd name="connsiteX80" fmla="*/ 5390 w 10000"/>
                <a:gd name="connsiteY80" fmla="*/ 0 h 10015"/>
                <a:gd name="connsiteX81" fmla="*/ 1401 w 10000"/>
                <a:gd name="connsiteY81" fmla="*/ 15 h 10015"/>
                <a:gd name="connsiteX82" fmla="*/ 1305 w 10000"/>
                <a:gd name="connsiteY82" fmla="*/ 129 h 10015"/>
                <a:gd name="connsiteX83" fmla="*/ 1223 w 10000"/>
                <a:gd name="connsiteY83" fmla="*/ 221 h 10015"/>
                <a:gd name="connsiteX84" fmla="*/ 1149 w 10000"/>
                <a:gd name="connsiteY84" fmla="*/ 317 h 10015"/>
                <a:gd name="connsiteX85" fmla="*/ 1067 w 10000"/>
                <a:gd name="connsiteY85" fmla="*/ 414 h 10015"/>
                <a:gd name="connsiteX86" fmla="*/ 1001 w 10000"/>
                <a:gd name="connsiteY86" fmla="*/ 511 h 10015"/>
                <a:gd name="connsiteX87" fmla="*/ 927 w 10000"/>
                <a:gd name="connsiteY87" fmla="*/ 607 h 10015"/>
                <a:gd name="connsiteX88" fmla="*/ 860 w 10000"/>
                <a:gd name="connsiteY88" fmla="*/ 708 h 10015"/>
                <a:gd name="connsiteX89" fmla="*/ 793 w 10000"/>
                <a:gd name="connsiteY89" fmla="*/ 809 h 10015"/>
                <a:gd name="connsiteX90" fmla="*/ 734 w 10000"/>
                <a:gd name="connsiteY90" fmla="*/ 905 h 10015"/>
                <a:gd name="connsiteX91" fmla="*/ 675 w 10000"/>
                <a:gd name="connsiteY91" fmla="*/ 1006 h 10015"/>
                <a:gd name="connsiteX92" fmla="*/ 615 w 10000"/>
                <a:gd name="connsiteY92" fmla="*/ 1107 h 10015"/>
                <a:gd name="connsiteX93" fmla="*/ 556 w 10000"/>
                <a:gd name="connsiteY93" fmla="*/ 1213 h 10015"/>
                <a:gd name="connsiteX94" fmla="*/ 504 w 10000"/>
                <a:gd name="connsiteY94" fmla="*/ 1309 h 10015"/>
                <a:gd name="connsiteX95" fmla="*/ 452 w 10000"/>
                <a:gd name="connsiteY95" fmla="*/ 1415 h 10015"/>
                <a:gd name="connsiteX96" fmla="*/ 408 w 10000"/>
                <a:gd name="connsiteY96" fmla="*/ 1515 h 10015"/>
                <a:gd name="connsiteX97" fmla="*/ 363 w 10000"/>
                <a:gd name="connsiteY97" fmla="*/ 1621 h 10015"/>
                <a:gd name="connsiteX98" fmla="*/ 319 w 10000"/>
                <a:gd name="connsiteY98" fmla="*/ 1726 h 10015"/>
                <a:gd name="connsiteX99" fmla="*/ 282 w 10000"/>
                <a:gd name="connsiteY99" fmla="*/ 1833 h 10015"/>
                <a:gd name="connsiteX100" fmla="*/ 237 w 10000"/>
                <a:gd name="connsiteY100" fmla="*/ 1943 h 10015"/>
                <a:gd name="connsiteX101" fmla="*/ 208 w 10000"/>
                <a:gd name="connsiteY101" fmla="*/ 2048 h 10015"/>
                <a:gd name="connsiteX102" fmla="*/ 170 w 10000"/>
                <a:gd name="connsiteY102" fmla="*/ 2158 h 10015"/>
                <a:gd name="connsiteX103" fmla="*/ 148 w 10000"/>
                <a:gd name="connsiteY103" fmla="*/ 2268 h 10015"/>
                <a:gd name="connsiteX104" fmla="*/ 119 w 10000"/>
                <a:gd name="connsiteY104" fmla="*/ 2373 h 10015"/>
                <a:gd name="connsiteX105" fmla="*/ 96 w 10000"/>
                <a:gd name="connsiteY105" fmla="*/ 2483 h 10015"/>
                <a:gd name="connsiteX106" fmla="*/ 74 w 10000"/>
                <a:gd name="connsiteY106" fmla="*/ 2594 h 10015"/>
                <a:gd name="connsiteX107" fmla="*/ 52 w 10000"/>
                <a:gd name="connsiteY107" fmla="*/ 2709 h 10015"/>
                <a:gd name="connsiteX108" fmla="*/ 37 w 10000"/>
                <a:gd name="connsiteY108" fmla="*/ 2819 h 10015"/>
                <a:gd name="connsiteX109" fmla="*/ 22 w 10000"/>
                <a:gd name="connsiteY109" fmla="*/ 2929 h 10015"/>
                <a:gd name="connsiteX110" fmla="*/ 15 w 10000"/>
                <a:gd name="connsiteY110" fmla="*/ 3039 h 10015"/>
                <a:gd name="connsiteX111" fmla="*/ 7 w 10000"/>
                <a:gd name="connsiteY111" fmla="*/ 3153 h 10015"/>
                <a:gd name="connsiteX112" fmla="*/ 0 w 10000"/>
                <a:gd name="connsiteY112" fmla="*/ 3264 h 10015"/>
                <a:gd name="connsiteX113" fmla="*/ 0 w 10000"/>
                <a:gd name="connsiteY113" fmla="*/ 3379 h 10015"/>
                <a:gd name="connsiteX114" fmla="*/ 7 w 10000"/>
                <a:gd name="connsiteY114" fmla="*/ 3526 h 10015"/>
                <a:gd name="connsiteX115" fmla="*/ 7 w 10000"/>
                <a:gd name="connsiteY115" fmla="*/ 3672 h 10015"/>
                <a:gd name="connsiteX116" fmla="*/ 22 w 10000"/>
                <a:gd name="connsiteY116" fmla="*/ 3810 h 10015"/>
                <a:gd name="connsiteX117" fmla="*/ 37 w 10000"/>
                <a:gd name="connsiteY117" fmla="*/ 3953 h 10015"/>
                <a:gd name="connsiteX118" fmla="*/ 59 w 10000"/>
                <a:gd name="connsiteY118" fmla="*/ 4095 h 10015"/>
                <a:gd name="connsiteX119" fmla="*/ 89 w 10000"/>
                <a:gd name="connsiteY119" fmla="*/ 4237 h 10015"/>
                <a:gd name="connsiteX120" fmla="*/ 119 w 10000"/>
                <a:gd name="connsiteY120" fmla="*/ 4379 h 10015"/>
                <a:gd name="connsiteX121" fmla="*/ 148 w 10000"/>
                <a:gd name="connsiteY121" fmla="*/ 4521 h 10015"/>
                <a:gd name="connsiteX122" fmla="*/ 193 w 10000"/>
                <a:gd name="connsiteY122" fmla="*/ 4660 h 10015"/>
                <a:gd name="connsiteX123" fmla="*/ 237 w 10000"/>
                <a:gd name="connsiteY123" fmla="*/ 4797 h 10015"/>
                <a:gd name="connsiteX124" fmla="*/ 282 w 10000"/>
                <a:gd name="connsiteY124" fmla="*/ 4935 h 10015"/>
                <a:gd name="connsiteX125" fmla="*/ 334 w 10000"/>
                <a:gd name="connsiteY125" fmla="*/ 5072 h 10015"/>
                <a:gd name="connsiteX126" fmla="*/ 393 w 10000"/>
                <a:gd name="connsiteY126" fmla="*/ 5205 h 10015"/>
                <a:gd name="connsiteX127" fmla="*/ 452 w 10000"/>
                <a:gd name="connsiteY127" fmla="*/ 5338 h 10015"/>
                <a:gd name="connsiteX128" fmla="*/ 519 w 10000"/>
                <a:gd name="connsiteY128" fmla="*/ 5472 h 10015"/>
                <a:gd name="connsiteX129" fmla="*/ 586 w 10000"/>
                <a:gd name="connsiteY129" fmla="*/ 5605 h 10015"/>
                <a:gd name="connsiteX130" fmla="*/ 660 w 10000"/>
                <a:gd name="connsiteY130" fmla="*/ 5733 h 10015"/>
                <a:gd name="connsiteX131" fmla="*/ 741 w 10000"/>
                <a:gd name="connsiteY131" fmla="*/ 5861 h 10015"/>
                <a:gd name="connsiteX132" fmla="*/ 823 w 10000"/>
                <a:gd name="connsiteY132" fmla="*/ 5994 h 10015"/>
                <a:gd name="connsiteX133" fmla="*/ 904 w 10000"/>
                <a:gd name="connsiteY133" fmla="*/ 6119 h 10015"/>
                <a:gd name="connsiteX134" fmla="*/ 993 w 10000"/>
                <a:gd name="connsiteY134" fmla="*/ 6243 h 10015"/>
                <a:gd name="connsiteX135" fmla="*/ 1090 w 10000"/>
                <a:gd name="connsiteY135" fmla="*/ 6362 h 10015"/>
                <a:gd name="connsiteX136" fmla="*/ 1186 w 10000"/>
                <a:gd name="connsiteY136" fmla="*/ 6486 h 10015"/>
                <a:gd name="connsiteX137" fmla="*/ 1290 w 10000"/>
                <a:gd name="connsiteY137" fmla="*/ 6609 h 10015"/>
                <a:gd name="connsiteX138" fmla="*/ 1386 w 10000"/>
                <a:gd name="connsiteY138" fmla="*/ 6729 h 10015"/>
                <a:gd name="connsiteX139" fmla="*/ 1497 w 10000"/>
                <a:gd name="connsiteY139" fmla="*/ 6849 h 10015"/>
                <a:gd name="connsiteX140" fmla="*/ 1609 w 10000"/>
                <a:gd name="connsiteY140" fmla="*/ 6963 h 10015"/>
                <a:gd name="connsiteX141" fmla="*/ 1727 w 10000"/>
                <a:gd name="connsiteY141" fmla="*/ 7082 h 10015"/>
                <a:gd name="connsiteX142" fmla="*/ 1846 w 10000"/>
                <a:gd name="connsiteY142" fmla="*/ 7197 h 10015"/>
                <a:gd name="connsiteX143" fmla="*/ 1964 w 10000"/>
                <a:gd name="connsiteY143" fmla="*/ 7307 h 10015"/>
                <a:gd name="connsiteX144" fmla="*/ 2090 w 10000"/>
                <a:gd name="connsiteY144" fmla="*/ 7417 h 10015"/>
                <a:gd name="connsiteX145" fmla="*/ 2224 w 10000"/>
                <a:gd name="connsiteY145" fmla="*/ 7528 h 10015"/>
                <a:gd name="connsiteX146" fmla="*/ 2350 w 10000"/>
                <a:gd name="connsiteY146" fmla="*/ 7638 h 10015"/>
                <a:gd name="connsiteX147" fmla="*/ 2491 w 10000"/>
                <a:gd name="connsiteY147" fmla="*/ 7743 h 10015"/>
                <a:gd name="connsiteX148" fmla="*/ 2617 w 10000"/>
                <a:gd name="connsiteY148" fmla="*/ 7849 h 10015"/>
                <a:gd name="connsiteX149" fmla="*/ 2765 w 10000"/>
                <a:gd name="connsiteY149" fmla="*/ 7950 h 10015"/>
                <a:gd name="connsiteX150" fmla="*/ 2906 w 10000"/>
                <a:gd name="connsiteY150" fmla="*/ 8050 h 10015"/>
                <a:gd name="connsiteX151" fmla="*/ 3054 w 10000"/>
                <a:gd name="connsiteY151" fmla="*/ 8151 h 10015"/>
                <a:gd name="connsiteX152" fmla="*/ 3210 w 10000"/>
                <a:gd name="connsiteY152" fmla="*/ 8249 h 10015"/>
                <a:gd name="connsiteX153" fmla="*/ 3358 w 10000"/>
                <a:gd name="connsiteY153" fmla="*/ 8345 h 10015"/>
                <a:gd name="connsiteX154" fmla="*/ 3514 w 10000"/>
                <a:gd name="connsiteY154" fmla="*/ 8441 h 10015"/>
                <a:gd name="connsiteX155" fmla="*/ 3677 w 10000"/>
                <a:gd name="connsiteY155" fmla="*/ 8533 h 10015"/>
                <a:gd name="connsiteX156" fmla="*/ 3840 w 10000"/>
                <a:gd name="connsiteY156" fmla="*/ 8620 h 10015"/>
                <a:gd name="connsiteX157" fmla="*/ 4010 w 10000"/>
                <a:gd name="connsiteY157" fmla="*/ 8711 h 10015"/>
                <a:gd name="connsiteX158" fmla="*/ 4181 w 10000"/>
                <a:gd name="connsiteY158" fmla="*/ 8789 h 10015"/>
                <a:gd name="connsiteX159" fmla="*/ 4351 w 10000"/>
                <a:gd name="connsiteY159" fmla="*/ 8876 h 10015"/>
                <a:gd name="connsiteX160" fmla="*/ 4522 w 10000"/>
                <a:gd name="connsiteY160" fmla="*/ 8955 h 10015"/>
                <a:gd name="connsiteX161" fmla="*/ 4700 w 10000"/>
                <a:gd name="connsiteY161" fmla="*/ 9038 h 10015"/>
                <a:gd name="connsiteX162" fmla="*/ 4878 w 10000"/>
                <a:gd name="connsiteY162" fmla="*/ 9116 h 10015"/>
                <a:gd name="connsiteX163" fmla="*/ 5063 w 10000"/>
                <a:gd name="connsiteY163" fmla="*/ 9189 h 10015"/>
                <a:gd name="connsiteX164" fmla="*/ 5248 w 10000"/>
                <a:gd name="connsiteY164" fmla="*/ 9267 h 10015"/>
                <a:gd name="connsiteX165" fmla="*/ 5426 w 10000"/>
                <a:gd name="connsiteY165" fmla="*/ 9336 h 10015"/>
                <a:gd name="connsiteX166" fmla="*/ 5619 w 10000"/>
                <a:gd name="connsiteY166" fmla="*/ 9404 h 10015"/>
                <a:gd name="connsiteX167" fmla="*/ 5812 w 10000"/>
                <a:gd name="connsiteY167" fmla="*/ 9473 h 10015"/>
                <a:gd name="connsiteX168" fmla="*/ 6004 w 10000"/>
                <a:gd name="connsiteY168" fmla="*/ 9537 h 10015"/>
                <a:gd name="connsiteX169" fmla="*/ 6205 w 10000"/>
                <a:gd name="connsiteY169" fmla="*/ 9602 h 10015"/>
                <a:gd name="connsiteX170" fmla="*/ 6397 w 10000"/>
                <a:gd name="connsiteY170" fmla="*/ 9662 h 10015"/>
                <a:gd name="connsiteX171" fmla="*/ 6605 w 10000"/>
                <a:gd name="connsiteY171" fmla="*/ 9717 h 10015"/>
                <a:gd name="connsiteX172" fmla="*/ 6805 w 10000"/>
                <a:gd name="connsiteY172" fmla="*/ 9772 h 10015"/>
                <a:gd name="connsiteX173" fmla="*/ 7005 w 10000"/>
                <a:gd name="connsiteY173" fmla="*/ 9827 h 10015"/>
                <a:gd name="connsiteX174" fmla="*/ 7213 w 10000"/>
                <a:gd name="connsiteY174" fmla="*/ 9878 h 10015"/>
                <a:gd name="connsiteX175" fmla="*/ 7420 w 10000"/>
                <a:gd name="connsiteY175" fmla="*/ 9923 h 10015"/>
                <a:gd name="connsiteX176" fmla="*/ 7628 w 10000"/>
                <a:gd name="connsiteY176" fmla="*/ 9969 h 10015"/>
                <a:gd name="connsiteX177" fmla="*/ 7835 w 10000"/>
                <a:gd name="connsiteY177" fmla="*/ 10015 h 10015"/>
                <a:gd name="connsiteX178" fmla="*/ 7539 w 10000"/>
                <a:gd name="connsiteY178" fmla="*/ 7766 h 10015"/>
                <a:gd name="connsiteX179" fmla="*/ 10000 w 10000"/>
                <a:gd name="connsiteY179" fmla="*/ 6151 h 10015"/>
                <a:gd name="connsiteX0" fmla="*/ 10000 w 10000"/>
                <a:gd name="connsiteY0" fmla="*/ 6151 h 10015"/>
                <a:gd name="connsiteX1" fmla="*/ 10000 w 10000"/>
                <a:gd name="connsiteY1" fmla="*/ 6151 h 10015"/>
                <a:gd name="connsiteX2" fmla="*/ 9911 w 10000"/>
                <a:gd name="connsiteY2" fmla="*/ 6137 h 10015"/>
                <a:gd name="connsiteX3" fmla="*/ 9815 w 10000"/>
                <a:gd name="connsiteY3" fmla="*/ 6119 h 10015"/>
                <a:gd name="connsiteX4" fmla="*/ 9726 w 10000"/>
                <a:gd name="connsiteY4" fmla="*/ 6101 h 10015"/>
                <a:gd name="connsiteX5" fmla="*/ 9637 w 10000"/>
                <a:gd name="connsiteY5" fmla="*/ 6077 h 10015"/>
                <a:gd name="connsiteX6" fmla="*/ 9548 w 10000"/>
                <a:gd name="connsiteY6" fmla="*/ 6058 h 10015"/>
                <a:gd name="connsiteX7" fmla="*/ 9466 w 10000"/>
                <a:gd name="connsiteY7" fmla="*/ 6036 h 10015"/>
                <a:gd name="connsiteX8" fmla="*/ 9377 w 10000"/>
                <a:gd name="connsiteY8" fmla="*/ 6013 h 10015"/>
                <a:gd name="connsiteX9" fmla="*/ 9288 w 10000"/>
                <a:gd name="connsiteY9" fmla="*/ 5990 h 10015"/>
                <a:gd name="connsiteX10" fmla="*/ 9118 w 10000"/>
                <a:gd name="connsiteY10" fmla="*/ 5939 h 10015"/>
                <a:gd name="connsiteX11" fmla="*/ 8955 w 10000"/>
                <a:gd name="connsiteY11" fmla="*/ 5884 h 10015"/>
                <a:gd name="connsiteX12" fmla="*/ 8792 w 10000"/>
                <a:gd name="connsiteY12" fmla="*/ 5825 h 10015"/>
                <a:gd name="connsiteX13" fmla="*/ 8636 w 10000"/>
                <a:gd name="connsiteY13" fmla="*/ 5761 h 10015"/>
                <a:gd name="connsiteX14" fmla="*/ 8480 w 10000"/>
                <a:gd name="connsiteY14" fmla="*/ 5696 h 10015"/>
                <a:gd name="connsiteX15" fmla="*/ 8340 w 10000"/>
                <a:gd name="connsiteY15" fmla="*/ 5628 h 10015"/>
                <a:gd name="connsiteX16" fmla="*/ 8199 w 10000"/>
                <a:gd name="connsiteY16" fmla="*/ 5554 h 10015"/>
                <a:gd name="connsiteX17" fmla="*/ 8058 w 10000"/>
                <a:gd name="connsiteY17" fmla="*/ 5476 h 10015"/>
                <a:gd name="connsiteX18" fmla="*/ 7924 w 10000"/>
                <a:gd name="connsiteY18" fmla="*/ 5394 h 10015"/>
                <a:gd name="connsiteX19" fmla="*/ 7798 w 10000"/>
                <a:gd name="connsiteY19" fmla="*/ 5310 h 10015"/>
                <a:gd name="connsiteX20" fmla="*/ 7672 w 10000"/>
                <a:gd name="connsiteY20" fmla="*/ 5223 h 10015"/>
                <a:gd name="connsiteX21" fmla="*/ 7554 w 10000"/>
                <a:gd name="connsiteY21" fmla="*/ 5136 h 10015"/>
                <a:gd name="connsiteX22" fmla="*/ 7450 w 10000"/>
                <a:gd name="connsiteY22" fmla="*/ 5040 h 10015"/>
                <a:gd name="connsiteX23" fmla="*/ 7346 w 10000"/>
                <a:gd name="connsiteY23" fmla="*/ 4944 h 10015"/>
                <a:gd name="connsiteX24" fmla="*/ 7250 w 10000"/>
                <a:gd name="connsiteY24" fmla="*/ 4848 h 10015"/>
                <a:gd name="connsiteX25" fmla="*/ 7161 w 10000"/>
                <a:gd name="connsiteY25" fmla="*/ 4747 h 10015"/>
                <a:gd name="connsiteX26" fmla="*/ 7072 w 10000"/>
                <a:gd name="connsiteY26" fmla="*/ 4645 h 10015"/>
                <a:gd name="connsiteX27" fmla="*/ 6990 w 10000"/>
                <a:gd name="connsiteY27" fmla="*/ 4535 h 10015"/>
                <a:gd name="connsiteX28" fmla="*/ 6953 w 10000"/>
                <a:gd name="connsiteY28" fmla="*/ 4485 h 10015"/>
                <a:gd name="connsiteX29" fmla="*/ 6916 w 10000"/>
                <a:gd name="connsiteY29" fmla="*/ 4430 h 10015"/>
                <a:gd name="connsiteX30" fmla="*/ 6887 w 10000"/>
                <a:gd name="connsiteY30" fmla="*/ 4375 h 10015"/>
                <a:gd name="connsiteX31" fmla="*/ 6850 w 10000"/>
                <a:gd name="connsiteY31" fmla="*/ 4320 h 10015"/>
                <a:gd name="connsiteX32" fmla="*/ 6820 w 10000"/>
                <a:gd name="connsiteY32" fmla="*/ 4265 h 10015"/>
                <a:gd name="connsiteX33" fmla="*/ 6790 w 10000"/>
                <a:gd name="connsiteY33" fmla="*/ 4210 h 10015"/>
                <a:gd name="connsiteX34" fmla="*/ 6768 w 10000"/>
                <a:gd name="connsiteY34" fmla="*/ 4150 h 10015"/>
                <a:gd name="connsiteX35" fmla="*/ 6738 w 10000"/>
                <a:gd name="connsiteY35" fmla="*/ 4095 h 10015"/>
                <a:gd name="connsiteX36" fmla="*/ 6723 w 10000"/>
                <a:gd name="connsiteY36" fmla="*/ 4035 h 10015"/>
                <a:gd name="connsiteX37" fmla="*/ 6694 w 10000"/>
                <a:gd name="connsiteY37" fmla="*/ 3980 h 10015"/>
                <a:gd name="connsiteX38" fmla="*/ 6679 w 10000"/>
                <a:gd name="connsiteY38" fmla="*/ 3920 h 10015"/>
                <a:gd name="connsiteX39" fmla="*/ 6664 w 10000"/>
                <a:gd name="connsiteY39" fmla="*/ 3860 h 10015"/>
                <a:gd name="connsiteX40" fmla="*/ 6649 w 10000"/>
                <a:gd name="connsiteY40" fmla="*/ 3801 h 10015"/>
                <a:gd name="connsiteX41" fmla="*/ 6635 w 10000"/>
                <a:gd name="connsiteY41" fmla="*/ 3746 h 10015"/>
                <a:gd name="connsiteX42" fmla="*/ 6620 w 10000"/>
                <a:gd name="connsiteY42" fmla="*/ 3686 h 10015"/>
                <a:gd name="connsiteX43" fmla="*/ 6612 w 10000"/>
                <a:gd name="connsiteY43" fmla="*/ 3627 h 10015"/>
                <a:gd name="connsiteX44" fmla="*/ 6605 w 10000"/>
                <a:gd name="connsiteY44" fmla="*/ 3567 h 10015"/>
                <a:gd name="connsiteX45" fmla="*/ 6597 w 10000"/>
                <a:gd name="connsiteY45" fmla="*/ 3503 h 10015"/>
                <a:gd name="connsiteX46" fmla="*/ 6597 w 10000"/>
                <a:gd name="connsiteY46" fmla="*/ 3443 h 10015"/>
                <a:gd name="connsiteX47" fmla="*/ 6590 w 10000"/>
                <a:gd name="connsiteY47" fmla="*/ 3379 h 10015"/>
                <a:gd name="connsiteX48" fmla="*/ 6597 w 10000"/>
                <a:gd name="connsiteY48" fmla="*/ 3319 h 10015"/>
                <a:gd name="connsiteX49" fmla="*/ 6605 w 10000"/>
                <a:gd name="connsiteY49" fmla="*/ 3251 h 10015"/>
                <a:gd name="connsiteX50" fmla="*/ 6605 w 10000"/>
                <a:gd name="connsiteY50" fmla="*/ 3186 h 10015"/>
                <a:gd name="connsiteX51" fmla="*/ 6612 w 10000"/>
                <a:gd name="connsiteY51" fmla="*/ 3121 h 10015"/>
                <a:gd name="connsiteX52" fmla="*/ 6620 w 10000"/>
                <a:gd name="connsiteY52" fmla="*/ 3057 h 10015"/>
                <a:gd name="connsiteX53" fmla="*/ 6635 w 10000"/>
                <a:gd name="connsiteY53" fmla="*/ 2998 h 10015"/>
                <a:gd name="connsiteX54" fmla="*/ 6649 w 10000"/>
                <a:gd name="connsiteY54" fmla="*/ 2934 h 10015"/>
                <a:gd name="connsiteX55" fmla="*/ 6664 w 10000"/>
                <a:gd name="connsiteY55" fmla="*/ 2874 h 10015"/>
                <a:gd name="connsiteX56" fmla="*/ 6686 w 10000"/>
                <a:gd name="connsiteY56" fmla="*/ 2810 h 10015"/>
                <a:gd name="connsiteX57" fmla="*/ 6709 w 10000"/>
                <a:gd name="connsiteY57" fmla="*/ 2750 h 10015"/>
                <a:gd name="connsiteX58" fmla="*/ 6731 w 10000"/>
                <a:gd name="connsiteY58" fmla="*/ 2691 h 10015"/>
                <a:gd name="connsiteX59" fmla="*/ 6753 w 10000"/>
                <a:gd name="connsiteY59" fmla="*/ 2626 h 10015"/>
                <a:gd name="connsiteX60" fmla="*/ 6783 w 10000"/>
                <a:gd name="connsiteY60" fmla="*/ 2571 h 10015"/>
                <a:gd name="connsiteX61" fmla="*/ 6812 w 10000"/>
                <a:gd name="connsiteY61" fmla="*/ 2511 h 10015"/>
                <a:gd name="connsiteX62" fmla="*/ 6842 w 10000"/>
                <a:gd name="connsiteY62" fmla="*/ 2451 h 10015"/>
                <a:gd name="connsiteX63" fmla="*/ 6879 w 10000"/>
                <a:gd name="connsiteY63" fmla="*/ 2392 h 10015"/>
                <a:gd name="connsiteX64" fmla="*/ 6909 w 10000"/>
                <a:gd name="connsiteY64" fmla="*/ 2337 h 10015"/>
                <a:gd name="connsiteX65" fmla="*/ 6946 w 10000"/>
                <a:gd name="connsiteY65" fmla="*/ 2277 h 10015"/>
                <a:gd name="connsiteX66" fmla="*/ 6990 w 10000"/>
                <a:gd name="connsiteY66" fmla="*/ 2222 h 10015"/>
                <a:gd name="connsiteX67" fmla="*/ 7027 w 10000"/>
                <a:gd name="connsiteY67" fmla="*/ 2167 h 10015"/>
                <a:gd name="connsiteX68" fmla="*/ 7072 w 10000"/>
                <a:gd name="connsiteY68" fmla="*/ 2112 h 10015"/>
                <a:gd name="connsiteX69" fmla="*/ 7109 w 10000"/>
                <a:gd name="connsiteY69" fmla="*/ 2057 h 10015"/>
                <a:gd name="connsiteX70" fmla="*/ 7161 w 10000"/>
                <a:gd name="connsiteY70" fmla="*/ 2007 h 10015"/>
                <a:gd name="connsiteX71" fmla="*/ 7213 w 10000"/>
                <a:gd name="connsiteY71" fmla="*/ 1952 h 10015"/>
                <a:gd name="connsiteX72" fmla="*/ 7257 w 10000"/>
                <a:gd name="connsiteY72" fmla="*/ 1897 h 10015"/>
                <a:gd name="connsiteX73" fmla="*/ 7309 w 10000"/>
                <a:gd name="connsiteY73" fmla="*/ 1846 h 10015"/>
                <a:gd name="connsiteX74" fmla="*/ 7361 w 10000"/>
                <a:gd name="connsiteY74" fmla="*/ 1795 h 10015"/>
                <a:gd name="connsiteX75" fmla="*/ 7413 w 10000"/>
                <a:gd name="connsiteY75" fmla="*/ 1745 h 10015"/>
                <a:gd name="connsiteX76" fmla="*/ 7472 w 10000"/>
                <a:gd name="connsiteY76" fmla="*/ 1694 h 10015"/>
                <a:gd name="connsiteX77" fmla="*/ 7524 w 10000"/>
                <a:gd name="connsiteY77" fmla="*/ 1648 h 10015"/>
                <a:gd name="connsiteX78" fmla="*/ 7583 w 10000"/>
                <a:gd name="connsiteY78" fmla="*/ 1602 h 10015"/>
                <a:gd name="connsiteX79" fmla="*/ 7610 w 10000"/>
                <a:gd name="connsiteY79" fmla="*/ 1573 h 10015"/>
                <a:gd name="connsiteX80" fmla="*/ 5390 w 10000"/>
                <a:gd name="connsiteY80" fmla="*/ 0 h 10015"/>
                <a:gd name="connsiteX81" fmla="*/ 1423 w 10000"/>
                <a:gd name="connsiteY81" fmla="*/ 8 h 10015"/>
                <a:gd name="connsiteX82" fmla="*/ 1305 w 10000"/>
                <a:gd name="connsiteY82" fmla="*/ 129 h 10015"/>
                <a:gd name="connsiteX83" fmla="*/ 1223 w 10000"/>
                <a:gd name="connsiteY83" fmla="*/ 221 h 10015"/>
                <a:gd name="connsiteX84" fmla="*/ 1149 w 10000"/>
                <a:gd name="connsiteY84" fmla="*/ 317 h 10015"/>
                <a:gd name="connsiteX85" fmla="*/ 1067 w 10000"/>
                <a:gd name="connsiteY85" fmla="*/ 414 h 10015"/>
                <a:gd name="connsiteX86" fmla="*/ 1001 w 10000"/>
                <a:gd name="connsiteY86" fmla="*/ 511 h 10015"/>
                <a:gd name="connsiteX87" fmla="*/ 927 w 10000"/>
                <a:gd name="connsiteY87" fmla="*/ 607 h 10015"/>
                <a:gd name="connsiteX88" fmla="*/ 860 w 10000"/>
                <a:gd name="connsiteY88" fmla="*/ 708 h 10015"/>
                <a:gd name="connsiteX89" fmla="*/ 793 w 10000"/>
                <a:gd name="connsiteY89" fmla="*/ 809 h 10015"/>
                <a:gd name="connsiteX90" fmla="*/ 734 w 10000"/>
                <a:gd name="connsiteY90" fmla="*/ 905 h 10015"/>
                <a:gd name="connsiteX91" fmla="*/ 675 w 10000"/>
                <a:gd name="connsiteY91" fmla="*/ 1006 h 10015"/>
                <a:gd name="connsiteX92" fmla="*/ 615 w 10000"/>
                <a:gd name="connsiteY92" fmla="*/ 1107 h 10015"/>
                <a:gd name="connsiteX93" fmla="*/ 556 w 10000"/>
                <a:gd name="connsiteY93" fmla="*/ 1213 h 10015"/>
                <a:gd name="connsiteX94" fmla="*/ 504 w 10000"/>
                <a:gd name="connsiteY94" fmla="*/ 1309 h 10015"/>
                <a:gd name="connsiteX95" fmla="*/ 452 w 10000"/>
                <a:gd name="connsiteY95" fmla="*/ 1415 h 10015"/>
                <a:gd name="connsiteX96" fmla="*/ 408 w 10000"/>
                <a:gd name="connsiteY96" fmla="*/ 1515 h 10015"/>
                <a:gd name="connsiteX97" fmla="*/ 363 w 10000"/>
                <a:gd name="connsiteY97" fmla="*/ 1621 h 10015"/>
                <a:gd name="connsiteX98" fmla="*/ 319 w 10000"/>
                <a:gd name="connsiteY98" fmla="*/ 1726 h 10015"/>
                <a:gd name="connsiteX99" fmla="*/ 282 w 10000"/>
                <a:gd name="connsiteY99" fmla="*/ 1833 h 10015"/>
                <a:gd name="connsiteX100" fmla="*/ 237 w 10000"/>
                <a:gd name="connsiteY100" fmla="*/ 1943 h 10015"/>
                <a:gd name="connsiteX101" fmla="*/ 208 w 10000"/>
                <a:gd name="connsiteY101" fmla="*/ 2048 h 10015"/>
                <a:gd name="connsiteX102" fmla="*/ 170 w 10000"/>
                <a:gd name="connsiteY102" fmla="*/ 2158 h 10015"/>
                <a:gd name="connsiteX103" fmla="*/ 148 w 10000"/>
                <a:gd name="connsiteY103" fmla="*/ 2268 h 10015"/>
                <a:gd name="connsiteX104" fmla="*/ 119 w 10000"/>
                <a:gd name="connsiteY104" fmla="*/ 2373 h 10015"/>
                <a:gd name="connsiteX105" fmla="*/ 96 w 10000"/>
                <a:gd name="connsiteY105" fmla="*/ 2483 h 10015"/>
                <a:gd name="connsiteX106" fmla="*/ 74 w 10000"/>
                <a:gd name="connsiteY106" fmla="*/ 2594 h 10015"/>
                <a:gd name="connsiteX107" fmla="*/ 52 w 10000"/>
                <a:gd name="connsiteY107" fmla="*/ 2709 h 10015"/>
                <a:gd name="connsiteX108" fmla="*/ 37 w 10000"/>
                <a:gd name="connsiteY108" fmla="*/ 2819 h 10015"/>
                <a:gd name="connsiteX109" fmla="*/ 22 w 10000"/>
                <a:gd name="connsiteY109" fmla="*/ 2929 h 10015"/>
                <a:gd name="connsiteX110" fmla="*/ 15 w 10000"/>
                <a:gd name="connsiteY110" fmla="*/ 3039 h 10015"/>
                <a:gd name="connsiteX111" fmla="*/ 7 w 10000"/>
                <a:gd name="connsiteY111" fmla="*/ 3153 h 10015"/>
                <a:gd name="connsiteX112" fmla="*/ 0 w 10000"/>
                <a:gd name="connsiteY112" fmla="*/ 3264 h 10015"/>
                <a:gd name="connsiteX113" fmla="*/ 0 w 10000"/>
                <a:gd name="connsiteY113" fmla="*/ 3379 h 10015"/>
                <a:gd name="connsiteX114" fmla="*/ 7 w 10000"/>
                <a:gd name="connsiteY114" fmla="*/ 3526 h 10015"/>
                <a:gd name="connsiteX115" fmla="*/ 7 w 10000"/>
                <a:gd name="connsiteY115" fmla="*/ 3672 h 10015"/>
                <a:gd name="connsiteX116" fmla="*/ 22 w 10000"/>
                <a:gd name="connsiteY116" fmla="*/ 3810 h 10015"/>
                <a:gd name="connsiteX117" fmla="*/ 37 w 10000"/>
                <a:gd name="connsiteY117" fmla="*/ 3953 h 10015"/>
                <a:gd name="connsiteX118" fmla="*/ 59 w 10000"/>
                <a:gd name="connsiteY118" fmla="*/ 4095 h 10015"/>
                <a:gd name="connsiteX119" fmla="*/ 89 w 10000"/>
                <a:gd name="connsiteY119" fmla="*/ 4237 h 10015"/>
                <a:gd name="connsiteX120" fmla="*/ 119 w 10000"/>
                <a:gd name="connsiteY120" fmla="*/ 4379 h 10015"/>
                <a:gd name="connsiteX121" fmla="*/ 148 w 10000"/>
                <a:gd name="connsiteY121" fmla="*/ 4521 h 10015"/>
                <a:gd name="connsiteX122" fmla="*/ 193 w 10000"/>
                <a:gd name="connsiteY122" fmla="*/ 4660 h 10015"/>
                <a:gd name="connsiteX123" fmla="*/ 237 w 10000"/>
                <a:gd name="connsiteY123" fmla="*/ 4797 h 10015"/>
                <a:gd name="connsiteX124" fmla="*/ 282 w 10000"/>
                <a:gd name="connsiteY124" fmla="*/ 4935 h 10015"/>
                <a:gd name="connsiteX125" fmla="*/ 334 w 10000"/>
                <a:gd name="connsiteY125" fmla="*/ 5072 h 10015"/>
                <a:gd name="connsiteX126" fmla="*/ 393 w 10000"/>
                <a:gd name="connsiteY126" fmla="*/ 5205 h 10015"/>
                <a:gd name="connsiteX127" fmla="*/ 452 w 10000"/>
                <a:gd name="connsiteY127" fmla="*/ 5338 h 10015"/>
                <a:gd name="connsiteX128" fmla="*/ 519 w 10000"/>
                <a:gd name="connsiteY128" fmla="*/ 5472 h 10015"/>
                <a:gd name="connsiteX129" fmla="*/ 586 w 10000"/>
                <a:gd name="connsiteY129" fmla="*/ 5605 h 10015"/>
                <a:gd name="connsiteX130" fmla="*/ 660 w 10000"/>
                <a:gd name="connsiteY130" fmla="*/ 5733 h 10015"/>
                <a:gd name="connsiteX131" fmla="*/ 741 w 10000"/>
                <a:gd name="connsiteY131" fmla="*/ 5861 h 10015"/>
                <a:gd name="connsiteX132" fmla="*/ 823 w 10000"/>
                <a:gd name="connsiteY132" fmla="*/ 5994 h 10015"/>
                <a:gd name="connsiteX133" fmla="*/ 904 w 10000"/>
                <a:gd name="connsiteY133" fmla="*/ 6119 h 10015"/>
                <a:gd name="connsiteX134" fmla="*/ 993 w 10000"/>
                <a:gd name="connsiteY134" fmla="*/ 6243 h 10015"/>
                <a:gd name="connsiteX135" fmla="*/ 1090 w 10000"/>
                <a:gd name="connsiteY135" fmla="*/ 6362 h 10015"/>
                <a:gd name="connsiteX136" fmla="*/ 1186 w 10000"/>
                <a:gd name="connsiteY136" fmla="*/ 6486 h 10015"/>
                <a:gd name="connsiteX137" fmla="*/ 1290 w 10000"/>
                <a:gd name="connsiteY137" fmla="*/ 6609 h 10015"/>
                <a:gd name="connsiteX138" fmla="*/ 1386 w 10000"/>
                <a:gd name="connsiteY138" fmla="*/ 6729 h 10015"/>
                <a:gd name="connsiteX139" fmla="*/ 1497 w 10000"/>
                <a:gd name="connsiteY139" fmla="*/ 6849 h 10015"/>
                <a:gd name="connsiteX140" fmla="*/ 1609 w 10000"/>
                <a:gd name="connsiteY140" fmla="*/ 6963 h 10015"/>
                <a:gd name="connsiteX141" fmla="*/ 1727 w 10000"/>
                <a:gd name="connsiteY141" fmla="*/ 7082 h 10015"/>
                <a:gd name="connsiteX142" fmla="*/ 1846 w 10000"/>
                <a:gd name="connsiteY142" fmla="*/ 7197 h 10015"/>
                <a:gd name="connsiteX143" fmla="*/ 1964 w 10000"/>
                <a:gd name="connsiteY143" fmla="*/ 7307 h 10015"/>
                <a:gd name="connsiteX144" fmla="*/ 2090 w 10000"/>
                <a:gd name="connsiteY144" fmla="*/ 7417 h 10015"/>
                <a:gd name="connsiteX145" fmla="*/ 2224 w 10000"/>
                <a:gd name="connsiteY145" fmla="*/ 7528 h 10015"/>
                <a:gd name="connsiteX146" fmla="*/ 2350 w 10000"/>
                <a:gd name="connsiteY146" fmla="*/ 7638 h 10015"/>
                <a:gd name="connsiteX147" fmla="*/ 2491 w 10000"/>
                <a:gd name="connsiteY147" fmla="*/ 7743 h 10015"/>
                <a:gd name="connsiteX148" fmla="*/ 2617 w 10000"/>
                <a:gd name="connsiteY148" fmla="*/ 7849 h 10015"/>
                <a:gd name="connsiteX149" fmla="*/ 2765 w 10000"/>
                <a:gd name="connsiteY149" fmla="*/ 7950 h 10015"/>
                <a:gd name="connsiteX150" fmla="*/ 2906 w 10000"/>
                <a:gd name="connsiteY150" fmla="*/ 8050 h 10015"/>
                <a:gd name="connsiteX151" fmla="*/ 3054 w 10000"/>
                <a:gd name="connsiteY151" fmla="*/ 8151 h 10015"/>
                <a:gd name="connsiteX152" fmla="*/ 3210 w 10000"/>
                <a:gd name="connsiteY152" fmla="*/ 8249 h 10015"/>
                <a:gd name="connsiteX153" fmla="*/ 3358 w 10000"/>
                <a:gd name="connsiteY153" fmla="*/ 8345 h 10015"/>
                <a:gd name="connsiteX154" fmla="*/ 3514 w 10000"/>
                <a:gd name="connsiteY154" fmla="*/ 8441 h 10015"/>
                <a:gd name="connsiteX155" fmla="*/ 3677 w 10000"/>
                <a:gd name="connsiteY155" fmla="*/ 8533 h 10015"/>
                <a:gd name="connsiteX156" fmla="*/ 3840 w 10000"/>
                <a:gd name="connsiteY156" fmla="*/ 8620 h 10015"/>
                <a:gd name="connsiteX157" fmla="*/ 4010 w 10000"/>
                <a:gd name="connsiteY157" fmla="*/ 8711 h 10015"/>
                <a:gd name="connsiteX158" fmla="*/ 4181 w 10000"/>
                <a:gd name="connsiteY158" fmla="*/ 8789 h 10015"/>
                <a:gd name="connsiteX159" fmla="*/ 4351 w 10000"/>
                <a:gd name="connsiteY159" fmla="*/ 8876 h 10015"/>
                <a:gd name="connsiteX160" fmla="*/ 4522 w 10000"/>
                <a:gd name="connsiteY160" fmla="*/ 8955 h 10015"/>
                <a:gd name="connsiteX161" fmla="*/ 4700 w 10000"/>
                <a:gd name="connsiteY161" fmla="*/ 9038 h 10015"/>
                <a:gd name="connsiteX162" fmla="*/ 4878 w 10000"/>
                <a:gd name="connsiteY162" fmla="*/ 9116 h 10015"/>
                <a:gd name="connsiteX163" fmla="*/ 5063 w 10000"/>
                <a:gd name="connsiteY163" fmla="*/ 9189 h 10015"/>
                <a:gd name="connsiteX164" fmla="*/ 5248 w 10000"/>
                <a:gd name="connsiteY164" fmla="*/ 9267 h 10015"/>
                <a:gd name="connsiteX165" fmla="*/ 5426 w 10000"/>
                <a:gd name="connsiteY165" fmla="*/ 9336 h 10015"/>
                <a:gd name="connsiteX166" fmla="*/ 5619 w 10000"/>
                <a:gd name="connsiteY166" fmla="*/ 9404 h 10015"/>
                <a:gd name="connsiteX167" fmla="*/ 5812 w 10000"/>
                <a:gd name="connsiteY167" fmla="*/ 9473 h 10015"/>
                <a:gd name="connsiteX168" fmla="*/ 6004 w 10000"/>
                <a:gd name="connsiteY168" fmla="*/ 9537 h 10015"/>
                <a:gd name="connsiteX169" fmla="*/ 6205 w 10000"/>
                <a:gd name="connsiteY169" fmla="*/ 9602 h 10015"/>
                <a:gd name="connsiteX170" fmla="*/ 6397 w 10000"/>
                <a:gd name="connsiteY170" fmla="*/ 9662 h 10015"/>
                <a:gd name="connsiteX171" fmla="*/ 6605 w 10000"/>
                <a:gd name="connsiteY171" fmla="*/ 9717 h 10015"/>
                <a:gd name="connsiteX172" fmla="*/ 6805 w 10000"/>
                <a:gd name="connsiteY172" fmla="*/ 9772 h 10015"/>
                <a:gd name="connsiteX173" fmla="*/ 7005 w 10000"/>
                <a:gd name="connsiteY173" fmla="*/ 9827 h 10015"/>
                <a:gd name="connsiteX174" fmla="*/ 7213 w 10000"/>
                <a:gd name="connsiteY174" fmla="*/ 9878 h 10015"/>
                <a:gd name="connsiteX175" fmla="*/ 7420 w 10000"/>
                <a:gd name="connsiteY175" fmla="*/ 9923 h 10015"/>
                <a:gd name="connsiteX176" fmla="*/ 7628 w 10000"/>
                <a:gd name="connsiteY176" fmla="*/ 9969 h 10015"/>
                <a:gd name="connsiteX177" fmla="*/ 7835 w 10000"/>
                <a:gd name="connsiteY177" fmla="*/ 10015 h 10015"/>
                <a:gd name="connsiteX178" fmla="*/ 7539 w 10000"/>
                <a:gd name="connsiteY178" fmla="*/ 7766 h 10015"/>
                <a:gd name="connsiteX179" fmla="*/ 10000 w 10000"/>
                <a:gd name="connsiteY179" fmla="*/ 6151 h 10015"/>
                <a:gd name="connsiteX0" fmla="*/ 10000 w 10000"/>
                <a:gd name="connsiteY0" fmla="*/ 6143 h 10007"/>
                <a:gd name="connsiteX1" fmla="*/ 10000 w 10000"/>
                <a:gd name="connsiteY1" fmla="*/ 6143 h 10007"/>
                <a:gd name="connsiteX2" fmla="*/ 9911 w 10000"/>
                <a:gd name="connsiteY2" fmla="*/ 6129 h 10007"/>
                <a:gd name="connsiteX3" fmla="*/ 9815 w 10000"/>
                <a:gd name="connsiteY3" fmla="*/ 6111 h 10007"/>
                <a:gd name="connsiteX4" fmla="*/ 9726 w 10000"/>
                <a:gd name="connsiteY4" fmla="*/ 6093 h 10007"/>
                <a:gd name="connsiteX5" fmla="*/ 9637 w 10000"/>
                <a:gd name="connsiteY5" fmla="*/ 6069 h 10007"/>
                <a:gd name="connsiteX6" fmla="*/ 9548 w 10000"/>
                <a:gd name="connsiteY6" fmla="*/ 6050 h 10007"/>
                <a:gd name="connsiteX7" fmla="*/ 9466 w 10000"/>
                <a:gd name="connsiteY7" fmla="*/ 6028 h 10007"/>
                <a:gd name="connsiteX8" fmla="*/ 9377 w 10000"/>
                <a:gd name="connsiteY8" fmla="*/ 6005 h 10007"/>
                <a:gd name="connsiteX9" fmla="*/ 9288 w 10000"/>
                <a:gd name="connsiteY9" fmla="*/ 5982 h 10007"/>
                <a:gd name="connsiteX10" fmla="*/ 9118 w 10000"/>
                <a:gd name="connsiteY10" fmla="*/ 5931 h 10007"/>
                <a:gd name="connsiteX11" fmla="*/ 8955 w 10000"/>
                <a:gd name="connsiteY11" fmla="*/ 5876 h 10007"/>
                <a:gd name="connsiteX12" fmla="*/ 8792 w 10000"/>
                <a:gd name="connsiteY12" fmla="*/ 5817 h 10007"/>
                <a:gd name="connsiteX13" fmla="*/ 8636 w 10000"/>
                <a:gd name="connsiteY13" fmla="*/ 5753 h 10007"/>
                <a:gd name="connsiteX14" fmla="*/ 8480 w 10000"/>
                <a:gd name="connsiteY14" fmla="*/ 5688 h 10007"/>
                <a:gd name="connsiteX15" fmla="*/ 8340 w 10000"/>
                <a:gd name="connsiteY15" fmla="*/ 5620 h 10007"/>
                <a:gd name="connsiteX16" fmla="*/ 8199 w 10000"/>
                <a:gd name="connsiteY16" fmla="*/ 5546 h 10007"/>
                <a:gd name="connsiteX17" fmla="*/ 8058 w 10000"/>
                <a:gd name="connsiteY17" fmla="*/ 5468 h 10007"/>
                <a:gd name="connsiteX18" fmla="*/ 7924 w 10000"/>
                <a:gd name="connsiteY18" fmla="*/ 5386 h 10007"/>
                <a:gd name="connsiteX19" fmla="*/ 7798 w 10000"/>
                <a:gd name="connsiteY19" fmla="*/ 5302 h 10007"/>
                <a:gd name="connsiteX20" fmla="*/ 7672 w 10000"/>
                <a:gd name="connsiteY20" fmla="*/ 5215 h 10007"/>
                <a:gd name="connsiteX21" fmla="*/ 7554 w 10000"/>
                <a:gd name="connsiteY21" fmla="*/ 5128 h 10007"/>
                <a:gd name="connsiteX22" fmla="*/ 7450 w 10000"/>
                <a:gd name="connsiteY22" fmla="*/ 5032 h 10007"/>
                <a:gd name="connsiteX23" fmla="*/ 7346 w 10000"/>
                <a:gd name="connsiteY23" fmla="*/ 4936 h 10007"/>
                <a:gd name="connsiteX24" fmla="*/ 7250 w 10000"/>
                <a:gd name="connsiteY24" fmla="*/ 4840 h 10007"/>
                <a:gd name="connsiteX25" fmla="*/ 7161 w 10000"/>
                <a:gd name="connsiteY25" fmla="*/ 4739 h 10007"/>
                <a:gd name="connsiteX26" fmla="*/ 7072 w 10000"/>
                <a:gd name="connsiteY26" fmla="*/ 4637 h 10007"/>
                <a:gd name="connsiteX27" fmla="*/ 6990 w 10000"/>
                <a:gd name="connsiteY27" fmla="*/ 4527 h 10007"/>
                <a:gd name="connsiteX28" fmla="*/ 6953 w 10000"/>
                <a:gd name="connsiteY28" fmla="*/ 4477 h 10007"/>
                <a:gd name="connsiteX29" fmla="*/ 6916 w 10000"/>
                <a:gd name="connsiteY29" fmla="*/ 4422 h 10007"/>
                <a:gd name="connsiteX30" fmla="*/ 6887 w 10000"/>
                <a:gd name="connsiteY30" fmla="*/ 4367 h 10007"/>
                <a:gd name="connsiteX31" fmla="*/ 6850 w 10000"/>
                <a:gd name="connsiteY31" fmla="*/ 4312 h 10007"/>
                <a:gd name="connsiteX32" fmla="*/ 6820 w 10000"/>
                <a:gd name="connsiteY32" fmla="*/ 4257 h 10007"/>
                <a:gd name="connsiteX33" fmla="*/ 6790 w 10000"/>
                <a:gd name="connsiteY33" fmla="*/ 4202 h 10007"/>
                <a:gd name="connsiteX34" fmla="*/ 6768 w 10000"/>
                <a:gd name="connsiteY34" fmla="*/ 4142 h 10007"/>
                <a:gd name="connsiteX35" fmla="*/ 6738 w 10000"/>
                <a:gd name="connsiteY35" fmla="*/ 4087 h 10007"/>
                <a:gd name="connsiteX36" fmla="*/ 6723 w 10000"/>
                <a:gd name="connsiteY36" fmla="*/ 4027 h 10007"/>
                <a:gd name="connsiteX37" fmla="*/ 6694 w 10000"/>
                <a:gd name="connsiteY37" fmla="*/ 3972 h 10007"/>
                <a:gd name="connsiteX38" fmla="*/ 6679 w 10000"/>
                <a:gd name="connsiteY38" fmla="*/ 3912 h 10007"/>
                <a:gd name="connsiteX39" fmla="*/ 6664 w 10000"/>
                <a:gd name="connsiteY39" fmla="*/ 3852 h 10007"/>
                <a:gd name="connsiteX40" fmla="*/ 6649 w 10000"/>
                <a:gd name="connsiteY40" fmla="*/ 3793 h 10007"/>
                <a:gd name="connsiteX41" fmla="*/ 6635 w 10000"/>
                <a:gd name="connsiteY41" fmla="*/ 3738 h 10007"/>
                <a:gd name="connsiteX42" fmla="*/ 6620 w 10000"/>
                <a:gd name="connsiteY42" fmla="*/ 3678 h 10007"/>
                <a:gd name="connsiteX43" fmla="*/ 6612 w 10000"/>
                <a:gd name="connsiteY43" fmla="*/ 3619 h 10007"/>
                <a:gd name="connsiteX44" fmla="*/ 6605 w 10000"/>
                <a:gd name="connsiteY44" fmla="*/ 3559 h 10007"/>
                <a:gd name="connsiteX45" fmla="*/ 6597 w 10000"/>
                <a:gd name="connsiteY45" fmla="*/ 3495 h 10007"/>
                <a:gd name="connsiteX46" fmla="*/ 6597 w 10000"/>
                <a:gd name="connsiteY46" fmla="*/ 3435 h 10007"/>
                <a:gd name="connsiteX47" fmla="*/ 6590 w 10000"/>
                <a:gd name="connsiteY47" fmla="*/ 3371 h 10007"/>
                <a:gd name="connsiteX48" fmla="*/ 6597 w 10000"/>
                <a:gd name="connsiteY48" fmla="*/ 3311 h 10007"/>
                <a:gd name="connsiteX49" fmla="*/ 6605 w 10000"/>
                <a:gd name="connsiteY49" fmla="*/ 3243 h 10007"/>
                <a:gd name="connsiteX50" fmla="*/ 6605 w 10000"/>
                <a:gd name="connsiteY50" fmla="*/ 3178 h 10007"/>
                <a:gd name="connsiteX51" fmla="*/ 6612 w 10000"/>
                <a:gd name="connsiteY51" fmla="*/ 3113 h 10007"/>
                <a:gd name="connsiteX52" fmla="*/ 6620 w 10000"/>
                <a:gd name="connsiteY52" fmla="*/ 3049 h 10007"/>
                <a:gd name="connsiteX53" fmla="*/ 6635 w 10000"/>
                <a:gd name="connsiteY53" fmla="*/ 2990 h 10007"/>
                <a:gd name="connsiteX54" fmla="*/ 6649 w 10000"/>
                <a:gd name="connsiteY54" fmla="*/ 2926 h 10007"/>
                <a:gd name="connsiteX55" fmla="*/ 6664 w 10000"/>
                <a:gd name="connsiteY55" fmla="*/ 2866 h 10007"/>
                <a:gd name="connsiteX56" fmla="*/ 6686 w 10000"/>
                <a:gd name="connsiteY56" fmla="*/ 2802 h 10007"/>
                <a:gd name="connsiteX57" fmla="*/ 6709 w 10000"/>
                <a:gd name="connsiteY57" fmla="*/ 2742 h 10007"/>
                <a:gd name="connsiteX58" fmla="*/ 6731 w 10000"/>
                <a:gd name="connsiteY58" fmla="*/ 2683 h 10007"/>
                <a:gd name="connsiteX59" fmla="*/ 6753 w 10000"/>
                <a:gd name="connsiteY59" fmla="*/ 2618 h 10007"/>
                <a:gd name="connsiteX60" fmla="*/ 6783 w 10000"/>
                <a:gd name="connsiteY60" fmla="*/ 2563 h 10007"/>
                <a:gd name="connsiteX61" fmla="*/ 6812 w 10000"/>
                <a:gd name="connsiteY61" fmla="*/ 2503 h 10007"/>
                <a:gd name="connsiteX62" fmla="*/ 6842 w 10000"/>
                <a:gd name="connsiteY62" fmla="*/ 2443 h 10007"/>
                <a:gd name="connsiteX63" fmla="*/ 6879 w 10000"/>
                <a:gd name="connsiteY63" fmla="*/ 2384 h 10007"/>
                <a:gd name="connsiteX64" fmla="*/ 6909 w 10000"/>
                <a:gd name="connsiteY64" fmla="*/ 2329 h 10007"/>
                <a:gd name="connsiteX65" fmla="*/ 6946 w 10000"/>
                <a:gd name="connsiteY65" fmla="*/ 2269 h 10007"/>
                <a:gd name="connsiteX66" fmla="*/ 6990 w 10000"/>
                <a:gd name="connsiteY66" fmla="*/ 2214 h 10007"/>
                <a:gd name="connsiteX67" fmla="*/ 7027 w 10000"/>
                <a:gd name="connsiteY67" fmla="*/ 2159 h 10007"/>
                <a:gd name="connsiteX68" fmla="*/ 7072 w 10000"/>
                <a:gd name="connsiteY68" fmla="*/ 2104 h 10007"/>
                <a:gd name="connsiteX69" fmla="*/ 7109 w 10000"/>
                <a:gd name="connsiteY69" fmla="*/ 2049 h 10007"/>
                <a:gd name="connsiteX70" fmla="*/ 7161 w 10000"/>
                <a:gd name="connsiteY70" fmla="*/ 1999 h 10007"/>
                <a:gd name="connsiteX71" fmla="*/ 7213 w 10000"/>
                <a:gd name="connsiteY71" fmla="*/ 1944 h 10007"/>
                <a:gd name="connsiteX72" fmla="*/ 7257 w 10000"/>
                <a:gd name="connsiteY72" fmla="*/ 1889 h 10007"/>
                <a:gd name="connsiteX73" fmla="*/ 7309 w 10000"/>
                <a:gd name="connsiteY73" fmla="*/ 1838 h 10007"/>
                <a:gd name="connsiteX74" fmla="*/ 7361 w 10000"/>
                <a:gd name="connsiteY74" fmla="*/ 1787 h 10007"/>
                <a:gd name="connsiteX75" fmla="*/ 7413 w 10000"/>
                <a:gd name="connsiteY75" fmla="*/ 1737 h 10007"/>
                <a:gd name="connsiteX76" fmla="*/ 7472 w 10000"/>
                <a:gd name="connsiteY76" fmla="*/ 1686 h 10007"/>
                <a:gd name="connsiteX77" fmla="*/ 7524 w 10000"/>
                <a:gd name="connsiteY77" fmla="*/ 1640 h 10007"/>
                <a:gd name="connsiteX78" fmla="*/ 7583 w 10000"/>
                <a:gd name="connsiteY78" fmla="*/ 1594 h 10007"/>
                <a:gd name="connsiteX79" fmla="*/ 7610 w 10000"/>
                <a:gd name="connsiteY79" fmla="*/ 1565 h 10007"/>
                <a:gd name="connsiteX80" fmla="*/ 5379 w 10000"/>
                <a:gd name="connsiteY80" fmla="*/ 20 h 10007"/>
                <a:gd name="connsiteX81" fmla="*/ 1423 w 10000"/>
                <a:gd name="connsiteY81" fmla="*/ 0 h 10007"/>
                <a:gd name="connsiteX82" fmla="*/ 1305 w 10000"/>
                <a:gd name="connsiteY82" fmla="*/ 121 h 10007"/>
                <a:gd name="connsiteX83" fmla="*/ 1223 w 10000"/>
                <a:gd name="connsiteY83" fmla="*/ 213 h 10007"/>
                <a:gd name="connsiteX84" fmla="*/ 1149 w 10000"/>
                <a:gd name="connsiteY84" fmla="*/ 309 h 10007"/>
                <a:gd name="connsiteX85" fmla="*/ 1067 w 10000"/>
                <a:gd name="connsiteY85" fmla="*/ 406 h 10007"/>
                <a:gd name="connsiteX86" fmla="*/ 1001 w 10000"/>
                <a:gd name="connsiteY86" fmla="*/ 503 h 10007"/>
                <a:gd name="connsiteX87" fmla="*/ 927 w 10000"/>
                <a:gd name="connsiteY87" fmla="*/ 599 h 10007"/>
                <a:gd name="connsiteX88" fmla="*/ 860 w 10000"/>
                <a:gd name="connsiteY88" fmla="*/ 700 h 10007"/>
                <a:gd name="connsiteX89" fmla="*/ 793 w 10000"/>
                <a:gd name="connsiteY89" fmla="*/ 801 h 10007"/>
                <a:gd name="connsiteX90" fmla="*/ 734 w 10000"/>
                <a:gd name="connsiteY90" fmla="*/ 897 h 10007"/>
                <a:gd name="connsiteX91" fmla="*/ 675 w 10000"/>
                <a:gd name="connsiteY91" fmla="*/ 998 h 10007"/>
                <a:gd name="connsiteX92" fmla="*/ 615 w 10000"/>
                <a:gd name="connsiteY92" fmla="*/ 1099 h 10007"/>
                <a:gd name="connsiteX93" fmla="*/ 556 w 10000"/>
                <a:gd name="connsiteY93" fmla="*/ 1205 h 10007"/>
                <a:gd name="connsiteX94" fmla="*/ 504 w 10000"/>
                <a:gd name="connsiteY94" fmla="*/ 1301 h 10007"/>
                <a:gd name="connsiteX95" fmla="*/ 452 w 10000"/>
                <a:gd name="connsiteY95" fmla="*/ 1407 h 10007"/>
                <a:gd name="connsiteX96" fmla="*/ 408 w 10000"/>
                <a:gd name="connsiteY96" fmla="*/ 1507 h 10007"/>
                <a:gd name="connsiteX97" fmla="*/ 363 w 10000"/>
                <a:gd name="connsiteY97" fmla="*/ 1613 h 10007"/>
                <a:gd name="connsiteX98" fmla="*/ 319 w 10000"/>
                <a:gd name="connsiteY98" fmla="*/ 1718 h 10007"/>
                <a:gd name="connsiteX99" fmla="*/ 282 w 10000"/>
                <a:gd name="connsiteY99" fmla="*/ 1825 h 10007"/>
                <a:gd name="connsiteX100" fmla="*/ 237 w 10000"/>
                <a:gd name="connsiteY100" fmla="*/ 1935 h 10007"/>
                <a:gd name="connsiteX101" fmla="*/ 208 w 10000"/>
                <a:gd name="connsiteY101" fmla="*/ 2040 h 10007"/>
                <a:gd name="connsiteX102" fmla="*/ 170 w 10000"/>
                <a:gd name="connsiteY102" fmla="*/ 2150 h 10007"/>
                <a:gd name="connsiteX103" fmla="*/ 148 w 10000"/>
                <a:gd name="connsiteY103" fmla="*/ 2260 h 10007"/>
                <a:gd name="connsiteX104" fmla="*/ 119 w 10000"/>
                <a:gd name="connsiteY104" fmla="*/ 2365 h 10007"/>
                <a:gd name="connsiteX105" fmla="*/ 96 w 10000"/>
                <a:gd name="connsiteY105" fmla="*/ 2475 h 10007"/>
                <a:gd name="connsiteX106" fmla="*/ 74 w 10000"/>
                <a:gd name="connsiteY106" fmla="*/ 2586 h 10007"/>
                <a:gd name="connsiteX107" fmla="*/ 52 w 10000"/>
                <a:gd name="connsiteY107" fmla="*/ 2701 h 10007"/>
                <a:gd name="connsiteX108" fmla="*/ 37 w 10000"/>
                <a:gd name="connsiteY108" fmla="*/ 2811 h 10007"/>
                <a:gd name="connsiteX109" fmla="*/ 22 w 10000"/>
                <a:gd name="connsiteY109" fmla="*/ 2921 h 10007"/>
                <a:gd name="connsiteX110" fmla="*/ 15 w 10000"/>
                <a:gd name="connsiteY110" fmla="*/ 3031 h 10007"/>
                <a:gd name="connsiteX111" fmla="*/ 7 w 10000"/>
                <a:gd name="connsiteY111" fmla="*/ 3145 h 10007"/>
                <a:gd name="connsiteX112" fmla="*/ 0 w 10000"/>
                <a:gd name="connsiteY112" fmla="*/ 3256 h 10007"/>
                <a:gd name="connsiteX113" fmla="*/ 0 w 10000"/>
                <a:gd name="connsiteY113" fmla="*/ 3371 h 10007"/>
                <a:gd name="connsiteX114" fmla="*/ 7 w 10000"/>
                <a:gd name="connsiteY114" fmla="*/ 3518 h 10007"/>
                <a:gd name="connsiteX115" fmla="*/ 7 w 10000"/>
                <a:gd name="connsiteY115" fmla="*/ 3664 h 10007"/>
                <a:gd name="connsiteX116" fmla="*/ 22 w 10000"/>
                <a:gd name="connsiteY116" fmla="*/ 3802 h 10007"/>
                <a:gd name="connsiteX117" fmla="*/ 37 w 10000"/>
                <a:gd name="connsiteY117" fmla="*/ 3945 h 10007"/>
                <a:gd name="connsiteX118" fmla="*/ 59 w 10000"/>
                <a:gd name="connsiteY118" fmla="*/ 4087 h 10007"/>
                <a:gd name="connsiteX119" fmla="*/ 89 w 10000"/>
                <a:gd name="connsiteY119" fmla="*/ 4229 h 10007"/>
                <a:gd name="connsiteX120" fmla="*/ 119 w 10000"/>
                <a:gd name="connsiteY120" fmla="*/ 4371 h 10007"/>
                <a:gd name="connsiteX121" fmla="*/ 148 w 10000"/>
                <a:gd name="connsiteY121" fmla="*/ 4513 h 10007"/>
                <a:gd name="connsiteX122" fmla="*/ 193 w 10000"/>
                <a:gd name="connsiteY122" fmla="*/ 4652 h 10007"/>
                <a:gd name="connsiteX123" fmla="*/ 237 w 10000"/>
                <a:gd name="connsiteY123" fmla="*/ 4789 h 10007"/>
                <a:gd name="connsiteX124" fmla="*/ 282 w 10000"/>
                <a:gd name="connsiteY124" fmla="*/ 4927 h 10007"/>
                <a:gd name="connsiteX125" fmla="*/ 334 w 10000"/>
                <a:gd name="connsiteY125" fmla="*/ 5064 h 10007"/>
                <a:gd name="connsiteX126" fmla="*/ 393 w 10000"/>
                <a:gd name="connsiteY126" fmla="*/ 5197 h 10007"/>
                <a:gd name="connsiteX127" fmla="*/ 452 w 10000"/>
                <a:gd name="connsiteY127" fmla="*/ 5330 h 10007"/>
                <a:gd name="connsiteX128" fmla="*/ 519 w 10000"/>
                <a:gd name="connsiteY128" fmla="*/ 5464 h 10007"/>
                <a:gd name="connsiteX129" fmla="*/ 586 w 10000"/>
                <a:gd name="connsiteY129" fmla="*/ 5597 h 10007"/>
                <a:gd name="connsiteX130" fmla="*/ 660 w 10000"/>
                <a:gd name="connsiteY130" fmla="*/ 5725 h 10007"/>
                <a:gd name="connsiteX131" fmla="*/ 741 w 10000"/>
                <a:gd name="connsiteY131" fmla="*/ 5853 h 10007"/>
                <a:gd name="connsiteX132" fmla="*/ 823 w 10000"/>
                <a:gd name="connsiteY132" fmla="*/ 5986 h 10007"/>
                <a:gd name="connsiteX133" fmla="*/ 904 w 10000"/>
                <a:gd name="connsiteY133" fmla="*/ 6111 h 10007"/>
                <a:gd name="connsiteX134" fmla="*/ 993 w 10000"/>
                <a:gd name="connsiteY134" fmla="*/ 6235 h 10007"/>
                <a:gd name="connsiteX135" fmla="*/ 1090 w 10000"/>
                <a:gd name="connsiteY135" fmla="*/ 6354 h 10007"/>
                <a:gd name="connsiteX136" fmla="*/ 1186 w 10000"/>
                <a:gd name="connsiteY136" fmla="*/ 6478 h 10007"/>
                <a:gd name="connsiteX137" fmla="*/ 1290 w 10000"/>
                <a:gd name="connsiteY137" fmla="*/ 6601 h 10007"/>
                <a:gd name="connsiteX138" fmla="*/ 1386 w 10000"/>
                <a:gd name="connsiteY138" fmla="*/ 6721 h 10007"/>
                <a:gd name="connsiteX139" fmla="*/ 1497 w 10000"/>
                <a:gd name="connsiteY139" fmla="*/ 6841 h 10007"/>
                <a:gd name="connsiteX140" fmla="*/ 1609 w 10000"/>
                <a:gd name="connsiteY140" fmla="*/ 6955 h 10007"/>
                <a:gd name="connsiteX141" fmla="*/ 1727 w 10000"/>
                <a:gd name="connsiteY141" fmla="*/ 7074 h 10007"/>
                <a:gd name="connsiteX142" fmla="*/ 1846 w 10000"/>
                <a:gd name="connsiteY142" fmla="*/ 7189 h 10007"/>
                <a:gd name="connsiteX143" fmla="*/ 1964 w 10000"/>
                <a:gd name="connsiteY143" fmla="*/ 7299 h 10007"/>
                <a:gd name="connsiteX144" fmla="*/ 2090 w 10000"/>
                <a:gd name="connsiteY144" fmla="*/ 7409 h 10007"/>
                <a:gd name="connsiteX145" fmla="*/ 2224 w 10000"/>
                <a:gd name="connsiteY145" fmla="*/ 7520 h 10007"/>
                <a:gd name="connsiteX146" fmla="*/ 2350 w 10000"/>
                <a:gd name="connsiteY146" fmla="*/ 7630 h 10007"/>
                <a:gd name="connsiteX147" fmla="*/ 2491 w 10000"/>
                <a:gd name="connsiteY147" fmla="*/ 7735 h 10007"/>
                <a:gd name="connsiteX148" fmla="*/ 2617 w 10000"/>
                <a:gd name="connsiteY148" fmla="*/ 7841 h 10007"/>
                <a:gd name="connsiteX149" fmla="*/ 2765 w 10000"/>
                <a:gd name="connsiteY149" fmla="*/ 7942 h 10007"/>
                <a:gd name="connsiteX150" fmla="*/ 2906 w 10000"/>
                <a:gd name="connsiteY150" fmla="*/ 8042 h 10007"/>
                <a:gd name="connsiteX151" fmla="*/ 3054 w 10000"/>
                <a:gd name="connsiteY151" fmla="*/ 8143 h 10007"/>
                <a:gd name="connsiteX152" fmla="*/ 3210 w 10000"/>
                <a:gd name="connsiteY152" fmla="*/ 8241 h 10007"/>
                <a:gd name="connsiteX153" fmla="*/ 3358 w 10000"/>
                <a:gd name="connsiteY153" fmla="*/ 8337 h 10007"/>
                <a:gd name="connsiteX154" fmla="*/ 3514 w 10000"/>
                <a:gd name="connsiteY154" fmla="*/ 8433 h 10007"/>
                <a:gd name="connsiteX155" fmla="*/ 3677 w 10000"/>
                <a:gd name="connsiteY155" fmla="*/ 8525 h 10007"/>
                <a:gd name="connsiteX156" fmla="*/ 3840 w 10000"/>
                <a:gd name="connsiteY156" fmla="*/ 8612 h 10007"/>
                <a:gd name="connsiteX157" fmla="*/ 4010 w 10000"/>
                <a:gd name="connsiteY157" fmla="*/ 8703 h 10007"/>
                <a:gd name="connsiteX158" fmla="*/ 4181 w 10000"/>
                <a:gd name="connsiteY158" fmla="*/ 8781 h 10007"/>
                <a:gd name="connsiteX159" fmla="*/ 4351 w 10000"/>
                <a:gd name="connsiteY159" fmla="*/ 8868 h 10007"/>
                <a:gd name="connsiteX160" fmla="*/ 4522 w 10000"/>
                <a:gd name="connsiteY160" fmla="*/ 8947 h 10007"/>
                <a:gd name="connsiteX161" fmla="*/ 4700 w 10000"/>
                <a:gd name="connsiteY161" fmla="*/ 9030 h 10007"/>
                <a:gd name="connsiteX162" fmla="*/ 4878 w 10000"/>
                <a:gd name="connsiteY162" fmla="*/ 9108 h 10007"/>
                <a:gd name="connsiteX163" fmla="*/ 5063 w 10000"/>
                <a:gd name="connsiteY163" fmla="*/ 9181 h 10007"/>
                <a:gd name="connsiteX164" fmla="*/ 5248 w 10000"/>
                <a:gd name="connsiteY164" fmla="*/ 9259 h 10007"/>
                <a:gd name="connsiteX165" fmla="*/ 5426 w 10000"/>
                <a:gd name="connsiteY165" fmla="*/ 9328 h 10007"/>
                <a:gd name="connsiteX166" fmla="*/ 5619 w 10000"/>
                <a:gd name="connsiteY166" fmla="*/ 9396 h 10007"/>
                <a:gd name="connsiteX167" fmla="*/ 5812 w 10000"/>
                <a:gd name="connsiteY167" fmla="*/ 9465 h 10007"/>
                <a:gd name="connsiteX168" fmla="*/ 6004 w 10000"/>
                <a:gd name="connsiteY168" fmla="*/ 9529 h 10007"/>
                <a:gd name="connsiteX169" fmla="*/ 6205 w 10000"/>
                <a:gd name="connsiteY169" fmla="*/ 9594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58 h 10007"/>
                <a:gd name="connsiteX179" fmla="*/ 10000 w 10000"/>
                <a:gd name="connsiteY179" fmla="*/ 6143 h 10007"/>
                <a:gd name="connsiteX0" fmla="*/ 10000 w 10000"/>
                <a:gd name="connsiteY0" fmla="*/ 6143 h 10007"/>
                <a:gd name="connsiteX1" fmla="*/ 10000 w 10000"/>
                <a:gd name="connsiteY1" fmla="*/ 6143 h 10007"/>
                <a:gd name="connsiteX2" fmla="*/ 9911 w 10000"/>
                <a:gd name="connsiteY2" fmla="*/ 6129 h 10007"/>
                <a:gd name="connsiteX3" fmla="*/ 9815 w 10000"/>
                <a:gd name="connsiteY3" fmla="*/ 6111 h 10007"/>
                <a:gd name="connsiteX4" fmla="*/ 9726 w 10000"/>
                <a:gd name="connsiteY4" fmla="*/ 6093 h 10007"/>
                <a:gd name="connsiteX5" fmla="*/ 9637 w 10000"/>
                <a:gd name="connsiteY5" fmla="*/ 6069 h 10007"/>
                <a:gd name="connsiteX6" fmla="*/ 9548 w 10000"/>
                <a:gd name="connsiteY6" fmla="*/ 6050 h 10007"/>
                <a:gd name="connsiteX7" fmla="*/ 9466 w 10000"/>
                <a:gd name="connsiteY7" fmla="*/ 6028 h 10007"/>
                <a:gd name="connsiteX8" fmla="*/ 9377 w 10000"/>
                <a:gd name="connsiteY8" fmla="*/ 6005 h 10007"/>
                <a:gd name="connsiteX9" fmla="*/ 9288 w 10000"/>
                <a:gd name="connsiteY9" fmla="*/ 5982 h 10007"/>
                <a:gd name="connsiteX10" fmla="*/ 9118 w 10000"/>
                <a:gd name="connsiteY10" fmla="*/ 5931 h 10007"/>
                <a:gd name="connsiteX11" fmla="*/ 8955 w 10000"/>
                <a:gd name="connsiteY11" fmla="*/ 5876 h 10007"/>
                <a:gd name="connsiteX12" fmla="*/ 8792 w 10000"/>
                <a:gd name="connsiteY12" fmla="*/ 5817 h 10007"/>
                <a:gd name="connsiteX13" fmla="*/ 8636 w 10000"/>
                <a:gd name="connsiteY13" fmla="*/ 5753 h 10007"/>
                <a:gd name="connsiteX14" fmla="*/ 8480 w 10000"/>
                <a:gd name="connsiteY14" fmla="*/ 5688 h 10007"/>
                <a:gd name="connsiteX15" fmla="*/ 8340 w 10000"/>
                <a:gd name="connsiteY15" fmla="*/ 5620 h 10007"/>
                <a:gd name="connsiteX16" fmla="*/ 8199 w 10000"/>
                <a:gd name="connsiteY16" fmla="*/ 5546 h 10007"/>
                <a:gd name="connsiteX17" fmla="*/ 8058 w 10000"/>
                <a:gd name="connsiteY17" fmla="*/ 5468 h 10007"/>
                <a:gd name="connsiteX18" fmla="*/ 7924 w 10000"/>
                <a:gd name="connsiteY18" fmla="*/ 5386 h 10007"/>
                <a:gd name="connsiteX19" fmla="*/ 7798 w 10000"/>
                <a:gd name="connsiteY19" fmla="*/ 5302 h 10007"/>
                <a:gd name="connsiteX20" fmla="*/ 7672 w 10000"/>
                <a:gd name="connsiteY20" fmla="*/ 5215 h 10007"/>
                <a:gd name="connsiteX21" fmla="*/ 7554 w 10000"/>
                <a:gd name="connsiteY21" fmla="*/ 5128 h 10007"/>
                <a:gd name="connsiteX22" fmla="*/ 7450 w 10000"/>
                <a:gd name="connsiteY22" fmla="*/ 5032 h 10007"/>
                <a:gd name="connsiteX23" fmla="*/ 7346 w 10000"/>
                <a:gd name="connsiteY23" fmla="*/ 4936 h 10007"/>
                <a:gd name="connsiteX24" fmla="*/ 7250 w 10000"/>
                <a:gd name="connsiteY24" fmla="*/ 4840 h 10007"/>
                <a:gd name="connsiteX25" fmla="*/ 7161 w 10000"/>
                <a:gd name="connsiteY25" fmla="*/ 4739 h 10007"/>
                <a:gd name="connsiteX26" fmla="*/ 7072 w 10000"/>
                <a:gd name="connsiteY26" fmla="*/ 4637 h 10007"/>
                <a:gd name="connsiteX27" fmla="*/ 6990 w 10000"/>
                <a:gd name="connsiteY27" fmla="*/ 4527 h 10007"/>
                <a:gd name="connsiteX28" fmla="*/ 6953 w 10000"/>
                <a:gd name="connsiteY28" fmla="*/ 4477 h 10007"/>
                <a:gd name="connsiteX29" fmla="*/ 6916 w 10000"/>
                <a:gd name="connsiteY29" fmla="*/ 4422 h 10007"/>
                <a:gd name="connsiteX30" fmla="*/ 6887 w 10000"/>
                <a:gd name="connsiteY30" fmla="*/ 4367 h 10007"/>
                <a:gd name="connsiteX31" fmla="*/ 6850 w 10000"/>
                <a:gd name="connsiteY31" fmla="*/ 4312 h 10007"/>
                <a:gd name="connsiteX32" fmla="*/ 6820 w 10000"/>
                <a:gd name="connsiteY32" fmla="*/ 4257 h 10007"/>
                <a:gd name="connsiteX33" fmla="*/ 6790 w 10000"/>
                <a:gd name="connsiteY33" fmla="*/ 4202 h 10007"/>
                <a:gd name="connsiteX34" fmla="*/ 6768 w 10000"/>
                <a:gd name="connsiteY34" fmla="*/ 4142 h 10007"/>
                <a:gd name="connsiteX35" fmla="*/ 6738 w 10000"/>
                <a:gd name="connsiteY35" fmla="*/ 4087 h 10007"/>
                <a:gd name="connsiteX36" fmla="*/ 6723 w 10000"/>
                <a:gd name="connsiteY36" fmla="*/ 4027 h 10007"/>
                <a:gd name="connsiteX37" fmla="*/ 6694 w 10000"/>
                <a:gd name="connsiteY37" fmla="*/ 3972 h 10007"/>
                <a:gd name="connsiteX38" fmla="*/ 6679 w 10000"/>
                <a:gd name="connsiteY38" fmla="*/ 3912 h 10007"/>
                <a:gd name="connsiteX39" fmla="*/ 6664 w 10000"/>
                <a:gd name="connsiteY39" fmla="*/ 3852 h 10007"/>
                <a:gd name="connsiteX40" fmla="*/ 6649 w 10000"/>
                <a:gd name="connsiteY40" fmla="*/ 3793 h 10007"/>
                <a:gd name="connsiteX41" fmla="*/ 6635 w 10000"/>
                <a:gd name="connsiteY41" fmla="*/ 3738 h 10007"/>
                <a:gd name="connsiteX42" fmla="*/ 6620 w 10000"/>
                <a:gd name="connsiteY42" fmla="*/ 3678 h 10007"/>
                <a:gd name="connsiteX43" fmla="*/ 6612 w 10000"/>
                <a:gd name="connsiteY43" fmla="*/ 3619 h 10007"/>
                <a:gd name="connsiteX44" fmla="*/ 6605 w 10000"/>
                <a:gd name="connsiteY44" fmla="*/ 3559 h 10007"/>
                <a:gd name="connsiteX45" fmla="*/ 6597 w 10000"/>
                <a:gd name="connsiteY45" fmla="*/ 3495 h 10007"/>
                <a:gd name="connsiteX46" fmla="*/ 6597 w 10000"/>
                <a:gd name="connsiteY46" fmla="*/ 3435 h 10007"/>
                <a:gd name="connsiteX47" fmla="*/ 6590 w 10000"/>
                <a:gd name="connsiteY47" fmla="*/ 3371 h 10007"/>
                <a:gd name="connsiteX48" fmla="*/ 6597 w 10000"/>
                <a:gd name="connsiteY48" fmla="*/ 3311 h 10007"/>
                <a:gd name="connsiteX49" fmla="*/ 6605 w 10000"/>
                <a:gd name="connsiteY49" fmla="*/ 3243 h 10007"/>
                <a:gd name="connsiteX50" fmla="*/ 6605 w 10000"/>
                <a:gd name="connsiteY50" fmla="*/ 3178 h 10007"/>
                <a:gd name="connsiteX51" fmla="*/ 6612 w 10000"/>
                <a:gd name="connsiteY51" fmla="*/ 3113 h 10007"/>
                <a:gd name="connsiteX52" fmla="*/ 6620 w 10000"/>
                <a:gd name="connsiteY52" fmla="*/ 3049 h 10007"/>
                <a:gd name="connsiteX53" fmla="*/ 6635 w 10000"/>
                <a:gd name="connsiteY53" fmla="*/ 2990 h 10007"/>
                <a:gd name="connsiteX54" fmla="*/ 6649 w 10000"/>
                <a:gd name="connsiteY54" fmla="*/ 2926 h 10007"/>
                <a:gd name="connsiteX55" fmla="*/ 6664 w 10000"/>
                <a:gd name="connsiteY55" fmla="*/ 2866 h 10007"/>
                <a:gd name="connsiteX56" fmla="*/ 6686 w 10000"/>
                <a:gd name="connsiteY56" fmla="*/ 2802 h 10007"/>
                <a:gd name="connsiteX57" fmla="*/ 6709 w 10000"/>
                <a:gd name="connsiteY57" fmla="*/ 2742 h 10007"/>
                <a:gd name="connsiteX58" fmla="*/ 6731 w 10000"/>
                <a:gd name="connsiteY58" fmla="*/ 2683 h 10007"/>
                <a:gd name="connsiteX59" fmla="*/ 6753 w 10000"/>
                <a:gd name="connsiteY59" fmla="*/ 2618 h 10007"/>
                <a:gd name="connsiteX60" fmla="*/ 6783 w 10000"/>
                <a:gd name="connsiteY60" fmla="*/ 2563 h 10007"/>
                <a:gd name="connsiteX61" fmla="*/ 6812 w 10000"/>
                <a:gd name="connsiteY61" fmla="*/ 2503 h 10007"/>
                <a:gd name="connsiteX62" fmla="*/ 6842 w 10000"/>
                <a:gd name="connsiteY62" fmla="*/ 2443 h 10007"/>
                <a:gd name="connsiteX63" fmla="*/ 6879 w 10000"/>
                <a:gd name="connsiteY63" fmla="*/ 2384 h 10007"/>
                <a:gd name="connsiteX64" fmla="*/ 6909 w 10000"/>
                <a:gd name="connsiteY64" fmla="*/ 2329 h 10007"/>
                <a:gd name="connsiteX65" fmla="*/ 6946 w 10000"/>
                <a:gd name="connsiteY65" fmla="*/ 2269 h 10007"/>
                <a:gd name="connsiteX66" fmla="*/ 6990 w 10000"/>
                <a:gd name="connsiteY66" fmla="*/ 2214 h 10007"/>
                <a:gd name="connsiteX67" fmla="*/ 7027 w 10000"/>
                <a:gd name="connsiteY67" fmla="*/ 2159 h 10007"/>
                <a:gd name="connsiteX68" fmla="*/ 7072 w 10000"/>
                <a:gd name="connsiteY68" fmla="*/ 2104 h 10007"/>
                <a:gd name="connsiteX69" fmla="*/ 7109 w 10000"/>
                <a:gd name="connsiteY69" fmla="*/ 2049 h 10007"/>
                <a:gd name="connsiteX70" fmla="*/ 7161 w 10000"/>
                <a:gd name="connsiteY70" fmla="*/ 1999 h 10007"/>
                <a:gd name="connsiteX71" fmla="*/ 7213 w 10000"/>
                <a:gd name="connsiteY71" fmla="*/ 1944 h 10007"/>
                <a:gd name="connsiteX72" fmla="*/ 7257 w 10000"/>
                <a:gd name="connsiteY72" fmla="*/ 1889 h 10007"/>
                <a:gd name="connsiteX73" fmla="*/ 7309 w 10000"/>
                <a:gd name="connsiteY73" fmla="*/ 1838 h 10007"/>
                <a:gd name="connsiteX74" fmla="*/ 7361 w 10000"/>
                <a:gd name="connsiteY74" fmla="*/ 1787 h 10007"/>
                <a:gd name="connsiteX75" fmla="*/ 7413 w 10000"/>
                <a:gd name="connsiteY75" fmla="*/ 1737 h 10007"/>
                <a:gd name="connsiteX76" fmla="*/ 7472 w 10000"/>
                <a:gd name="connsiteY76" fmla="*/ 1686 h 10007"/>
                <a:gd name="connsiteX77" fmla="*/ 7524 w 10000"/>
                <a:gd name="connsiteY77" fmla="*/ 1640 h 10007"/>
                <a:gd name="connsiteX78" fmla="*/ 7583 w 10000"/>
                <a:gd name="connsiteY78" fmla="*/ 1594 h 10007"/>
                <a:gd name="connsiteX79" fmla="*/ 7610 w 10000"/>
                <a:gd name="connsiteY79" fmla="*/ 1565 h 10007"/>
                <a:gd name="connsiteX80" fmla="*/ 5423 w 10000"/>
                <a:gd name="connsiteY80" fmla="*/ 6 h 10007"/>
                <a:gd name="connsiteX81" fmla="*/ 1423 w 10000"/>
                <a:gd name="connsiteY81" fmla="*/ 0 h 10007"/>
                <a:gd name="connsiteX82" fmla="*/ 1305 w 10000"/>
                <a:gd name="connsiteY82" fmla="*/ 121 h 10007"/>
                <a:gd name="connsiteX83" fmla="*/ 1223 w 10000"/>
                <a:gd name="connsiteY83" fmla="*/ 213 h 10007"/>
                <a:gd name="connsiteX84" fmla="*/ 1149 w 10000"/>
                <a:gd name="connsiteY84" fmla="*/ 309 h 10007"/>
                <a:gd name="connsiteX85" fmla="*/ 1067 w 10000"/>
                <a:gd name="connsiteY85" fmla="*/ 406 h 10007"/>
                <a:gd name="connsiteX86" fmla="*/ 1001 w 10000"/>
                <a:gd name="connsiteY86" fmla="*/ 503 h 10007"/>
                <a:gd name="connsiteX87" fmla="*/ 927 w 10000"/>
                <a:gd name="connsiteY87" fmla="*/ 599 h 10007"/>
                <a:gd name="connsiteX88" fmla="*/ 860 w 10000"/>
                <a:gd name="connsiteY88" fmla="*/ 700 h 10007"/>
                <a:gd name="connsiteX89" fmla="*/ 793 w 10000"/>
                <a:gd name="connsiteY89" fmla="*/ 801 h 10007"/>
                <a:gd name="connsiteX90" fmla="*/ 734 w 10000"/>
                <a:gd name="connsiteY90" fmla="*/ 897 h 10007"/>
                <a:gd name="connsiteX91" fmla="*/ 675 w 10000"/>
                <a:gd name="connsiteY91" fmla="*/ 998 h 10007"/>
                <a:gd name="connsiteX92" fmla="*/ 615 w 10000"/>
                <a:gd name="connsiteY92" fmla="*/ 1099 h 10007"/>
                <a:gd name="connsiteX93" fmla="*/ 556 w 10000"/>
                <a:gd name="connsiteY93" fmla="*/ 1205 h 10007"/>
                <a:gd name="connsiteX94" fmla="*/ 504 w 10000"/>
                <a:gd name="connsiteY94" fmla="*/ 1301 h 10007"/>
                <a:gd name="connsiteX95" fmla="*/ 452 w 10000"/>
                <a:gd name="connsiteY95" fmla="*/ 1407 h 10007"/>
                <a:gd name="connsiteX96" fmla="*/ 408 w 10000"/>
                <a:gd name="connsiteY96" fmla="*/ 1507 h 10007"/>
                <a:gd name="connsiteX97" fmla="*/ 363 w 10000"/>
                <a:gd name="connsiteY97" fmla="*/ 1613 h 10007"/>
                <a:gd name="connsiteX98" fmla="*/ 319 w 10000"/>
                <a:gd name="connsiteY98" fmla="*/ 1718 h 10007"/>
                <a:gd name="connsiteX99" fmla="*/ 282 w 10000"/>
                <a:gd name="connsiteY99" fmla="*/ 1825 h 10007"/>
                <a:gd name="connsiteX100" fmla="*/ 237 w 10000"/>
                <a:gd name="connsiteY100" fmla="*/ 1935 h 10007"/>
                <a:gd name="connsiteX101" fmla="*/ 208 w 10000"/>
                <a:gd name="connsiteY101" fmla="*/ 2040 h 10007"/>
                <a:gd name="connsiteX102" fmla="*/ 170 w 10000"/>
                <a:gd name="connsiteY102" fmla="*/ 2150 h 10007"/>
                <a:gd name="connsiteX103" fmla="*/ 148 w 10000"/>
                <a:gd name="connsiteY103" fmla="*/ 2260 h 10007"/>
                <a:gd name="connsiteX104" fmla="*/ 119 w 10000"/>
                <a:gd name="connsiteY104" fmla="*/ 2365 h 10007"/>
                <a:gd name="connsiteX105" fmla="*/ 96 w 10000"/>
                <a:gd name="connsiteY105" fmla="*/ 2475 h 10007"/>
                <a:gd name="connsiteX106" fmla="*/ 74 w 10000"/>
                <a:gd name="connsiteY106" fmla="*/ 2586 h 10007"/>
                <a:gd name="connsiteX107" fmla="*/ 52 w 10000"/>
                <a:gd name="connsiteY107" fmla="*/ 2701 h 10007"/>
                <a:gd name="connsiteX108" fmla="*/ 37 w 10000"/>
                <a:gd name="connsiteY108" fmla="*/ 2811 h 10007"/>
                <a:gd name="connsiteX109" fmla="*/ 22 w 10000"/>
                <a:gd name="connsiteY109" fmla="*/ 2921 h 10007"/>
                <a:gd name="connsiteX110" fmla="*/ 15 w 10000"/>
                <a:gd name="connsiteY110" fmla="*/ 3031 h 10007"/>
                <a:gd name="connsiteX111" fmla="*/ 7 w 10000"/>
                <a:gd name="connsiteY111" fmla="*/ 3145 h 10007"/>
                <a:gd name="connsiteX112" fmla="*/ 0 w 10000"/>
                <a:gd name="connsiteY112" fmla="*/ 3256 h 10007"/>
                <a:gd name="connsiteX113" fmla="*/ 0 w 10000"/>
                <a:gd name="connsiteY113" fmla="*/ 3371 h 10007"/>
                <a:gd name="connsiteX114" fmla="*/ 7 w 10000"/>
                <a:gd name="connsiteY114" fmla="*/ 3518 h 10007"/>
                <a:gd name="connsiteX115" fmla="*/ 7 w 10000"/>
                <a:gd name="connsiteY115" fmla="*/ 3664 h 10007"/>
                <a:gd name="connsiteX116" fmla="*/ 22 w 10000"/>
                <a:gd name="connsiteY116" fmla="*/ 3802 h 10007"/>
                <a:gd name="connsiteX117" fmla="*/ 37 w 10000"/>
                <a:gd name="connsiteY117" fmla="*/ 3945 h 10007"/>
                <a:gd name="connsiteX118" fmla="*/ 59 w 10000"/>
                <a:gd name="connsiteY118" fmla="*/ 4087 h 10007"/>
                <a:gd name="connsiteX119" fmla="*/ 89 w 10000"/>
                <a:gd name="connsiteY119" fmla="*/ 4229 h 10007"/>
                <a:gd name="connsiteX120" fmla="*/ 119 w 10000"/>
                <a:gd name="connsiteY120" fmla="*/ 4371 h 10007"/>
                <a:gd name="connsiteX121" fmla="*/ 148 w 10000"/>
                <a:gd name="connsiteY121" fmla="*/ 4513 h 10007"/>
                <a:gd name="connsiteX122" fmla="*/ 193 w 10000"/>
                <a:gd name="connsiteY122" fmla="*/ 4652 h 10007"/>
                <a:gd name="connsiteX123" fmla="*/ 237 w 10000"/>
                <a:gd name="connsiteY123" fmla="*/ 4789 h 10007"/>
                <a:gd name="connsiteX124" fmla="*/ 282 w 10000"/>
                <a:gd name="connsiteY124" fmla="*/ 4927 h 10007"/>
                <a:gd name="connsiteX125" fmla="*/ 334 w 10000"/>
                <a:gd name="connsiteY125" fmla="*/ 5064 h 10007"/>
                <a:gd name="connsiteX126" fmla="*/ 393 w 10000"/>
                <a:gd name="connsiteY126" fmla="*/ 5197 h 10007"/>
                <a:gd name="connsiteX127" fmla="*/ 452 w 10000"/>
                <a:gd name="connsiteY127" fmla="*/ 5330 h 10007"/>
                <a:gd name="connsiteX128" fmla="*/ 519 w 10000"/>
                <a:gd name="connsiteY128" fmla="*/ 5464 h 10007"/>
                <a:gd name="connsiteX129" fmla="*/ 586 w 10000"/>
                <a:gd name="connsiteY129" fmla="*/ 5597 h 10007"/>
                <a:gd name="connsiteX130" fmla="*/ 660 w 10000"/>
                <a:gd name="connsiteY130" fmla="*/ 5725 h 10007"/>
                <a:gd name="connsiteX131" fmla="*/ 741 w 10000"/>
                <a:gd name="connsiteY131" fmla="*/ 5853 h 10007"/>
                <a:gd name="connsiteX132" fmla="*/ 823 w 10000"/>
                <a:gd name="connsiteY132" fmla="*/ 5986 h 10007"/>
                <a:gd name="connsiteX133" fmla="*/ 904 w 10000"/>
                <a:gd name="connsiteY133" fmla="*/ 6111 h 10007"/>
                <a:gd name="connsiteX134" fmla="*/ 993 w 10000"/>
                <a:gd name="connsiteY134" fmla="*/ 6235 h 10007"/>
                <a:gd name="connsiteX135" fmla="*/ 1090 w 10000"/>
                <a:gd name="connsiteY135" fmla="*/ 6354 h 10007"/>
                <a:gd name="connsiteX136" fmla="*/ 1186 w 10000"/>
                <a:gd name="connsiteY136" fmla="*/ 6478 h 10007"/>
                <a:gd name="connsiteX137" fmla="*/ 1290 w 10000"/>
                <a:gd name="connsiteY137" fmla="*/ 6601 h 10007"/>
                <a:gd name="connsiteX138" fmla="*/ 1386 w 10000"/>
                <a:gd name="connsiteY138" fmla="*/ 6721 h 10007"/>
                <a:gd name="connsiteX139" fmla="*/ 1497 w 10000"/>
                <a:gd name="connsiteY139" fmla="*/ 6841 h 10007"/>
                <a:gd name="connsiteX140" fmla="*/ 1609 w 10000"/>
                <a:gd name="connsiteY140" fmla="*/ 6955 h 10007"/>
                <a:gd name="connsiteX141" fmla="*/ 1727 w 10000"/>
                <a:gd name="connsiteY141" fmla="*/ 7074 h 10007"/>
                <a:gd name="connsiteX142" fmla="*/ 1846 w 10000"/>
                <a:gd name="connsiteY142" fmla="*/ 7189 h 10007"/>
                <a:gd name="connsiteX143" fmla="*/ 1964 w 10000"/>
                <a:gd name="connsiteY143" fmla="*/ 7299 h 10007"/>
                <a:gd name="connsiteX144" fmla="*/ 2090 w 10000"/>
                <a:gd name="connsiteY144" fmla="*/ 7409 h 10007"/>
                <a:gd name="connsiteX145" fmla="*/ 2224 w 10000"/>
                <a:gd name="connsiteY145" fmla="*/ 7520 h 10007"/>
                <a:gd name="connsiteX146" fmla="*/ 2350 w 10000"/>
                <a:gd name="connsiteY146" fmla="*/ 7630 h 10007"/>
                <a:gd name="connsiteX147" fmla="*/ 2491 w 10000"/>
                <a:gd name="connsiteY147" fmla="*/ 7735 h 10007"/>
                <a:gd name="connsiteX148" fmla="*/ 2617 w 10000"/>
                <a:gd name="connsiteY148" fmla="*/ 7841 h 10007"/>
                <a:gd name="connsiteX149" fmla="*/ 2765 w 10000"/>
                <a:gd name="connsiteY149" fmla="*/ 7942 h 10007"/>
                <a:gd name="connsiteX150" fmla="*/ 2906 w 10000"/>
                <a:gd name="connsiteY150" fmla="*/ 8042 h 10007"/>
                <a:gd name="connsiteX151" fmla="*/ 3054 w 10000"/>
                <a:gd name="connsiteY151" fmla="*/ 8143 h 10007"/>
                <a:gd name="connsiteX152" fmla="*/ 3210 w 10000"/>
                <a:gd name="connsiteY152" fmla="*/ 8241 h 10007"/>
                <a:gd name="connsiteX153" fmla="*/ 3358 w 10000"/>
                <a:gd name="connsiteY153" fmla="*/ 8337 h 10007"/>
                <a:gd name="connsiteX154" fmla="*/ 3514 w 10000"/>
                <a:gd name="connsiteY154" fmla="*/ 8433 h 10007"/>
                <a:gd name="connsiteX155" fmla="*/ 3677 w 10000"/>
                <a:gd name="connsiteY155" fmla="*/ 8525 h 10007"/>
                <a:gd name="connsiteX156" fmla="*/ 3840 w 10000"/>
                <a:gd name="connsiteY156" fmla="*/ 8612 h 10007"/>
                <a:gd name="connsiteX157" fmla="*/ 4010 w 10000"/>
                <a:gd name="connsiteY157" fmla="*/ 8703 h 10007"/>
                <a:gd name="connsiteX158" fmla="*/ 4181 w 10000"/>
                <a:gd name="connsiteY158" fmla="*/ 8781 h 10007"/>
                <a:gd name="connsiteX159" fmla="*/ 4351 w 10000"/>
                <a:gd name="connsiteY159" fmla="*/ 8868 h 10007"/>
                <a:gd name="connsiteX160" fmla="*/ 4522 w 10000"/>
                <a:gd name="connsiteY160" fmla="*/ 8947 h 10007"/>
                <a:gd name="connsiteX161" fmla="*/ 4700 w 10000"/>
                <a:gd name="connsiteY161" fmla="*/ 9030 h 10007"/>
                <a:gd name="connsiteX162" fmla="*/ 4878 w 10000"/>
                <a:gd name="connsiteY162" fmla="*/ 9108 h 10007"/>
                <a:gd name="connsiteX163" fmla="*/ 5063 w 10000"/>
                <a:gd name="connsiteY163" fmla="*/ 9181 h 10007"/>
                <a:gd name="connsiteX164" fmla="*/ 5248 w 10000"/>
                <a:gd name="connsiteY164" fmla="*/ 9259 h 10007"/>
                <a:gd name="connsiteX165" fmla="*/ 5426 w 10000"/>
                <a:gd name="connsiteY165" fmla="*/ 9328 h 10007"/>
                <a:gd name="connsiteX166" fmla="*/ 5619 w 10000"/>
                <a:gd name="connsiteY166" fmla="*/ 9396 h 10007"/>
                <a:gd name="connsiteX167" fmla="*/ 5812 w 10000"/>
                <a:gd name="connsiteY167" fmla="*/ 9465 h 10007"/>
                <a:gd name="connsiteX168" fmla="*/ 6004 w 10000"/>
                <a:gd name="connsiteY168" fmla="*/ 9529 h 10007"/>
                <a:gd name="connsiteX169" fmla="*/ 6205 w 10000"/>
                <a:gd name="connsiteY169" fmla="*/ 9594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58 h 10007"/>
                <a:gd name="connsiteX179" fmla="*/ 10000 w 10000"/>
                <a:gd name="connsiteY179" fmla="*/ 6143 h 10007"/>
                <a:gd name="connsiteX0" fmla="*/ 10000 w 10000"/>
                <a:gd name="connsiteY0" fmla="*/ 6143 h 10007"/>
                <a:gd name="connsiteX1" fmla="*/ 10000 w 10000"/>
                <a:gd name="connsiteY1" fmla="*/ 6143 h 10007"/>
                <a:gd name="connsiteX2" fmla="*/ 9911 w 10000"/>
                <a:gd name="connsiteY2" fmla="*/ 6129 h 10007"/>
                <a:gd name="connsiteX3" fmla="*/ 9815 w 10000"/>
                <a:gd name="connsiteY3" fmla="*/ 6111 h 10007"/>
                <a:gd name="connsiteX4" fmla="*/ 9726 w 10000"/>
                <a:gd name="connsiteY4" fmla="*/ 6093 h 10007"/>
                <a:gd name="connsiteX5" fmla="*/ 9637 w 10000"/>
                <a:gd name="connsiteY5" fmla="*/ 6069 h 10007"/>
                <a:gd name="connsiteX6" fmla="*/ 9548 w 10000"/>
                <a:gd name="connsiteY6" fmla="*/ 6050 h 10007"/>
                <a:gd name="connsiteX7" fmla="*/ 9466 w 10000"/>
                <a:gd name="connsiteY7" fmla="*/ 6028 h 10007"/>
                <a:gd name="connsiteX8" fmla="*/ 9377 w 10000"/>
                <a:gd name="connsiteY8" fmla="*/ 6005 h 10007"/>
                <a:gd name="connsiteX9" fmla="*/ 9288 w 10000"/>
                <a:gd name="connsiteY9" fmla="*/ 5982 h 10007"/>
                <a:gd name="connsiteX10" fmla="*/ 9118 w 10000"/>
                <a:gd name="connsiteY10" fmla="*/ 5931 h 10007"/>
                <a:gd name="connsiteX11" fmla="*/ 8955 w 10000"/>
                <a:gd name="connsiteY11" fmla="*/ 5876 h 10007"/>
                <a:gd name="connsiteX12" fmla="*/ 8792 w 10000"/>
                <a:gd name="connsiteY12" fmla="*/ 5817 h 10007"/>
                <a:gd name="connsiteX13" fmla="*/ 8636 w 10000"/>
                <a:gd name="connsiteY13" fmla="*/ 5753 h 10007"/>
                <a:gd name="connsiteX14" fmla="*/ 8480 w 10000"/>
                <a:gd name="connsiteY14" fmla="*/ 5688 h 10007"/>
                <a:gd name="connsiteX15" fmla="*/ 8340 w 10000"/>
                <a:gd name="connsiteY15" fmla="*/ 5620 h 10007"/>
                <a:gd name="connsiteX16" fmla="*/ 8199 w 10000"/>
                <a:gd name="connsiteY16" fmla="*/ 5546 h 10007"/>
                <a:gd name="connsiteX17" fmla="*/ 8058 w 10000"/>
                <a:gd name="connsiteY17" fmla="*/ 5468 h 10007"/>
                <a:gd name="connsiteX18" fmla="*/ 7924 w 10000"/>
                <a:gd name="connsiteY18" fmla="*/ 5386 h 10007"/>
                <a:gd name="connsiteX19" fmla="*/ 7798 w 10000"/>
                <a:gd name="connsiteY19" fmla="*/ 5302 h 10007"/>
                <a:gd name="connsiteX20" fmla="*/ 7672 w 10000"/>
                <a:gd name="connsiteY20" fmla="*/ 5215 h 10007"/>
                <a:gd name="connsiteX21" fmla="*/ 7554 w 10000"/>
                <a:gd name="connsiteY21" fmla="*/ 5128 h 10007"/>
                <a:gd name="connsiteX22" fmla="*/ 7450 w 10000"/>
                <a:gd name="connsiteY22" fmla="*/ 5032 h 10007"/>
                <a:gd name="connsiteX23" fmla="*/ 7346 w 10000"/>
                <a:gd name="connsiteY23" fmla="*/ 4936 h 10007"/>
                <a:gd name="connsiteX24" fmla="*/ 7250 w 10000"/>
                <a:gd name="connsiteY24" fmla="*/ 4840 h 10007"/>
                <a:gd name="connsiteX25" fmla="*/ 7161 w 10000"/>
                <a:gd name="connsiteY25" fmla="*/ 4739 h 10007"/>
                <a:gd name="connsiteX26" fmla="*/ 7072 w 10000"/>
                <a:gd name="connsiteY26" fmla="*/ 4637 h 10007"/>
                <a:gd name="connsiteX27" fmla="*/ 6990 w 10000"/>
                <a:gd name="connsiteY27" fmla="*/ 4527 h 10007"/>
                <a:gd name="connsiteX28" fmla="*/ 6953 w 10000"/>
                <a:gd name="connsiteY28" fmla="*/ 4477 h 10007"/>
                <a:gd name="connsiteX29" fmla="*/ 6916 w 10000"/>
                <a:gd name="connsiteY29" fmla="*/ 4422 h 10007"/>
                <a:gd name="connsiteX30" fmla="*/ 6887 w 10000"/>
                <a:gd name="connsiteY30" fmla="*/ 4367 h 10007"/>
                <a:gd name="connsiteX31" fmla="*/ 6850 w 10000"/>
                <a:gd name="connsiteY31" fmla="*/ 4312 h 10007"/>
                <a:gd name="connsiteX32" fmla="*/ 6820 w 10000"/>
                <a:gd name="connsiteY32" fmla="*/ 4257 h 10007"/>
                <a:gd name="connsiteX33" fmla="*/ 6790 w 10000"/>
                <a:gd name="connsiteY33" fmla="*/ 4202 h 10007"/>
                <a:gd name="connsiteX34" fmla="*/ 6768 w 10000"/>
                <a:gd name="connsiteY34" fmla="*/ 4142 h 10007"/>
                <a:gd name="connsiteX35" fmla="*/ 6738 w 10000"/>
                <a:gd name="connsiteY35" fmla="*/ 4087 h 10007"/>
                <a:gd name="connsiteX36" fmla="*/ 6723 w 10000"/>
                <a:gd name="connsiteY36" fmla="*/ 4027 h 10007"/>
                <a:gd name="connsiteX37" fmla="*/ 6694 w 10000"/>
                <a:gd name="connsiteY37" fmla="*/ 3972 h 10007"/>
                <a:gd name="connsiteX38" fmla="*/ 6679 w 10000"/>
                <a:gd name="connsiteY38" fmla="*/ 3912 h 10007"/>
                <a:gd name="connsiteX39" fmla="*/ 6664 w 10000"/>
                <a:gd name="connsiteY39" fmla="*/ 3852 h 10007"/>
                <a:gd name="connsiteX40" fmla="*/ 6649 w 10000"/>
                <a:gd name="connsiteY40" fmla="*/ 3793 h 10007"/>
                <a:gd name="connsiteX41" fmla="*/ 6635 w 10000"/>
                <a:gd name="connsiteY41" fmla="*/ 3738 h 10007"/>
                <a:gd name="connsiteX42" fmla="*/ 6620 w 10000"/>
                <a:gd name="connsiteY42" fmla="*/ 3678 h 10007"/>
                <a:gd name="connsiteX43" fmla="*/ 6612 w 10000"/>
                <a:gd name="connsiteY43" fmla="*/ 3619 h 10007"/>
                <a:gd name="connsiteX44" fmla="*/ 6605 w 10000"/>
                <a:gd name="connsiteY44" fmla="*/ 3559 h 10007"/>
                <a:gd name="connsiteX45" fmla="*/ 6597 w 10000"/>
                <a:gd name="connsiteY45" fmla="*/ 3495 h 10007"/>
                <a:gd name="connsiteX46" fmla="*/ 6597 w 10000"/>
                <a:gd name="connsiteY46" fmla="*/ 3435 h 10007"/>
                <a:gd name="connsiteX47" fmla="*/ 6590 w 10000"/>
                <a:gd name="connsiteY47" fmla="*/ 3371 h 10007"/>
                <a:gd name="connsiteX48" fmla="*/ 6597 w 10000"/>
                <a:gd name="connsiteY48" fmla="*/ 3311 h 10007"/>
                <a:gd name="connsiteX49" fmla="*/ 6605 w 10000"/>
                <a:gd name="connsiteY49" fmla="*/ 3243 h 10007"/>
                <a:gd name="connsiteX50" fmla="*/ 6605 w 10000"/>
                <a:gd name="connsiteY50" fmla="*/ 3178 h 10007"/>
                <a:gd name="connsiteX51" fmla="*/ 6612 w 10000"/>
                <a:gd name="connsiteY51" fmla="*/ 3113 h 10007"/>
                <a:gd name="connsiteX52" fmla="*/ 6620 w 10000"/>
                <a:gd name="connsiteY52" fmla="*/ 3049 h 10007"/>
                <a:gd name="connsiteX53" fmla="*/ 6635 w 10000"/>
                <a:gd name="connsiteY53" fmla="*/ 2990 h 10007"/>
                <a:gd name="connsiteX54" fmla="*/ 6649 w 10000"/>
                <a:gd name="connsiteY54" fmla="*/ 2926 h 10007"/>
                <a:gd name="connsiteX55" fmla="*/ 6664 w 10000"/>
                <a:gd name="connsiteY55" fmla="*/ 2866 h 10007"/>
                <a:gd name="connsiteX56" fmla="*/ 6686 w 10000"/>
                <a:gd name="connsiteY56" fmla="*/ 2802 h 10007"/>
                <a:gd name="connsiteX57" fmla="*/ 6709 w 10000"/>
                <a:gd name="connsiteY57" fmla="*/ 2742 h 10007"/>
                <a:gd name="connsiteX58" fmla="*/ 6731 w 10000"/>
                <a:gd name="connsiteY58" fmla="*/ 2683 h 10007"/>
                <a:gd name="connsiteX59" fmla="*/ 6753 w 10000"/>
                <a:gd name="connsiteY59" fmla="*/ 2618 h 10007"/>
                <a:gd name="connsiteX60" fmla="*/ 6783 w 10000"/>
                <a:gd name="connsiteY60" fmla="*/ 2563 h 10007"/>
                <a:gd name="connsiteX61" fmla="*/ 6812 w 10000"/>
                <a:gd name="connsiteY61" fmla="*/ 2503 h 10007"/>
                <a:gd name="connsiteX62" fmla="*/ 6842 w 10000"/>
                <a:gd name="connsiteY62" fmla="*/ 2443 h 10007"/>
                <a:gd name="connsiteX63" fmla="*/ 6879 w 10000"/>
                <a:gd name="connsiteY63" fmla="*/ 2384 h 10007"/>
                <a:gd name="connsiteX64" fmla="*/ 6909 w 10000"/>
                <a:gd name="connsiteY64" fmla="*/ 2329 h 10007"/>
                <a:gd name="connsiteX65" fmla="*/ 6946 w 10000"/>
                <a:gd name="connsiteY65" fmla="*/ 2269 h 10007"/>
                <a:gd name="connsiteX66" fmla="*/ 6990 w 10000"/>
                <a:gd name="connsiteY66" fmla="*/ 2214 h 10007"/>
                <a:gd name="connsiteX67" fmla="*/ 7027 w 10000"/>
                <a:gd name="connsiteY67" fmla="*/ 2159 h 10007"/>
                <a:gd name="connsiteX68" fmla="*/ 7072 w 10000"/>
                <a:gd name="connsiteY68" fmla="*/ 2104 h 10007"/>
                <a:gd name="connsiteX69" fmla="*/ 7109 w 10000"/>
                <a:gd name="connsiteY69" fmla="*/ 2049 h 10007"/>
                <a:gd name="connsiteX70" fmla="*/ 7161 w 10000"/>
                <a:gd name="connsiteY70" fmla="*/ 1999 h 10007"/>
                <a:gd name="connsiteX71" fmla="*/ 7213 w 10000"/>
                <a:gd name="connsiteY71" fmla="*/ 1944 h 10007"/>
                <a:gd name="connsiteX72" fmla="*/ 7257 w 10000"/>
                <a:gd name="connsiteY72" fmla="*/ 1889 h 10007"/>
                <a:gd name="connsiteX73" fmla="*/ 7309 w 10000"/>
                <a:gd name="connsiteY73" fmla="*/ 1838 h 10007"/>
                <a:gd name="connsiteX74" fmla="*/ 7361 w 10000"/>
                <a:gd name="connsiteY74" fmla="*/ 1787 h 10007"/>
                <a:gd name="connsiteX75" fmla="*/ 7413 w 10000"/>
                <a:gd name="connsiteY75" fmla="*/ 1737 h 10007"/>
                <a:gd name="connsiteX76" fmla="*/ 7472 w 10000"/>
                <a:gd name="connsiteY76" fmla="*/ 1686 h 10007"/>
                <a:gd name="connsiteX77" fmla="*/ 7524 w 10000"/>
                <a:gd name="connsiteY77" fmla="*/ 1640 h 10007"/>
                <a:gd name="connsiteX78" fmla="*/ 7583 w 10000"/>
                <a:gd name="connsiteY78" fmla="*/ 1594 h 10007"/>
                <a:gd name="connsiteX79" fmla="*/ 7610 w 10000"/>
                <a:gd name="connsiteY79" fmla="*/ 1565 h 10007"/>
                <a:gd name="connsiteX80" fmla="*/ 5401 w 10000"/>
                <a:gd name="connsiteY80" fmla="*/ 6 h 10007"/>
                <a:gd name="connsiteX81" fmla="*/ 1423 w 10000"/>
                <a:gd name="connsiteY81" fmla="*/ 0 h 10007"/>
                <a:gd name="connsiteX82" fmla="*/ 1305 w 10000"/>
                <a:gd name="connsiteY82" fmla="*/ 121 h 10007"/>
                <a:gd name="connsiteX83" fmla="*/ 1223 w 10000"/>
                <a:gd name="connsiteY83" fmla="*/ 213 h 10007"/>
                <a:gd name="connsiteX84" fmla="*/ 1149 w 10000"/>
                <a:gd name="connsiteY84" fmla="*/ 309 h 10007"/>
                <a:gd name="connsiteX85" fmla="*/ 1067 w 10000"/>
                <a:gd name="connsiteY85" fmla="*/ 406 h 10007"/>
                <a:gd name="connsiteX86" fmla="*/ 1001 w 10000"/>
                <a:gd name="connsiteY86" fmla="*/ 503 h 10007"/>
                <a:gd name="connsiteX87" fmla="*/ 927 w 10000"/>
                <a:gd name="connsiteY87" fmla="*/ 599 h 10007"/>
                <a:gd name="connsiteX88" fmla="*/ 860 w 10000"/>
                <a:gd name="connsiteY88" fmla="*/ 700 h 10007"/>
                <a:gd name="connsiteX89" fmla="*/ 793 w 10000"/>
                <a:gd name="connsiteY89" fmla="*/ 801 h 10007"/>
                <a:gd name="connsiteX90" fmla="*/ 734 w 10000"/>
                <a:gd name="connsiteY90" fmla="*/ 897 h 10007"/>
                <a:gd name="connsiteX91" fmla="*/ 675 w 10000"/>
                <a:gd name="connsiteY91" fmla="*/ 998 h 10007"/>
                <a:gd name="connsiteX92" fmla="*/ 615 w 10000"/>
                <a:gd name="connsiteY92" fmla="*/ 1099 h 10007"/>
                <a:gd name="connsiteX93" fmla="*/ 556 w 10000"/>
                <a:gd name="connsiteY93" fmla="*/ 1205 h 10007"/>
                <a:gd name="connsiteX94" fmla="*/ 504 w 10000"/>
                <a:gd name="connsiteY94" fmla="*/ 1301 h 10007"/>
                <a:gd name="connsiteX95" fmla="*/ 452 w 10000"/>
                <a:gd name="connsiteY95" fmla="*/ 1407 h 10007"/>
                <a:gd name="connsiteX96" fmla="*/ 408 w 10000"/>
                <a:gd name="connsiteY96" fmla="*/ 1507 h 10007"/>
                <a:gd name="connsiteX97" fmla="*/ 363 w 10000"/>
                <a:gd name="connsiteY97" fmla="*/ 1613 h 10007"/>
                <a:gd name="connsiteX98" fmla="*/ 319 w 10000"/>
                <a:gd name="connsiteY98" fmla="*/ 1718 h 10007"/>
                <a:gd name="connsiteX99" fmla="*/ 282 w 10000"/>
                <a:gd name="connsiteY99" fmla="*/ 1825 h 10007"/>
                <a:gd name="connsiteX100" fmla="*/ 237 w 10000"/>
                <a:gd name="connsiteY100" fmla="*/ 1935 h 10007"/>
                <a:gd name="connsiteX101" fmla="*/ 208 w 10000"/>
                <a:gd name="connsiteY101" fmla="*/ 2040 h 10007"/>
                <a:gd name="connsiteX102" fmla="*/ 170 w 10000"/>
                <a:gd name="connsiteY102" fmla="*/ 2150 h 10007"/>
                <a:gd name="connsiteX103" fmla="*/ 148 w 10000"/>
                <a:gd name="connsiteY103" fmla="*/ 2260 h 10007"/>
                <a:gd name="connsiteX104" fmla="*/ 119 w 10000"/>
                <a:gd name="connsiteY104" fmla="*/ 2365 h 10007"/>
                <a:gd name="connsiteX105" fmla="*/ 96 w 10000"/>
                <a:gd name="connsiteY105" fmla="*/ 2475 h 10007"/>
                <a:gd name="connsiteX106" fmla="*/ 74 w 10000"/>
                <a:gd name="connsiteY106" fmla="*/ 2586 h 10007"/>
                <a:gd name="connsiteX107" fmla="*/ 52 w 10000"/>
                <a:gd name="connsiteY107" fmla="*/ 2701 h 10007"/>
                <a:gd name="connsiteX108" fmla="*/ 37 w 10000"/>
                <a:gd name="connsiteY108" fmla="*/ 2811 h 10007"/>
                <a:gd name="connsiteX109" fmla="*/ 22 w 10000"/>
                <a:gd name="connsiteY109" fmla="*/ 2921 h 10007"/>
                <a:gd name="connsiteX110" fmla="*/ 15 w 10000"/>
                <a:gd name="connsiteY110" fmla="*/ 3031 h 10007"/>
                <a:gd name="connsiteX111" fmla="*/ 7 w 10000"/>
                <a:gd name="connsiteY111" fmla="*/ 3145 h 10007"/>
                <a:gd name="connsiteX112" fmla="*/ 0 w 10000"/>
                <a:gd name="connsiteY112" fmla="*/ 3256 h 10007"/>
                <a:gd name="connsiteX113" fmla="*/ 0 w 10000"/>
                <a:gd name="connsiteY113" fmla="*/ 3371 h 10007"/>
                <a:gd name="connsiteX114" fmla="*/ 7 w 10000"/>
                <a:gd name="connsiteY114" fmla="*/ 3518 h 10007"/>
                <a:gd name="connsiteX115" fmla="*/ 7 w 10000"/>
                <a:gd name="connsiteY115" fmla="*/ 3664 h 10007"/>
                <a:gd name="connsiteX116" fmla="*/ 22 w 10000"/>
                <a:gd name="connsiteY116" fmla="*/ 3802 h 10007"/>
                <a:gd name="connsiteX117" fmla="*/ 37 w 10000"/>
                <a:gd name="connsiteY117" fmla="*/ 3945 h 10007"/>
                <a:gd name="connsiteX118" fmla="*/ 59 w 10000"/>
                <a:gd name="connsiteY118" fmla="*/ 4087 h 10007"/>
                <a:gd name="connsiteX119" fmla="*/ 89 w 10000"/>
                <a:gd name="connsiteY119" fmla="*/ 4229 h 10007"/>
                <a:gd name="connsiteX120" fmla="*/ 119 w 10000"/>
                <a:gd name="connsiteY120" fmla="*/ 4371 h 10007"/>
                <a:gd name="connsiteX121" fmla="*/ 148 w 10000"/>
                <a:gd name="connsiteY121" fmla="*/ 4513 h 10007"/>
                <a:gd name="connsiteX122" fmla="*/ 193 w 10000"/>
                <a:gd name="connsiteY122" fmla="*/ 4652 h 10007"/>
                <a:gd name="connsiteX123" fmla="*/ 237 w 10000"/>
                <a:gd name="connsiteY123" fmla="*/ 4789 h 10007"/>
                <a:gd name="connsiteX124" fmla="*/ 282 w 10000"/>
                <a:gd name="connsiteY124" fmla="*/ 4927 h 10007"/>
                <a:gd name="connsiteX125" fmla="*/ 334 w 10000"/>
                <a:gd name="connsiteY125" fmla="*/ 5064 h 10007"/>
                <a:gd name="connsiteX126" fmla="*/ 393 w 10000"/>
                <a:gd name="connsiteY126" fmla="*/ 5197 h 10007"/>
                <a:gd name="connsiteX127" fmla="*/ 452 w 10000"/>
                <a:gd name="connsiteY127" fmla="*/ 5330 h 10007"/>
                <a:gd name="connsiteX128" fmla="*/ 519 w 10000"/>
                <a:gd name="connsiteY128" fmla="*/ 5464 h 10007"/>
                <a:gd name="connsiteX129" fmla="*/ 586 w 10000"/>
                <a:gd name="connsiteY129" fmla="*/ 5597 h 10007"/>
                <a:gd name="connsiteX130" fmla="*/ 660 w 10000"/>
                <a:gd name="connsiteY130" fmla="*/ 5725 h 10007"/>
                <a:gd name="connsiteX131" fmla="*/ 741 w 10000"/>
                <a:gd name="connsiteY131" fmla="*/ 5853 h 10007"/>
                <a:gd name="connsiteX132" fmla="*/ 823 w 10000"/>
                <a:gd name="connsiteY132" fmla="*/ 5986 h 10007"/>
                <a:gd name="connsiteX133" fmla="*/ 904 w 10000"/>
                <a:gd name="connsiteY133" fmla="*/ 6111 h 10007"/>
                <a:gd name="connsiteX134" fmla="*/ 993 w 10000"/>
                <a:gd name="connsiteY134" fmla="*/ 6235 h 10007"/>
                <a:gd name="connsiteX135" fmla="*/ 1090 w 10000"/>
                <a:gd name="connsiteY135" fmla="*/ 6354 h 10007"/>
                <a:gd name="connsiteX136" fmla="*/ 1186 w 10000"/>
                <a:gd name="connsiteY136" fmla="*/ 6478 h 10007"/>
                <a:gd name="connsiteX137" fmla="*/ 1290 w 10000"/>
                <a:gd name="connsiteY137" fmla="*/ 6601 h 10007"/>
                <a:gd name="connsiteX138" fmla="*/ 1386 w 10000"/>
                <a:gd name="connsiteY138" fmla="*/ 6721 h 10007"/>
                <a:gd name="connsiteX139" fmla="*/ 1497 w 10000"/>
                <a:gd name="connsiteY139" fmla="*/ 6841 h 10007"/>
                <a:gd name="connsiteX140" fmla="*/ 1609 w 10000"/>
                <a:gd name="connsiteY140" fmla="*/ 6955 h 10007"/>
                <a:gd name="connsiteX141" fmla="*/ 1727 w 10000"/>
                <a:gd name="connsiteY141" fmla="*/ 7074 h 10007"/>
                <a:gd name="connsiteX142" fmla="*/ 1846 w 10000"/>
                <a:gd name="connsiteY142" fmla="*/ 7189 h 10007"/>
                <a:gd name="connsiteX143" fmla="*/ 1964 w 10000"/>
                <a:gd name="connsiteY143" fmla="*/ 7299 h 10007"/>
                <a:gd name="connsiteX144" fmla="*/ 2090 w 10000"/>
                <a:gd name="connsiteY144" fmla="*/ 7409 h 10007"/>
                <a:gd name="connsiteX145" fmla="*/ 2224 w 10000"/>
                <a:gd name="connsiteY145" fmla="*/ 7520 h 10007"/>
                <a:gd name="connsiteX146" fmla="*/ 2350 w 10000"/>
                <a:gd name="connsiteY146" fmla="*/ 7630 h 10007"/>
                <a:gd name="connsiteX147" fmla="*/ 2491 w 10000"/>
                <a:gd name="connsiteY147" fmla="*/ 7735 h 10007"/>
                <a:gd name="connsiteX148" fmla="*/ 2617 w 10000"/>
                <a:gd name="connsiteY148" fmla="*/ 7841 h 10007"/>
                <a:gd name="connsiteX149" fmla="*/ 2765 w 10000"/>
                <a:gd name="connsiteY149" fmla="*/ 7942 h 10007"/>
                <a:gd name="connsiteX150" fmla="*/ 2906 w 10000"/>
                <a:gd name="connsiteY150" fmla="*/ 8042 h 10007"/>
                <a:gd name="connsiteX151" fmla="*/ 3054 w 10000"/>
                <a:gd name="connsiteY151" fmla="*/ 8143 h 10007"/>
                <a:gd name="connsiteX152" fmla="*/ 3210 w 10000"/>
                <a:gd name="connsiteY152" fmla="*/ 8241 h 10007"/>
                <a:gd name="connsiteX153" fmla="*/ 3358 w 10000"/>
                <a:gd name="connsiteY153" fmla="*/ 8337 h 10007"/>
                <a:gd name="connsiteX154" fmla="*/ 3514 w 10000"/>
                <a:gd name="connsiteY154" fmla="*/ 8433 h 10007"/>
                <a:gd name="connsiteX155" fmla="*/ 3677 w 10000"/>
                <a:gd name="connsiteY155" fmla="*/ 8525 h 10007"/>
                <a:gd name="connsiteX156" fmla="*/ 3840 w 10000"/>
                <a:gd name="connsiteY156" fmla="*/ 8612 h 10007"/>
                <a:gd name="connsiteX157" fmla="*/ 4010 w 10000"/>
                <a:gd name="connsiteY157" fmla="*/ 8703 h 10007"/>
                <a:gd name="connsiteX158" fmla="*/ 4181 w 10000"/>
                <a:gd name="connsiteY158" fmla="*/ 8781 h 10007"/>
                <a:gd name="connsiteX159" fmla="*/ 4351 w 10000"/>
                <a:gd name="connsiteY159" fmla="*/ 8868 h 10007"/>
                <a:gd name="connsiteX160" fmla="*/ 4522 w 10000"/>
                <a:gd name="connsiteY160" fmla="*/ 8947 h 10007"/>
                <a:gd name="connsiteX161" fmla="*/ 4700 w 10000"/>
                <a:gd name="connsiteY161" fmla="*/ 9030 h 10007"/>
                <a:gd name="connsiteX162" fmla="*/ 4878 w 10000"/>
                <a:gd name="connsiteY162" fmla="*/ 9108 h 10007"/>
                <a:gd name="connsiteX163" fmla="*/ 5063 w 10000"/>
                <a:gd name="connsiteY163" fmla="*/ 9181 h 10007"/>
                <a:gd name="connsiteX164" fmla="*/ 5248 w 10000"/>
                <a:gd name="connsiteY164" fmla="*/ 9259 h 10007"/>
                <a:gd name="connsiteX165" fmla="*/ 5426 w 10000"/>
                <a:gd name="connsiteY165" fmla="*/ 9328 h 10007"/>
                <a:gd name="connsiteX166" fmla="*/ 5619 w 10000"/>
                <a:gd name="connsiteY166" fmla="*/ 9396 h 10007"/>
                <a:gd name="connsiteX167" fmla="*/ 5812 w 10000"/>
                <a:gd name="connsiteY167" fmla="*/ 9465 h 10007"/>
                <a:gd name="connsiteX168" fmla="*/ 6004 w 10000"/>
                <a:gd name="connsiteY168" fmla="*/ 9529 h 10007"/>
                <a:gd name="connsiteX169" fmla="*/ 6205 w 10000"/>
                <a:gd name="connsiteY169" fmla="*/ 9594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58 h 10007"/>
                <a:gd name="connsiteX179" fmla="*/ 10000 w 10000"/>
                <a:gd name="connsiteY179" fmla="*/ 6143 h 10007"/>
                <a:gd name="connsiteX0" fmla="*/ 10000 w 10000"/>
                <a:gd name="connsiteY0" fmla="*/ 6144 h 10008"/>
                <a:gd name="connsiteX1" fmla="*/ 10000 w 10000"/>
                <a:gd name="connsiteY1" fmla="*/ 6144 h 10008"/>
                <a:gd name="connsiteX2" fmla="*/ 9911 w 10000"/>
                <a:gd name="connsiteY2" fmla="*/ 6130 h 10008"/>
                <a:gd name="connsiteX3" fmla="*/ 9815 w 10000"/>
                <a:gd name="connsiteY3" fmla="*/ 6112 h 10008"/>
                <a:gd name="connsiteX4" fmla="*/ 9726 w 10000"/>
                <a:gd name="connsiteY4" fmla="*/ 6094 h 10008"/>
                <a:gd name="connsiteX5" fmla="*/ 9637 w 10000"/>
                <a:gd name="connsiteY5" fmla="*/ 6070 h 10008"/>
                <a:gd name="connsiteX6" fmla="*/ 9548 w 10000"/>
                <a:gd name="connsiteY6" fmla="*/ 6051 h 10008"/>
                <a:gd name="connsiteX7" fmla="*/ 9466 w 10000"/>
                <a:gd name="connsiteY7" fmla="*/ 6029 h 10008"/>
                <a:gd name="connsiteX8" fmla="*/ 9377 w 10000"/>
                <a:gd name="connsiteY8" fmla="*/ 6006 h 10008"/>
                <a:gd name="connsiteX9" fmla="*/ 9288 w 10000"/>
                <a:gd name="connsiteY9" fmla="*/ 5983 h 10008"/>
                <a:gd name="connsiteX10" fmla="*/ 9118 w 10000"/>
                <a:gd name="connsiteY10" fmla="*/ 5932 h 10008"/>
                <a:gd name="connsiteX11" fmla="*/ 8955 w 10000"/>
                <a:gd name="connsiteY11" fmla="*/ 5877 h 10008"/>
                <a:gd name="connsiteX12" fmla="*/ 8792 w 10000"/>
                <a:gd name="connsiteY12" fmla="*/ 5818 h 10008"/>
                <a:gd name="connsiteX13" fmla="*/ 8636 w 10000"/>
                <a:gd name="connsiteY13" fmla="*/ 5754 h 10008"/>
                <a:gd name="connsiteX14" fmla="*/ 8480 w 10000"/>
                <a:gd name="connsiteY14" fmla="*/ 5689 h 10008"/>
                <a:gd name="connsiteX15" fmla="*/ 8340 w 10000"/>
                <a:gd name="connsiteY15" fmla="*/ 5621 h 10008"/>
                <a:gd name="connsiteX16" fmla="*/ 8199 w 10000"/>
                <a:gd name="connsiteY16" fmla="*/ 5547 h 10008"/>
                <a:gd name="connsiteX17" fmla="*/ 8058 w 10000"/>
                <a:gd name="connsiteY17" fmla="*/ 5469 h 10008"/>
                <a:gd name="connsiteX18" fmla="*/ 7924 w 10000"/>
                <a:gd name="connsiteY18" fmla="*/ 5387 h 10008"/>
                <a:gd name="connsiteX19" fmla="*/ 7798 w 10000"/>
                <a:gd name="connsiteY19" fmla="*/ 5303 h 10008"/>
                <a:gd name="connsiteX20" fmla="*/ 7672 w 10000"/>
                <a:gd name="connsiteY20" fmla="*/ 5216 h 10008"/>
                <a:gd name="connsiteX21" fmla="*/ 7554 w 10000"/>
                <a:gd name="connsiteY21" fmla="*/ 5129 h 10008"/>
                <a:gd name="connsiteX22" fmla="*/ 7450 w 10000"/>
                <a:gd name="connsiteY22" fmla="*/ 5033 h 10008"/>
                <a:gd name="connsiteX23" fmla="*/ 7346 w 10000"/>
                <a:gd name="connsiteY23" fmla="*/ 4937 h 10008"/>
                <a:gd name="connsiteX24" fmla="*/ 7250 w 10000"/>
                <a:gd name="connsiteY24" fmla="*/ 4841 h 10008"/>
                <a:gd name="connsiteX25" fmla="*/ 7161 w 10000"/>
                <a:gd name="connsiteY25" fmla="*/ 4740 h 10008"/>
                <a:gd name="connsiteX26" fmla="*/ 7072 w 10000"/>
                <a:gd name="connsiteY26" fmla="*/ 4638 h 10008"/>
                <a:gd name="connsiteX27" fmla="*/ 6990 w 10000"/>
                <a:gd name="connsiteY27" fmla="*/ 4528 h 10008"/>
                <a:gd name="connsiteX28" fmla="*/ 6953 w 10000"/>
                <a:gd name="connsiteY28" fmla="*/ 4478 h 10008"/>
                <a:gd name="connsiteX29" fmla="*/ 6916 w 10000"/>
                <a:gd name="connsiteY29" fmla="*/ 4423 h 10008"/>
                <a:gd name="connsiteX30" fmla="*/ 6887 w 10000"/>
                <a:gd name="connsiteY30" fmla="*/ 4368 h 10008"/>
                <a:gd name="connsiteX31" fmla="*/ 6850 w 10000"/>
                <a:gd name="connsiteY31" fmla="*/ 4313 h 10008"/>
                <a:gd name="connsiteX32" fmla="*/ 6820 w 10000"/>
                <a:gd name="connsiteY32" fmla="*/ 4258 h 10008"/>
                <a:gd name="connsiteX33" fmla="*/ 6790 w 10000"/>
                <a:gd name="connsiteY33" fmla="*/ 4203 h 10008"/>
                <a:gd name="connsiteX34" fmla="*/ 6768 w 10000"/>
                <a:gd name="connsiteY34" fmla="*/ 4143 h 10008"/>
                <a:gd name="connsiteX35" fmla="*/ 6738 w 10000"/>
                <a:gd name="connsiteY35" fmla="*/ 4088 h 10008"/>
                <a:gd name="connsiteX36" fmla="*/ 6723 w 10000"/>
                <a:gd name="connsiteY36" fmla="*/ 4028 h 10008"/>
                <a:gd name="connsiteX37" fmla="*/ 6694 w 10000"/>
                <a:gd name="connsiteY37" fmla="*/ 3973 h 10008"/>
                <a:gd name="connsiteX38" fmla="*/ 6679 w 10000"/>
                <a:gd name="connsiteY38" fmla="*/ 3913 h 10008"/>
                <a:gd name="connsiteX39" fmla="*/ 6664 w 10000"/>
                <a:gd name="connsiteY39" fmla="*/ 3853 h 10008"/>
                <a:gd name="connsiteX40" fmla="*/ 6649 w 10000"/>
                <a:gd name="connsiteY40" fmla="*/ 3794 h 10008"/>
                <a:gd name="connsiteX41" fmla="*/ 6635 w 10000"/>
                <a:gd name="connsiteY41" fmla="*/ 3739 h 10008"/>
                <a:gd name="connsiteX42" fmla="*/ 6620 w 10000"/>
                <a:gd name="connsiteY42" fmla="*/ 3679 h 10008"/>
                <a:gd name="connsiteX43" fmla="*/ 6612 w 10000"/>
                <a:gd name="connsiteY43" fmla="*/ 3620 h 10008"/>
                <a:gd name="connsiteX44" fmla="*/ 6605 w 10000"/>
                <a:gd name="connsiteY44" fmla="*/ 3560 h 10008"/>
                <a:gd name="connsiteX45" fmla="*/ 6597 w 10000"/>
                <a:gd name="connsiteY45" fmla="*/ 3496 h 10008"/>
                <a:gd name="connsiteX46" fmla="*/ 6597 w 10000"/>
                <a:gd name="connsiteY46" fmla="*/ 3436 h 10008"/>
                <a:gd name="connsiteX47" fmla="*/ 6590 w 10000"/>
                <a:gd name="connsiteY47" fmla="*/ 3372 h 10008"/>
                <a:gd name="connsiteX48" fmla="*/ 6597 w 10000"/>
                <a:gd name="connsiteY48" fmla="*/ 3312 h 10008"/>
                <a:gd name="connsiteX49" fmla="*/ 6605 w 10000"/>
                <a:gd name="connsiteY49" fmla="*/ 3244 h 10008"/>
                <a:gd name="connsiteX50" fmla="*/ 6605 w 10000"/>
                <a:gd name="connsiteY50" fmla="*/ 3179 h 10008"/>
                <a:gd name="connsiteX51" fmla="*/ 6612 w 10000"/>
                <a:gd name="connsiteY51" fmla="*/ 3114 h 10008"/>
                <a:gd name="connsiteX52" fmla="*/ 6620 w 10000"/>
                <a:gd name="connsiteY52" fmla="*/ 3050 h 10008"/>
                <a:gd name="connsiteX53" fmla="*/ 6635 w 10000"/>
                <a:gd name="connsiteY53" fmla="*/ 2991 h 10008"/>
                <a:gd name="connsiteX54" fmla="*/ 6649 w 10000"/>
                <a:gd name="connsiteY54" fmla="*/ 2927 h 10008"/>
                <a:gd name="connsiteX55" fmla="*/ 6664 w 10000"/>
                <a:gd name="connsiteY55" fmla="*/ 2867 h 10008"/>
                <a:gd name="connsiteX56" fmla="*/ 6686 w 10000"/>
                <a:gd name="connsiteY56" fmla="*/ 2803 h 10008"/>
                <a:gd name="connsiteX57" fmla="*/ 6709 w 10000"/>
                <a:gd name="connsiteY57" fmla="*/ 2743 h 10008"/>
                <a:gd name="connsiteX58" fmla="*/ 6731 w 10000"/>
                <a:gd name="connsiteY58" fmla="*/ 2684 h 10008"/>
                <a:gd name="connsiteX59" fmla="*/ 6753 w 10000"/>
                <a:gd name="connsiteY59" fmla="*/ 2619 h 10008"/>
                <a:gd name="connsiteX60" fmla="*/ 6783 w 10000"/>
                <a:gd name="connsiteY60" fmla="*/ 2564 h 10008"/>
                <a:gd name="connsiteX61" fmla="*/ 6812 w 10000"/>
                <a:gd name="connsiteY61" fmla="*/ 2504 h 10008"/>
                <a:gd name="connsiteX62" fmla="*/ 6842 w 10000"/>
                <a:gd name="connsiteY62" fmla="*/ 2444 h 10008"/>
                <a:gd name="connsiteX63" fmla="*/ 6879 w 10000"/>
                <a:gd name="connsiteY63" fmla="*/ 2385 h 10008"/>
                <a:gd name="connsiteX64" fmla="*/ 6909 w 10000"/>
                <a:gd name="connsiteY64" fmla="*/ 2330 h 10008"/>
                <a:gd name="connsiteX65" fmla="*/ 6946 w 10000"/>
                <a:gd name="connsiteY65" fmla="*/ 2270 h 10008"/>
                <a:gd name="connsiteX66" fmla="*/ 6990 w 10000"/>
                <a:gd name="connsiteY66" fmla="*/ 2215 h 10008"/>
                <a:gd name="connsiteX67" fmla="*/ 7027 w 10000"/>
                <a:gd name="connsiteY67" fmla="*/ 2160 h 10008"/>
                <a:gd name="connsiteX68" fmla="*/ 7072 w 10000"/>
                <a:gd name="connsiteY68" fmla="*/ 2105 h 10008"/>
                <a:gd name="connsiteX69" fmla="*/ 7109 w 10000"/>
                <a:gd name="connsiteY69" fmla="*/ 2050 h 10008"/>
                <a:gd name="connsiteX70" fmla="*/ 7161 w 10000"/>
                <a:gd name="connsiteY70" fmla="*/ 2000 h 10008"/>
                <a:gd name="connsiteX71" fmla="*/ 7213 w 10000"/>
                <a:gd name="connsiteY71" fmla="*/ 1945 h 10008"/>
                <a:gd name="connsiteX72" fmla="*/ 7257 w 10000"/>
                <a:gd name="connsiteY72" fmla="*/ 1890 h 10008"/>
                <a:gd name="connsiteX73" fmla="*/ 7309 w 10000"/>
                <a:gd name="connsiteY73" fmla="*/ 1839 h 10008"/>
                <a:gd name="connsiteX74" fmla="*/ 7361 w 10000"/>
                <a:gd name="connsiteY74" fmla="*/ 1788 h 10008"/>
                <a:gd name="connsiteX75" fmla="*/ 7413 w 10000"/>
                <a:gd name="connsiteY75" fmla="*/ 1738 h 10008"/>
                <a:gd name="connsiteX76" fmla="*/ 7472 w 10000"/>
                <a:gd name="connsiteY76" fmla="*/ 1687 h 10008"/>
                <a:gd name="connsiteX77" fmla="*/ 7524 w 10000"/>
                <a:gd name="connsiteY77" fmla="*/ 1641 h 10008"/>
                <a:gd name="connsiteX78" fmla="*/ 7583 w 10000"/>
                <a:gd name="connsiteY78" fmla="*/ 1595 h 10008"/>
                <a:gd name="connsiteX79" fmla="*/ 7610 w 10000"/>
                <a:gd name="connsiteY79" fmla="*/ 1566 h 10008"/>
                <a:gd name="connsiteX80" fmla="*/ 5412 w 10000"/>
                <a:gd name="connsiteY80" fmla="*/ 0 h 10008"/>
                <a:gd name="connsiteX81" fmla="*/ 1423 w 10000"/>
                <a:gd name="connsiteY81" fmla="*/ 1 h 10008"/>
                <a:gd name="connsiteX82" fmla="*/ 1305 w 10000"/>
                <a:gd name="connsiteY82" fmla="*/ 122 h 10008"/>
                <a:gd name="connsiteX83" fmla="*/ 1223 w 10000"/>
                <a:gd name="connsiteY83" fmla="*/ 214 h 10008"/>
                <a:gd name="connsiteX84" fmla="*/ 1149 w 10000"/>
                <a:gd name="connsiteY84" fmla="*/ 310 h 10008"/>
                <a:gd name="connsiteX85" fmla="*/ 1067 w 10000"/>
                <a:gd name="connsiteY85" fmla="*/ 407 h 10008"/>
                <a:gd name="connsiteX86" fmla="*/ 1001 w 10000"/>
                <a:gd name="connsiteY86" fmla="*/ 504 h 10008"/>
                <a:gd name="connsiteX87" fmla="*/ 927 w 10000"/>
                <a:gd name="connsiteY87" fmla="*/ 600 h 10008"/>
                <a:gd name="connsiteX88" fmla="*/ 860 w 10000"/>
                <a:gd name="connsiteY88" fmla="*/ 701 h 10008"/>
                <a:gd name="connsiteX89" fmla="*/ 793 w 10000"/>
                <a:gd name="connsiteY89" fmla="*/ 802 h 10008"/>
                <a:gd name="connsiteX90" fmla="*/ 734 w 10000"/>
                <a:gd name="connsiteY90" fmla="*/ 898 h 10008"/>
                <a:gd name="connsiteX91" fmla="*/ 675 w 10000"/>
                <a:gd name="connsiteY91" fmla="*/ 999 h 10008"/>
                <a:gd name="connsiteX92" fmla="*/ 615 w 10000"/>
                <a:gd name="connsiteY92" fmla="*/ 1100 h 10008"/>
                <a:gd name="connsiteX93" fmla="*/ 556 w 10000"/>
                <a:gd name="connsiteY93" fmla="*/ 1206 h 10008"/>
                <a:gd name="connsiteX94" fmla="*/ 504 w 10000"/>
                <a:gd name="connsiteY94" fmla="*/ 1302 h 10008"/>
                <a:gd name="connsiteX95" fmla="*/ 452 w 10000"/>
                <a:gd name="connsiteY95" fmla="*/ 1408 h 10008"/>
                <a:gd name="connsiteX96" fmla="*/ 408 w 10000"/>
                <a:gd name="connsiteY96" fmla="*/ 1508 h 10008"/>
                <a:gd name="connsiteX97" fmla="*/ 363 w 10000"/>
                <a:gd name="connsiteY97" fmla="*/ 1614 h 10008"/>
                <a:gd name="connsiteX98" fmla="*/ 319 w 10000"/>
                <a:gd name="connsiteY98" fmla="*/ 1719 h 10008"/>
                <a:gd name="connsiteX99" fmla="*/ 282 w 10000"/>
                <a:gd name="connsiteY99" fmla="*/ 1826 h 10008"/>
                <a:gd name="connsiteX100" fmla="*/ 237 w 10000"/>
                <a:gd name="connsiteY100" fmla="*/ 1936 h 10008"/>
                <a:gd name="connsiteX101" fmla="*/ 208 w 10000"/>
                <a:gd name="connsiteY101" fmla="*/ 2041 h 10008"/>
                <a:gd name="connsiteX102" fmla="*/ 170 w 10000"/>
                <a:gd name="connsiteY102" fmla="*/ 2151 h 10008"/>
                <a:gd name="connsiteX103" fmla="*/ 148 w 10000"/>
                <a:gd name="connsiteY103" fmla="*/ 2261 h 10008"/>
                <a:gd name="connsiteX104" fmla="*/ 119 w 10000"/>
                <a:gd name="connsiteY104" fmla="*/ 2366 h 10008"/>
                <a:gd name="connsiteX105" fmla="*/ 96 w 10000"/>
                <a:gd name="connsiteY105" fmla="*/ 2476 h 10008"/>
                <a:gd name="connsiteX106" fmla="*/ 74 w 10000"/>
                <a:gd name="connsiteY106" fmla="*/ 2587 h 10008"/>
                <a:gd name="connsiteX107" fmla="*/ 52 w 10000"/>
                <a:gd name="connsiteY107" fmla="*/ 2702 h 10008"/>
                <a:gd name="connsiteX108" fmla="*/ 37 w 10000"/>
                <a:gd name="connsiteY108" fmla="*/ 2812 h 10008"/>
                <a:gd name="connsiteX109" fmla="*/ 22 w 10000"/>
                <a:gd name="connsiteY109" fmla="*/ 2922 h 10008"/>
                <a:gd name="connsiteX110" fmla="*/ 15 w 10000"/>
                <a:gd name="connsiteY110" fmla="*/ 3032 h 10008"/>
                <a:gd name="connsiteX111" fmla="*/ 7 w 10000"/>
                <a:gd name="connsiteY111" fmla="*/ 3146 h 10008"/>
                <a:gd name="connsiteX112" fmla="*/ 0 w 10000"/>
                <a:gd name="connsiteY112" fmla="*/ 3257 h 10008"/>
                <a:gd name="connsiteX113" fmla="*/ 0 w 10000"/>
                <a:gd name="connsiteY113" fmla="*/ 3372 h 10008"/>
                <a:gd name="connsiteX114" fmla="*/ 7 w 10000"/>
                <a:gd name="connsiteY114" fmla="*/ 3519 h 10008"/>
                <a:gd name="connsiteX115" fmla="*/ 7 w 10000"/>
                <a:gd name="connsiteY115" fmla="*/ 3665 h 10008"/>
                <a:gd name="connsiteX116" fmla="*/ 22 w 10000"/>
                <a:gd name="connsiteY116" fmla="*/ 3803 h 10008"/>
                <a:gd name="connsiteX117" fmla="*/ 37 w 10000"/>
                <a:gd name="connsiteY117" fmla="*/ 3946 h 10008"/>
                <a:gd name="connsiteX118" fmla="*/ 59 w 10000"/>
                <a:gd name="connsiteY118" fmla="*/ 4088 h 10008"/>
                <a:gd name="connsiteX119" fmla="*/ 89 w 10000"/>
                <a:gd name="connsiteY119" fmla="*/ 4230 h 10008"/>
                <a:gd name="connsiteX120" fmla="*/ 119 w 10000"/>
                <a:gd name="connsiteY120" fmla="*/ 4372 h 10008"/>
                <a:gd name="connsiteX121" fmla="*/ 148 w 10000"/>
                <a:gd name="connsiteY121" fmla="*/ 4514 h 10008"/>
                <a:gd name="connsiteX122" fmla="*/ 193 w 10000"/>
                <a:gd name="connsiteY122" fmla="*/ 4653 h 10008"/>
                <a:gd name="connsiteX123" fmla="*/ 237 w 10000"/>
                <a:gd name="connsiteY123" fmla="*/ 4790 h 10008"/>
                <a:gd name="connsiteX124" fmla="*/ 282 w 10000"/>
                <a:gd name="connsiteY124" fmla="*/ 4928 h 10008"/>
                <a:gd name="connsiteX125" fmla="*/ 334 w 10000"/>
                <a:gd name="connsiteY125" fmla="*/ 5065 h 10008"/>
                <a:gd name="connsiteX126" fmla="*/ 393 w 10000"/>
                <a:gd name="connsiteY126" fmla="*/ 5198 h 10008"/>
                <a:gd name="connsiteX127" fmla="*/ 452 w 10000"/>
                <a:gd name="connsiteY127" fmla="*/ 5331 h 10008"/>
                <a:gd name="connsiteX128" fmla="*/ 519 w 10000"/>
                <a:gd name="connsiteY128" fmla="*/ 5465 h 10008"/>
                <a:gd name="connsiteX129" fmla="*/ 586 w 10000"/>
                <a:gd name="connsiteY129" fmla="*/ 5598 h 10008"/>
                <a:gd name="connsiteX130" fmla="*/ 660 w 10000"/>
                <a:gd name="connsiteY130" fmla="*/ 5726 h 10008"/>
                <a:gd name="connsiteX131" fmla="*/ 741 w 10000"/>
                <a:gd name="connsiteY131" fmla="*/ 5854 h 10008"/>
                <a:gd name="connsiteX132" fmla="*/ 823 w 10000"/>
                <a:gd name="connsiteY132" fmla="*/ 5987 h 10008"/>
                <a:gd name="connsiteX133" fmla="*/ 904 w 10000"/>
                <a:gd name="connsiteY133" fmla="*/ 6112 h 10008"/>
                <a:gd name="connsiteX134" fmla="*/ 993 w 10000"/>
                <a:gd name="connsiteY134" fmla="*/ 6236 h 10008"/>
                <a:gd name="connsiteX135" fmla="*/ 1090 w 10000"/>
                <a:gd name="connsiteY135" fmla="*/ 6355 h 10008"/>
                <a:gd name="connsiteX136" fmla="*/ 1186 w 10000"/>
                <a:gd name="connsiteY136" fmla="*/ 6479 h 10008"/>
                <a:gd name="connsiteX137" fmla="*/ 1290 w 10000"/>
                <a:gd name="connsiteY137" fmla="*/ 6602 h 10008"/>
                <a:gd name="connsiteX138" fmla="*/ 1386 w 10000"/>
                <a:gd name="connsiteY138" fmla="*/ 6722 h 10008"/>
                <a:gd name="connsiteX139" fmla="*/ 1497 w 10000"/>
                <a:gd name="connsiteY139" fmla="*/ 6842 h 10008"/>
                <a:gd name="connsiteX140" fmla="*/ 1609 w 10000"/>
                <a:gd name="connsiteY140" fmla="*/ 6956 h 10008"/>
                <a:gd name="connsiteX141" fmla="*/ 1727 w 10000"/>
                <a:gd name="connsiteY141" fmla="*/ 7075 h 10008"/>
                <a:gd name="connsiteX142" fmla="*/ 1846 w 10000"/>
                <a:gd name="connsiteY142" fmla="*/ 7190 h 10008"/>
                <a:gd name="connsiteX143" fmla="*/ 1964 w 10000"/>
                <a:gd name="connsiteY143" fmla="*/ 7300 h 10008"/>
                <a:gd name="connsiteX144" fmla="*/ 2090 w 10000"/>
                <a:gd name="connsiteY144" fmla="*/ 7410 h 10008"/>
                <a:gd name="connsiteX145" fmla="*/ 2224 w 10000"/>
                <a:gd name="connsiteY145" fmla="*/ 7521 h 10008"/>
                <a:gd name="connsiteX146" fmla="*/ 2350 w 10000"/>
                <a:gd name="connsiteY146" fmla="*/ 7631 h 10008"/>
                <a:gd name="connsiteX147" fmla="*/ 2491 w 10000"/>
                <a:gd name="connsiteY147" fmla="*/ 7736 h 10008"/>
                <a:gd name="connsiteX148" fmla="*/ 2617 w 10000"/>
                <a:gd name="connsiteY148" fmla="*/ 7842 h 10008"/>
                <a:gd name="connsiteX149" fmla="*/ 2765 w 10000"/>
                <a:gd name="connsiteY149" fmla="*/ 7943 h 10008"/>
                <a:gd name="connsiteX150" fmla="*/ 2906 w 10000"/>
                <a:gd name="connsiteY150" fmla="*/ 8043 h 10008"/>
                <a:gd name="connsiteX151" fmla="*/ 3054 w 10000"/>
                <a:gd name="connsiteY151" fmla="*/ 8144 h 10008"/>
                <a:gd name="connsiteX152" fmla="*/ 3210 w 10000"/>
                <a:gd name="connsiteY152" fmla="*/ 8242 h 10008"/>
                <a:gd name="connsiteX153" fmla="*/ 3358 w 10000"/>
                <a:gd name="connsiteY153" fmla="*/ 8338 h 10008"/>
                <a:gd name="connsiteX154" fmla="*/ 3514 w 10000"/>
                <a:gd name="connsiteY154" fmla="*/ 8434 h 10008"/>
                <a:gd name="connsiteX155" fmla="*/ 3677 w 10000"/>
                <a:gd name="connsiteY155" fmla="*/ 8526 h 10008"/>
                <a:gd name="connsiteX156" fmla="*/ 3840 w 10000"/>
                <a:gd name="connsiteY156" fmla="*/ 8613 h 10008"/>
                <a:gd name="connsiteX157" fmla="*/ 4010 w 10000"/>
                <a:gd name="connsiteY157" fmla="*/ 8704 h 10008"/>
                <a:gd name="connsiteX158" fmla="*/ 4181 w 10000"/>
                <a:gd name="connsiteY158" fmla="*/ 8782 h 10008"/>
                <a:gd name="connsiteX159" fmla="*/ 4351 w 10000"/>
                <a:gd name="connsiteY159" fmla="*/ 8869 h 10008"/>
                <a:gd name="connsiteX160" fmla="*/ 4522 w 10000"/>
                <a:gd name="connsiteY160" fmla="*/ 8948 h 10008"/>
                <a:gd name="connsiteX161" fmla="*/ 4700 w 10000"/>
                <a:gd name="connsiteY161" fmla="*/ 9031 h 10008"/>
                <a:gd name="connsiteX162" fmla="*/ 4878 w 10000"/>
                <a:gd name="connsiteY162" fmla="*/ 9109 h 10008"/>
                <a:gd name="connsiteX163" fmla="*/ 5063 w 10000"/>
                <a:gd name="connsiteY163" fmla="*/ 9182 h 10008"/>
                <a:gd name="connsiteX164" fmla="*/ 5248 w 10000"/>
                <a:gd name="connsiteY164" fmla="*/ 9260 h 10008"/>
                <a:gd name="connsiteX165" fmla="*/ 5426 w 10000"/>
                <a:gd name="connsiteY165" fmla="*/ 9329 h 10008"/>
                <a:gd name="connsiteX166" fmla="*/ 5619 w 10000"/>
                <a:gd name="connsiteY166" fmla="*/ 9397 h 10008"/>
                <a:gd name="connsiteX167" fmla="*/ 5812 w 10000"/>
                <a:gd name="connsiteY167" fmla="*/ 9466 h 10008"/>
                <a:gd name="connsiteX168" fmla="*/ 6004 w 10000"/>
                <a:gd name="connsiteY168" fmla="*/ 9530 h 10008"/>
                <a:gd name="connsiteX169" fmla="*/ 6205 w 10000"/>
                <a:gd name="connsiteY169" fmla="*/ 9595 h 10008"/>
                <a:gd name="connsiteX170" fmla="*/ 6397 w 10000"/>
                <a:gd name="connsiteY170" fmla="*/ 9655 h 10008"/>
                <a:gd name="connsiteX171" fmla="*/ 6605 w 10000"/>
                <a:gd name="connsiteY171" fmla="*/ 9710 h 10008"/>
                <a:gd name="connsiteX172" fmla="*/ 6805 w 10000"/>
                <a:gd name="connsiteY172" fmla="*/ 9765 h 10008"/>
                <a:gd name="connsiteX173" fmla="*/ 7005 w 10000"/>
                <a:gd name="connsiteY173" fmla="*/ 9820 h 10008"/>
                <a:gd name="connsiteX174" fmla="*/ 7213 w 10000"/>
                <a:gd name="connsiteY174" fmla="*/ 9871 h 10008"/>
                <a:gd name="connsiteX175" fmla="*/ 7420 w 10000"/>
                <a:gd name="connsiteY175" fmla="*/ 9916 h 10008"/>
                <a:gd name="connsiteX176" fmla="*/ 7628 w 10000"/>
                <a:gd name="connsiteY176" fmla="*/ 9962 h 10008"/>
                <a:gd name="connsiteX177" fmla="*/ 7835 w 10000"/>
                <a:gd name="connsiteY177" fmla="*/ 10008 h 10008"/>
                <a:gd name="connsiteX178" fmla="*/ 7539 w 10000"/>
                <a:gd name="connsiteY178" fmla="*/ 7759 h 10008"/>
                <a:gd name="connsiteX179" fmla="*/ 10000 w 10000"/>
                <a:gd name="connsiteY179" fmla="*/ 6144 h 10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10000" h="10008">
                  <a:moveTo>
                    <a:pt x="10000" y="6144"/>
                  </a:moveTo>
                  <a:lnTo>
                    <a:pt x="10000" y="6144"/>
                  </a:lnTo>
                  <a:lnTo>
                    <a:pt x="9911" y="6130"/>
                  </a:lnTo>
                  <a:lnTo>
                    <a:pt x="9815" y="6112"/>
                  </a:lnTo>
                  <a:lnTo>
                    <a:pt x="9726" y="6094"/>
                  </a:lnTo>
                  <a:lnTo>
                    <a:pt x="9637" y="6070"/>
                  </a:lnTo>
                  <a:cubicBezTo>
                    <a:pt x="9607" y="6064"/>
                    <a:pt x="9578" y="6057"/>
                    <a:pt x="9548" y="6051"/>
                  </a:cubicBezTo>
                  <a:lnTo>
                    <a:pt x="9466" y="6029"/>
                  </a:lnTo>
                  <a:lnTo>
                    <a:pt x="9377" y="6006"/>
                  </a:lnTo>
                  <a:lnTo>
                    <a:pt x="9288" y="5983"/>
                  </a:lnTo>
                  <a:lnTo>
                    <a:pt x="9118" y="5932"/>
                  </a:lnTo>
                  <a:lnTo>
                    <a:pt x="8955" y="5877"/>
                  </a:lnTo>
                  <a:lnTo>
                    <a:pt x="8792" y="5818"/>
                  </a:lnTo>
                  <a:lnTo>
                    <a:pt x="8636" y="5754"/>
                  </a:lnTo>
                  <a:lnTo>
                    <a:pt x="8480" y="5689"/>
                  </a:lnTo>
                  <a:lnTo>
                    <a:pt x="8340" y="5621"/>
                  </a:lnTo>
                  <a:lnTo>
                    <a:pt x="8199" y="5547"/>
                  </a:lnTo>
                  <a:lnTo>
                    <a:pt x="8058" y="5469"/>
                  </a:lnTo>
                  <a:cubicBezTo>
                    <a:pt x="8013" y="5442"/>
                    <a:pt x="7969" y="5414"/>
                    <a:pt x="7924" y="5387"/>
                  </a:cubicBezTo>
                  <a:lnTo>
                    <a:pt x="7798" y="5303"/>
                  </a:lnTo>
                  <a:lnTo>
                    <a:pt x="7672" y="5216"/>
                  </a:lnTo>
                  <a:lnTo>
                    <a:pt x="7554" y="5129"/>
                  </a:lnTo>
                  <a:lnTo>
                    <a:pt x="7450" y="5033"/>
                  </a:lnTo>
                  <a:lnTo>
                    <a:pt x="7346" y="4937"/>
                  </a:lnTo>
                  <a:lnTo>
                    <a:pt x="7250" y="4841"/>
                  </a:lnTo>
                  <a:lnTo>
                    <a:pt x="7161" y="4740"/>
                  </a:lnTo>
                  <a:cubicBezTo>
                    <a:pt x="7131" y="4706"/>
                    <a:pt x="7102" y="4672"/>
                    <a:pt x="7072" y="4638"/>
                  </a:cubicBezTo>
                  <a:cubicBezTo>
                    <a:pt x="7045" y="4601"/>
                    <a:pt x="7017" y="4565"/>
                    <a:pt x="6990" y="4528"/>
                  </a:cubicBezTo>
                  <a:cubicBezTo>
                    <a:pt x="6978" y="4511"/>
                    <a:pt x="6965" y="4495"/>
                    <a:pt x="6953" y="4478"/>
                  </a:cubicBezTo>
                  <a:cubicBezTo>
                    <a:pt x="6941" y="4460"/>
                    <a:pt x="6928" y="4441"/>
                    <a:pt x="6916" y="4423"/>
                  </a:cubicBezTo>
                  <a:cubicBezTo>
                    <a:pt x="6906" y="4405"/>
                    <a:pt x="6897" y="4386"/>
                    <a:pt x="6887" y="4368"/>
                  </a:cubicBezTo>
                  <a:cubicBezTo>
                    <a:pt x="6875" y="4350"/>
                    <a:pt x="6862" y="4331"/>
                    <a:pt x="6850" y="4313"/>
                  </a:cubicBezTo>
                  <a:cubicBezTo>
                    <a:pt x="6840" y="4295"/>
                    <a:pt x="6830" y="4276"/>
                    <a:pt x="6820" y="4258"/>
                  </a:cubicBezTo>
                  <a:cubicBezTo>
                    <a:pt x="6810" y="4240"/>
                    <a:pt x="6800" y="4221"/>
                    <a:pt x="6790" y="4203"/>
                  </a:cubicBezTo>
                  <a:cubicBezTo>
                    <a:pt x="6783" y="4183"/>
                    <a:pt x="6775" y="4163"/>
                    <a:pt x="6768" y="4143"/>
                  </a:cubicBezTo>
                  <a:cubicBezTo>
                    <a:pt x="6758" y="4125"/>
                    <a:pt x="6748" y="4106"/>
                    <a:pt x="6738" y="4088"/>
                  </a:cubicBezTo>
                  <a:lnTo>
                    <a:pt x="6723" y="4028"/>
                  </a:lnTo>
                  <a:cubicBezTo>
                    <a:pt x="6713" y="4010"/>
                    <a:pt x="6704" y="3991"/>
                    <a:pt x="6694" y="3973"/>
                  </a:cubicBezTo>
                  <a:lnTo>
                    <a:pt x="6679" y="3913"/>
                  </a:lnTo>
                  <a:lnTo>
                    <a:pt x="6664" y="3853"/>
                  </a:lnTo>
                  <a:cubicBezTo>
                    <a:pt x="6659" y="3833"/>
                    <a:pt x="6654" y="3814"/>
                    <a:pt x="6649" y="3794"/>
                  </a:cubicBezTo>
                  <a:cubicBezTo>
                    <a:pt x="6644" y="3776"/>
                    <a:pt x="6640" y="3757"/>
                    <a:pt x="6635" y="3739"/>
                  </a:cubicBezTo>
                  <a:lnTo>
                    <a:pt x="6620" y="3679"/>
                  </a:lnTo>
                  <a:cubicBezTo>
                    <a:pt x="6617" y="3659"/>
                    <a:pt x="6615" y="3640"/>
                    <a:pt x="6612" y="3620"/>
                  </a:cubicBezTo>
                  <a:cubicBezTo>
                    <a:pt x="6610" y="3600"/>
                    <a:pt x="6607" y="3580"/>
                    <a:pt x="6605" y="3560"/>
                  </a:cubicBezTo>
                  <a:cubicBezTo>
                    <a:pt x="6602" y="3539"/>
                    <a:pt x="6600" y="3517"/>
                    <a:pt x="6597" y="3496"/>
                  </a:cubicBezTo>
                  <a:lnTo>
                    <a:pt x="6597" y="3436"/>
                  </a:lnTo>
                  <a:cubicBezTo>
                    <a:pt x="6595" y="3415"/>
                    <a:pt x="6592" y="3393"/>
                    <a:pt x="6590" y="3372"/>
                  </a:cubicBezTo>
                  <a:cubicBezTo>
                    <a:pt x="6592" y="3352"/>
                    <a:pt x="6595" y="3332"/>
                    <a:pt x="6597" y="3312"/>
                  </a:cubicBezTo>
                  <a:cubicBezTo>
                    <a:pt x="6600" y="3289"/>
                    <a:pt x="6602" y="3267"/>
                    <a:pt x="6605" y="3244"/>
                  </a:cubicBezTo>
                  <a:lnTo>
                    <a:pt x="6605" y="3179"/>
                  </a:lnTo>
                  <a:cubicBezTo>
                    <a:pt x="6607" y="3157"/>
                    <a:pt x="6610" y="3136"/>
                    <a:pt x="6612" y="3114"/>
                  </a:cubicBezTo>
                  <a:cubicBezTo>
                    <a:pt x="6615" y="3093"/>
                    <a:pt x="6617" y="3071"/>
                    <a:pt x="6620" y="3050"/>
                  </a:cubicBezTo>
                  <a:cubicBezTo>
                    <a:pt x="6625" y="3030"/>
                    <a:pt x="6630" y="3011"/>
                    <a:pt x="6635" y="2991"/>
                  </a:cubicBezTo>
                  <a:cubicBezTo>
                    <a:pt x="6640" y="2970"/>
                    <a:pt x="6644" y="2948"/>
                    <a:pt x="6649" y="2927"/>
                  </a:cubicBezTo>
                  <a:lnTo>
                    <a:pt x="6664" y="2867"/>
                  </a:lnTo>
                  <a:cubicBezTo>
                    <a:pt x="6671" y="2846"/>
                    <a:pt x="6679" y="2824"/>
                    <a:pt x="6686" y="2803"/>
                  </a:cubicBezTo>
                  <a:cubicBezTo>
                    <a:pt x="6694" y="2783"/>
                    <a:pt x="6701" y="2763"/>
                    <a:pt x="6709" y="2743"/>
                  </a:cubicBezTo>
                  <a:cubicBezTo>
                    <a:pt x="6716" y="2723"/>
                    <a:pt x="6724" y="2704"/>
                    <a:pt x="6731" y="2684"/>
                  </a:cubicBezTo>
                  <a:cubicBezTo>
                    <a:pt x="6738" y="2662"/>
                    <a:pt x="6746" y="2641"/>
                    <a:pt x="6753" y="2619"/>
                  </a:cubicBezTo>
                  <a:cubicBezTo>
                    <a:pt x="6763" y="2601"/>
                    <a:pt x="6773" y="2582"/>
                    <a:pt x="6783" y="2564"/>
                  </a:cubicBezTo>
                  <a:cubicBezTo>
                    <a:pt x="6793" y="2544"/>
                    <a:pt x="6802" y="2525"/>
                    <a:pt x="6812" y="2504"/>
                  </a:cubicBezTo>
                  <a:lnTo>
                    <a:pt x="6842" y="2444"/>
                  </a:lnTo>
                  <a:cubicBezTo>
                    <a:pt x="6854" y="2424"/>
                    <a:pt x="6867" y="2405"/>
                    <a:pt x="6879" y="2385"/>
                  </a:cubicBezTo>
                  <a:cubicBezTo>
                    <a:pt x="6889" y="2367"/>
                    <a:pt x="6899" y="2348"/>
                    <a:pt x="6909" y="2330"/>
                  </a:cubicBezTo>
                  <a:cubicBezTo>
                    <a:pt x="6921" y="2310"/>
                    <a:pt x="6934" y="2290"/>
                    <a:pt x="6946" y="2270"/>
                  </a:cubicBezTo>
                  <a:cubicBezTo>
                    <a:pt x="6961" y="2252"/>
                    <a:pt x="6975" y="2233"/>
                    <a:pt x="6990" y="2215"/>
                  </a:cubicBezTo>
                  <a:cubicBezTo>
                    <a:pt x="7002" y="2197"/>
                    <a:pt x="7015" y="2178"/>
                    <a:pt x="7027" y="2160"/>
                  </a:cubicBezTo>
                  <a:cubicBezTo>
                    <a:pt x="7042" y="2142"/>
                    <a:pt x="7057" y="2123"/>
                    <a:pt x="7072" y="2105"/>
                  </a:cubicBezTo>
                  <a:cubicBezTo>
                    <a:pt x="7084" y="2087"/>
                    <a:pt x="7097" y="2068"/>
                    <a:pt x="7109" y="2050"/>
                  </a:cubicBezTo>
                  <a:cubicBezTo>
                    <a:pt x="7126" y="2033"/>
                    <a:pt x="7144" y="2017"/>
                    <a:pt x="7161" y="2000"/>
                  </a:cubicBezTo>
                  <a:lnTo>
                    <a:pt x="7213" y="1945"/>
                  </a:lnTo>
                  <a:cubicBezTo>
                    <a:pt x="7228" y="1927"/>
                    <a:pt x="7242" y="1908"/>
                    <a:pt x="7257" y="1890"/>
                  </a:cubicBezTo>
                  <a:cubicBezTo>
                    <a:pt x="7274" y="1873"/>
                    <a:pt x="7292" y="1856"/>
                    <a:pt x="7309" y="1839"/>
                  </a:cubicBezTo>
                  <a:cubicBezTo>
                    <a:pt x="7326" y="1822"/>
                    <a:pt x="7344" y="1806"/>
                    <a:pt x="7361" y="1788"/>
                  </a:cubicBezTo>
                  <a:cubicBezTo>
                    <a:pt x="7378" y="1771"/>
                    <a:pt x="7396" y="1755"/>
                    <a:pt x="7413" y="1738"/>
                  </a:cubicBezTo>
                  <a:cubicBezTo>
                    <a:pt x="7433" y="1721"/>
                    <a:pt x="7452" y="1704"/>
                    <a:pt x="7472" y="1687"/>
                  </a:cubicBezTo>
                  <a:lnTo>
                    <a:pt x="7524" y="1641"/>
                  </a:lnTo>
                  <a:cubicBezTo>
                    <a:pt x="7544" y="1626"/>
                    <a:pt x="7563" y="1610"/>
                    <a:pt x="7583" y="1595"/>
                  </a:cubicBezTo>
                  <a:cubicBezTo>
                    <a:pt x="7603" y="1578"/>
                    <a:pt x="7590" y="1583"/>
                    <a:pt x="7610" y="1566"/>
                  </a:cubicBezTo>
                  <a:lnTo>
                    <a:pt x="5412" y="0"/>
                  </a:lnTo>
                  <a:lnTo>
                    <a:pt x="1423" y="1"/>
                  </a:lnTo>
                  <a:cubicBezTo>
                    <a:pt x="1391" y="44"/>
                    <a:pt x="1337" y="79"/>
                    <a:pt x="1305" y="122"/>
                  </a:cubicBezTo>
                  <a:cubicBezTo>
                    <a:pt x="1278" y="153"/>
                    <a:pt x="1250" y="183"/>
                    <a:pt x="1223" y="214"/>
                  </a:cubicBezTo>
                  <a:cubicBezTo>
                    <a:pt x="1198" y="246"/>
                    <a:pt x="1174" y="278"/>
                    <a:pt x="1149" y="310"/>
                  </a:cubicBezTo>
                  <a:lnTo>
                    <a:pt x="1067" y="407"/>
                  </a:lnTo>
                  <a:cubicBezTo>
                    <a:pt x="1045" y="439"/>
                    <a:pt x="1023" y="472"/>
                    <a:pt x="1001" y="504"/>
                  </a:cubicBezTo>
                  <a:cubicBezTo>
                    <a:pt x="976" y="536"/>
                    <a:pt x="952" y="568"/>
                    <a:pt x="927" y="600"/>
                  </a:cubicBezTo>
                  <a:cubicBezTo>
                    <a:pt x="905" y="634"/>
                    <a:pt x="882" y="667"/>
                    <a:pt x="860" y="701"/>
                  </a:cubicBezTo>
                  <a:cubicBezTo>
                    <a:pt x="838" y="735"/>
                    <a:pt x="815" y="768"/>
                    <a:pt x="793" y="802"/>
                  </a:cubicBezTo>
                  <a:cubicBezTo>
                    <a:pt x="773" y="834"/>
                    <a:pt x="754" y="866"/>
                    <a:pt x="734" y="898"/>
                  </a:cubicBezTo>
                  <a:cubicBezTo>
                    <a:pt x="714" y="932"/>
                    <a:pt x="695" y="965"/>
                    <a:pt x="675" y="999"/>
                  </a:cubicBezTo>
                  <a:cubicBezTo>
                    <a:pt x="655" y="1032"/>
                    <a:pt x="635" y="1066"/>
                    <a:pt x="615" y="1100"/>
                  </a:cubicBezTo>
                  <a:cubicBezTo>
                    <a:pt x="595" y="1135"/>
                    <a:pt x="576" y="1171"/>
                    <a:pt x="556" y="1206"/>
                  </a:cubicBezTo>
                  <a:cubicBezTo>
                    <a:pt x="539" y="1238"/>
                    <a:pt x="521" y="1270"/>
                    <a:pt x="504" y="1302"/>
                  </a:cubicBezTo>
                  <a:cubicBezTo>
                    <a:pt x="487" y="1337"/>
                    <a:pt x="469" y="1373"/>
                    <a:pt x="452" y="1408"/>
                  </a:cubicBezTo>
                  <a:cubicBezTo>
                    <a:pt x="437" y="1441"/>
                    <a:pt x="423" y="1475"/>
                    <a:pt x="408" y="1508"/>
                  </a:cubicBezTo>
                  <a:cubicBezTo>
                    <a:pt x="393" y="1543"/>
                    <a:pt x="378" y="1579"/>
                    <a:pt x="363" y="1614"/>
                  </a:cubicBezTo>
                  <a:cubicBezTo>
                    <a:pt x="348" y="1649"/>
                    <a:pt x="334" y="1684"/>
                    <a:pt x="319" y="1719"/>
                  </a:cubicBezTo>
                  <a:cubicBezTo>
                    <a:pt x="307" y="1754"/>
                    <a:pt x="294" y="1790"/>
                    <a:pt x="282" y="1826"/>
                  </a:cubicBezTo>
                  <a:cubicBezTo>
                    <a:pt x="267" y="1863"/>
                    <a:pt x="252" y="1899"/>
                    <a:pt x="237" y="1936"/>
                  </a:cubicBezTo>
                  <a:cubicBezTo>
                    <a:pt x="227" y="1971"/>
                    <a:pt x="218" y="2006"/>
                    <a:pt x="208" y="2041"/>
                  </a:cubicBezTo>
                  <a:cubicBezTo>
                    <a:pt x="195" y="2078"/>
                    <a:pt x="183" y="2114"/>
                    <a:pt x="170" y="2151"/>
                  </a:cubicBezTo>
                  <a:cubicBezTo>
                    <a:pt x="163" y="2188"/>
                    <a:pt x="155" y="2224"/>
                    <a:pt x="148" y="2261"/>
                  </a:cubicBezTo>
                  <a:cubicBezTo>
                    <a:pt x="138" y="2296"/>
                    <a:pt x="129" y="2331"/>
                    <a:pt x="119" y="2366"/>
                  </a:cubicBezTo>
                  <a:cubicBezTo>
                    <a:pt x="111" y="2403"/>
                    <a:pt x="104" y="2439"/>
                    <a:pt x="96" y="2476"/>
                  </a:cubicBezTo>
                  <a:cubicBezTo>
                    <a:pt x="89" y="2514"/>
                    <a:pt x="81" y="2550"/>
                    <a:pt x="74" y="2587"/>
                  </a:cubicBezTo>
                  <a:cubicBezTo>
                    <a:pt x="67" y="2625"/>
                    <a:pt x="59" y="2664"/>
                    <a:pt x="52" y="2702"/>
                  </a:cubicBezTo>
                  <a:cubicBezTo>
                    <a:pt x="47" y="2739"/>
                    <a:pt x="42" y="2775"/>
                    <a:pt x="37" y="2812"/>
                  </a:cubicBezTo>
                  <a:cubicBezTo>
                    <a:pt x="32" y="2849"/>
                    <a:pt x="27" y="2885"/>
                    <a:pt x="22" y="2922"/>
                  </a:cubicBezTo>
                  <a:cubicBezTo>
                    <a:pt x="20" y="2959"/>
                    <a:pt x="17" y="2995"/>
                    <a:pt x="15" y="3032"/>
                  </a:cubicBezTo>
                  <a:cubicBezTo>
                    <a:pt x="12" y="3070"/>
                    <a:pt x="10" y="3108"/>
                    <a:pt x="7" y="3146"/>
                  </a:cubicBezTo>
                  <a:cubicBezTo>
                    <a:pt x="5" y="3183"/>
                    <a:pt x="2" y="3219"/>
                    <a:pt x="0" y="3257"/>
                  </a:cubicBezTo>
                  <a:lnTo>
                    <a:pt x="0" y="3372"/>
                  </a:lnTo>
                  <a:cubicBezTo>
                    <a:pt x="2" y="3421"/>
                    <a:pt x="5" y="3470"/>
                    <a:pt x="7" y="3519"/>
                  </a:cubicBezTo>
                  <a:lnTo>
                    <a:pt x="7" y="3665"/>
                  </a:lnTo>
                  <a:lnTo>
                    <a:pt x="22" y="3803"/>
                  </a:lnTo>
                  <a:cubicBezTo>
                    <a:pt x="27" y="3850"/>
                    <a:pt x="32" y="3898"/>
                    <a:pt x="37" y="3946"/>
                  </a:cubicBezTo>
                  <a:cubicBezTo>
                    <a:pt x="44" y="3993"/>
                    <a:pt x="52" y="4041"/>
                    <a:pt x="59" y="4088"/>
                  </a:cubicBezTo>
                  <a:cubicBezTo>
                    <a:pt x="69" y="4135"/>
                    <a:pt x="79" y="4183"/>
                    <a:pt x="89" y="4230"/>
                  </a:cubicBezTo>
                  <a:cubicBezTo>
                    <a:pt x="99" y="4277"/>
                    <a:pt x="109" y="4325"/>
                    <a:pt x="119" y="4372"/>
                  </a:cubicBezTo>
                  <a:cubicBezTo>
                    <a:pt x="129" y="4419"/>
                    <a:pt x="138" y="4467"/>
                    <a:pt x="148" y="4514"/>
                  </a:cubicBezTo>
                  <a:cubicBezTo>
                    <a:pt x="163" y="4560"/>
                    <a:pt x="178" y="4607"/>
                    <a:pt x="193" y="4653"/>
                  </a:cubicBezTo>
                  <a:cubicBezTo>
                    <a:pt x="208" y="4699"/>
                    <a:pt x="222" y="4744"/>
                    <a:pt x="237" y="4790"/>
                  </a:cubicBezTo>
                  <a:lnTo>
                    <a:pt x="282" y="4928"/>
                  </a:lnTo>
                  <a:cubicBezTo>
                    <a:pt x="299" y="4974"/>
                    <a:pt x="317" y="5019"/>
                    <a:pt x="334" y="5065"/>
                  </a:cubicBezTo>
                  <a:cubicBezTo>
                    <a:pt x="354" y="5109"/>
                    <a:pt x="373" y="5154"/>
                    <a:pt x="393" y="5198"/>
                  </a:cubicBezTo>
                  <a:cubicBezTo>
                    <a:pt x="413" y="5242"/>
                    <a:pt x="432" y="5287"/>
                    <a:pt x="452" y="5331"/>
                  </a:cubicBezTo>
                  <a:cubicBezTo>
                    <a:pt x="474" y="5376"/>
                    <a:pt x="497" y="5421"/>
                    <a:pt x="519" y="5465"/>
                  </a:cubicBezTo>
                  <a:cubicBezTo>
                    <a:pt x="541" y="5509"/>
                    <a:pt x="564" y="5554"/>
                    <a:pt x="586" y="5598"/>
                  </a:cubicBezTo>
                  <a:lnTo>
                    <a:pt x="660" y="5726"/>
                  </a:lnTo>
                  <a:cubicBezTo>
                    <a:pt x="687" y="5769"/>
                    <a:pt x="714" y="5811"/>
                    <a:pt x="741" y="5854"/>
                  </a:cubicBezTo>
                  <a:lnTo>
                    <a:pt x="823" y="5987"/>
                  </a:lnTo>
                  <a:cubicBezTo>
                    <a:pt x="850" y="6028"/>
                    <a:pt x="877" y="6070"/>
                    <a:pt x="904" y="6112"/>
                  </a:cubicBezTo>
                  <a:cubicBezTo>
                    <a:pt x="934" y="6153"/>
                    <a:pt x="963" y="6195"/>
                    <a:pt x="993" y="6236"/>
                  </a:cubicBezTo>
                  <a:cubicBezTo>
                    <a:pt x="1025" y="6276"/>
                    <a:pt x="1058" y="6315"/>
                    <a:pt x="1090" y="6355"/>
                  </a:cubicBezTo>
                  <a:cubicBezTo>
                    <a:pt x="1122" y="6396"/>
                    <a:pt x="1154" y="6438"/>
                    <a:pt x="1186" y="6479"/>
                  </a:cubicBezTo>
                  <a:cubicBezTo>
                    <a:pt x="1221" y="6520"/>
                    <a:pt x="1255" y="6561"/>
                    <a:pt x="1290" y="6602"/>
                  </a:cubicBezTo>
                  <a:lnTo>
                    <a:pt x="1386" y="6722"/>
                  </a:lnTo>
                  <a:lnTo>
                    <a:pt x="1497" y="6842"/>
                  </a:lnTo>
                  <a:lnTo>
                    <a:pt x="1609" y="6956"/>
                  </a:lnTo>
                  <a:cubicBezTo>
                    <a:pt x="1648" y="6996"/>
                    <a:pt x="1688" y="7035"/>
                    <a:pt x="1727" y="7075"/>
                  </a:cubicBezTo>
                  <a:cubicBezTo>
                    <a:pt x="1767" y="7113"/>
                    <a:pt x="1806" y="7152"/>
                    <a:pt x="1846" y="7190"/>
                  </a:cubicBezTo>
                  <a:cubicBezTo>
                    <a:pt x="1885" y="7227"/>
                    <a:pt x="1925" y="7263"/>
                    <a:pt x="1964" y="7300"/>
                  </a:cubicBezTo>
                  <a:lnTo>
                    <a:pt x="2090" y="7410"/>
                  </a:lnTo>
                  <a:lnTo>
                    <a:pt x="2224" y="7521"/>
                  </a:lnTo>
                  <a:lnTo>
                    <a:pt x="2350" y="7631"/>
                  </a:lnTo>
                  <a:lnTo>
                    <a:pt x="2491" y="7736"/>
                  </a:lnTo>
                  <a:lnTo>
                    <a:pt x="2617" y="7842"/>
                  </a:lnTo>
                  <a:cubicBezTo>
                    <a:pt x="2666" y="7876"/>
                    <a:pt x="2716" y="7909"/>
                    <a:pt x="2765" y="7943"/>
                  </a:cubicBezTo>
                  <a:lnTo>
                    <a:pt x="2906" y="8043"/>
                  </a:lnTo>
                  <a:cubicBezTo>
                    <a:pt x="2955" y="8077"/>
                    <a:pt x="3005" y="8110"/>
                    <a:pt x="3054" y="8144"/>
                  </a:cubicBezTo>
                  <a:lnTo>
                    <a:pt x="3210" y="8242"/>
                  </a:lnTo>
                  <a:lnTo>
                    <a:pt x="3358" y="8338"/>
                  </a:lnTo>
                  <a:lnTo>
                    <a:pt x="3514" y="8434"/>
                  </a:lnTo>
                  <a:lnTo>
                    <a:pt x="3677" y="8526"/>
                  </a:lnTo>
                  <a:lnTo>
                    <a:pt x="3840" y="8613"/>
                  </a:lnTo>
                  <a:lnTo>
                    <a:pt x="4010" y="8704"/>
                  </a:lnTo>
                  <a:lnTo>
                    <a:pt x="4181" y="8782"/>
                  </a:lnTo>
                  <a:lnTo>
                    <a:pt x="4351" y="8869"/>
                  </a:lnTo>
                  <a:lnTo>
                    <a:pt x="4522" y="8948"/>
                  </a:lnTo>
                  <a:lnTo>
                    <a:pt x="4700" y="9031"/>
                  </a:lnTo>
                  <a:lnTo>
                    <a:pt x="4878" y="9109"/>
                  </a:lnTo>
                  <a:lnTo>
                    <a:pt x="5063" y="9182"/>
                  </a:lnTo>
                  <a:lnTo>
                    <a:pt x="5248" y="9260"/>
                  </a:lnTo>
                  <a:lnTo>
                    <a:pt x="5426" y="9329"/>
                  </a:lnTo>
                  <a:lnTo>
                    <a:pt x="5619" y="9397"/>
                  </a:lnTo>
                  <a:lnTo>
                    <a:pt x="5812" y="9466"/>
                  </a:lnTo>
                  <a:lnTo>
                    <a:pt x="6004" y="9530"/>
                  </a:lnTo>
                  <a:lnTo>
                    <a:pt x="6205" y="9595"/>
                  </a:lnTo>
                  <a:lnTo>
                    <a:pt x="6397" y="9655"/>
                  </a:lnTo>
                  <a:lnTo>
                    <a:pt x="6605" y="9710"/>
                  </a:lnTo>
                  <a:lnTo>
                    <a:pt x="6805" y="9765"/>
                  </a:lnTo>
                  <a:lnTo>
                    <a:pt x="7005" y="9820"/>
                  </a:lnTo>
                  <a:lnTo>
                    <a:pt x="7213" y="9871"/>
                  </a:lnTo>
                  <a:lnTo>
                    <a:pt x="7420" y="9916"/>
                  </a:lnTo>
                  <a:lnTo>
                    <a:pt x="7628" y="9962"/>
                  </a:lnTo>
                  <a:lnTo>
                    <a:pt x="7835" y="10008"/>
                  </a:lnTo>
                  <a:cubicBezTo>
                    <a:pt x="7736" y="9258"/>
                    <a:pt x="7638" y="8509"/>
                    <a:pt x="7539" y="7759"/>
                  </a:cubicBezTo>
                  <a:lnTo>
                    <a:pt x="10000" y="6144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/>
            </a:p>
          </p:txBody>
        </p:sp>
        <p:sp>
          <p:nvSpPr>
            <p:cNvPr id="66" name="Freeform 6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-53453586" y="-1173127"/>
              <a:ext cx="60999224" cy="43890433"/>
            </a:xfrm>
            <a:custGeom>
              <a:avLst/>
              <a:gdLst>
                <a:gd name="T0" fmla="*/ 2147483647 w 5608"/>
                <a:gd name="T1" fmla="*/ 2147483647 h 4036"/>
                <a:gd name="T2" fmla="*/ 2147483647 w 5608"/>
                <a:gd name="T3" fmla="*/ 2147483647 h 4036"/>
                <a:gd name="T4" fmla="*/ 2147483647 w 5608"/>
                <a:gd name="T5" fmla="*/ 2147483647 h 4036"/>
                <a:gd name="T6" fmla="*/ 2147483647 w 5608"/>
                <a:gd name="T7" fmla="*/ 2147483647 h 4036"/>
                <a:gd name="T8" fmla="*/ 2147483647 w 5608"/>
                <a:gd name="T9" fmla="*/ 2147483647 h 4036"/>
                <a:gd name="T10" fmla="*/ 2147483647 w 5608"/>
                <a:gd name="T11" fmla="*/ 2147483647 h 4036"/>
                <a:gd name="T12" fmla="*/ 2147483647 w 5608"/>
                <a:gd name="T13" fmla="*/ 2147483647 h 4036"/>
                <a:gd name="T14" fmla="*/ 2147483647 w 5608"/>
                <a:gd name="T15" fmla="*/ 2147483647 h 4036"/>
                <a:gd name="T16" fmla="*/ 2147483647 w 5608"/>
                <a:gd name="T17" fmla="*/ 2147483647 h 4036"/>
                <a:gd name="T18" fmla="*/ 2147483647 w 5608"/>
                <a:gd name="T19" fmla="*/ 2147483647 h 4036"/>
                <a:gd name="T20" fmla="*/ 2147483647 w 5608"/>
                <a:gd name="T21" fmla="*/ 2147483647 h 4036"/>
                <a:gd name="T22" fmla="*/ 2147483647 w 5608"/>
                <a:gd name="T23" fmla="*/ 2147483647 h 4036"/>
                <a:gd name="T24" fmla="*/ 2147483647 w 5608"/>
                <a:gd name="T25" fmla="*/ 2147483647 h 4036"/>
                <a:gd name="T26" fmla="*/ 2147483647 w 5608"/>
                <a:gd name="T27" fmla="*/ 2147483647 h 4036"/>
                <a:gd name="T28" fmla="*/ 2147483647 w 5608"/>
                <a:gd name="T29" fmla="*/ 2147483647 h 4036"/>
                <a:gd name="T30" fmla="*/ 2147483647 w 5608"/>
                <a:gd name="T31" fmla="*/ 2147483647 h 4036"/>
                <a:gd name="T32" fmla="*/ 2147483647 w 5608"/>
                <a:gd name="T33" fmla="*/ 2147483647 h 4036"/>
                <a:gd name="T34" fmla="*/ 2147483647 w 5608"/>
                <a:gd name="T35" fmla="*/ 2147483647 h 4036"/>
                <a:gd name="T36" fmla="*/ 2147483647 w 5608"/>
                <a:gd name="T37" fmla="*/ 2147483647 h 4036"/>
                <a:gd name="T38" fmla="*/ 2147483647 w 5608"/>
                <a:gd name="T39" fmla="*/ 2147483647 h 4036"/>
                <a:gd name="T40" fmla="*/ 2147483647 w 5608"/>
                <a:gd name="T41" fmla="*/ 2147483647 h 4036"/>
                <a:gd name="T42" fmla="*/ 2147483647 w 5608"/>
                <a:gd name="T43" fmla="*/ 2147483647 h 4036"/>
                <a:gd name="T44" fmla="*/ 2147483647 w 5608"/>
                <a:gd name="T45" fmla="*/ 2147483647 h 4036"/>
                <a:gd name="T46" fmla="*/ 2147483647 w 5608"/>
                <a:gd name="T47" fmla="*/ 2147483647 h 4036"/>
                <a:gd name="T48" fmla="*/ 2147483647 w 5608"/>
                <a:gd name="T49" fmla="*/ 2147483647 h 4036"/>
                <a:gd name="T50" fmla="*/ 2147483647 w 5608"/>
                <a:gd name="T51" fmla="*/ 2147483647 h 4036"/>
                <a:gd name="T52" fmla="*/ 2147483647 w 5608"/>
                <a:gd name="T53" fmla="*/ 2147483647 h 4036"/>
                <a:gd name="T54" fmla="*/ 2147483647 w 5608"/>
                <a:gd name="T55" fmla="*/ 2147483647 h 4036"/>
                <a:gd name="T56" fmla="*/ 2147483647 w 5608"/>
                <a:gd name="T57" fmla="*/ 2147483647 h 4036"/>
                <a:gd name="T58" fmla="*/ 2147483647 w 5608"/>
                <a:gd name="T59" fmla="*/ 2147483647 h 4036"/>
                <a:gd name="T60" fmla="*/ 2147483647 w 5608"/>
                <a:gd name="T61" fmla="*/ 2147483647 h 4036"/>
                <a:gd name="T62" fmla="*/ 2147483647 w 5608"/>
                <a:gd name="T63" fmla="*/ 2147483647 h 4036"/>
                <a:gd name="T64" fmla="*/ 2147483647 w 5608"/>
                <a:gd name="T65" fmla="*/ 2147483647 h 4036"/>
                <a:gd name="T66" fmla="*/ 2147483647 w 5608"/>
                <a:gd name="T67" fmla="*/ 2147483647 h 4036"/>
                <a:gd name="T68" fmla="*/ 2147483647 w 5608"/>
                <a:gd name="T69" fmla="*/ 2147483647 h 4036"/>
                <a:gd name="T70" fmla="*/ 2147483647 w 5608"/>
                <a:gd name="T71" fmla="*/ 2147483647 h 4036"/>
                <a:gd name="T72" fmla="*/ 2147483647 w 5608"/>
                <a:gd name="T73" fmla="*/ 2147483647 h 4036"/>
                <a:gd name="T74" fmla="*/ 2147483647 w 5608"/>
                <a:gd name="T75" fmla="*/ 2147483647 h 4036"/>
                <a:gd name="T76" fmla="*/ 2147483647 w 5608"/>
                <a:gd name="T77" fmla="*/ 2147483647 h 4036"/>
                <a:gd name="T78" fmla="*/ 2147483647 w 5608"/>
                <a:gd name="T79" fmla="*/ 2147483647 h 4036"/>
                <a:gd name="T80" fmla="*/ 2147483647 w 5608"/>
                <a:gd name="T81" fmla="*/ 2147483647 h 4036"/>
                <a:gd name="T82" fmla="*/ 2147483647 w 5608"/>
                <a:gd name="T83" fmla="*/ 2147483647 h 4036"/>
                <a:gd name="T84" fmla="*/ 2147483647 w 5608"/>
                <a:gd name="T85" fmla="*/ 2147483647 h 4036"/>
                <a:gd name="T86" fmla="*/ 2147483647 w 5608"/>
                <a:gd name="T87" fmla="*/ 2147483647 h 4036"/>
                <a:gd name="T88" fmla="*/ 2147483647 w 5608"/>
                <a:gd name="T89" fmla="*/ 2147483647 h 4036"/>
                <a:gd name="T90" fmla="*/ 2147483647 w 5608"/>
                <a:gd name="T91" fmla="*/ 2147483647 h 4036"/>
                <a:gd name="T92" fmla="*/ 2147483647 w 5608"/>
                <a:gd name="T93" fmla="*/ 2147483647 h 4036"/>
                <a:gd name="T94" fmla="*/ 2147483647 w 5608"/>
                <a:gd name="T95" fmla="*/ 2147483647 h 4036"/>
                <a:gd name="T96" fmla="*/ 2147483647 w 5608"/>
                <a:gd name="T97" fmla="*/ 2147483647 h 4036"/>
                <a:gd name="T98" fmla="*/ 2147483647 w 5608"/>
                <a:gd name="T99" fmla="*/ 2147483647 h 4036"/>
                <a:gd name="T100" fmla="*/ 2147483647 w 5608"/>
                <a:gd name="T101" fmla="*/ 2147483647 h 4036"/>
                <a:gd name="T102" fmla="*/ 2147483647 w 5608"/>
                <a:gd name="T103" fmla="*/ 2147483647 h 4036"/>
                <a:gd name="T104" fmla="*/ 2147483647 w 5608"/>
                <a:gd name="T105" fmla="*/ 2147483647 h 40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608"/>
                <a:gd name="T160" fmla="*/ 0 h 4036"/>
                <a:gd name="T161" fmla="*/ 5608 w 5608"/>
                <a:gd name="T162" fmla="*/ 4036 h 4036"/>
                <a:gd name="connsiteX0" fmla="*/ 5615 w 9995"/>
                <a:gd name="connsiteY0" fmla="*/ 0 h 10000"/>
                <a:gd name="connsiteX1" fmla="*/ 5615 w 9995"/>
                <a:gd name="connsiteY1" fmla="*/ 0 h 10000"/>
                <a:gd name="connsiteX2" fmla="*/ 5606 w 9995"/>
                <a:gd name="connsiteY2" fmla="*/ 99 h 10000"/>
                <a:gd name="connsiteX3" fmla="*/ 5592 w 9995"/>
                <a:gd name="connsiteY3" fmla="*/ 201 h 10000"/>
                <a:gd name="connsiteX4" fmla="*/ 5580 w 9995"/>
                <a:gd name="connsiteY4" fmla="*/ 300 h 10000"/>
                <a:gd name="connsiteX5" fmla="*/ 5565 w 9995"/>
                <a:gd name="connsiteY5" fmla="*/ 394 h 10000"/>
                <a:gd name="connsiteX6" fmla="*/ 5547 w 9995"/>
                <a:gd name="connsiteY6" fmla="*/ 491 h 10000"/>
                <a:gd name="connsiteX7" fmla="*/ 5528 w 9995"/>
                <a:gd name="connsiteY7" fmla="*/ 587 h 10000"/>
                <a:gd name="connsiteX8" fmla="*/ 5508 w 9995"/>
                <a:gd name="connsiteY8" fmla="*/ 684 h 10000"/>
                <a:gd name="connsiteX9" fmla="*/ 5487 w 9995"/>
                <a:gd name="connsiteY9" fmla="*/ 778 h 10000"/>
                <a:gd name="connsiteX10" fmla="*/ 5465 w 9995"/>
                <a:gd name="connsiteY10" fmla="*/ 870 h 10000"/>
                <a:gd name="connsiteX11" fmla="*/ 5439 w 9995"/>
                <a:gd name="connsiteY11" fmla="*/ 961 h 10000"/>
                <a:gd name="connsiteX12" fmla="*/ 5415 w 9995"/>
                <a:gd name="connsiteY12" fmla="*/ 1053 h 10000"/>
                <a:gd name="connsiteX13" fmla="*/ 5387 w 9995"/>
                <a:gd name="connsiteY13" fmla="*/ 1145 h 10000"/>
                <a:gd name="connsiteX14" fmla="*/ 5358 w 9995"/>
                <a:gd name="connsiteY14" fmla="*/ 1231 h 10000"/>
                <a:gd name="connsiteX15" fmla="*/ 5328 w 9995"/>
                <a:gd name="connsiteY15" fmla="*/ 1318 h 10000"/>
                <a:gd name="connsiteX16" fmla="*/ 5298 w 9995"/>
                <a:gd name="connsiteY16" fmla="*/ 1405 h 10000"/>
                <a:gd name="connsiteX17" fmla="*/ 5266 w 9995"/>
                <a:gd name="connsiteY17" fmla="*/ 1494 h 10000"/>
                <a:gd name="connsiteX18" fmla="*/ 5232 w 9995"/>
                <a:gd name="connsiteY18" fmla="*/ 1578 h 10000"/>
                <a:gd name="connsiteX19" fmla="*/ 5196 w 9995"/>
                <a:gd name="connsiteY19" fmla="*/ 1663 h 10000"/>
                <a:gd name="connsiteX20" fmla="*/ 5160 w 9995"/>
                <a:gd name="connsiteY20" fmla="*/ 1742 h 10000"/>
                <a:gd name="connsiteX21" fmla="*/ 5121 w 9995"/>
                <a:gd name="connsiteY21" fmla="*/ 1824 h 10000"/>
                <a:gd name="connsiteX22" fmla="*/ 5082 w 9995"/>
                <a:gd name="connsiteY22" fmla="*/ 1903 h 10000"/>
                <a:gd name="connsiteX23" fmla="*/ 5043 w 9995"/>
                <a:gd name="connsiteY23" fmla="*/ 1985 h 10000"/>
                <a:gd name="connsiteX24" fmla="*/ 5002 w 9995"/>
                <a:gd name="connsiteY24" fmla="*/ 2059 h 10000"/>
                <a:gd name="connsiteX25" fmla="*/ 4959 w 9995"/>
                <a:gd name="connsiteY25" fmla="*/ 2133 h 10000"/>
                <a:gd name="connsiteX26" fmla="*/ 4914 w 9995"/>
                <a:gd name="connsiteY26" fmla="*/ 2210 h 10000"/>
                <a:gd name="connsiteX27" fmla="*/ 4870 w 9995"/>
                <a:gd name="connsiteY27" fmla="*/ 2282 h 10000"/>
                <a:gd name="connsiteX28" fmla="*/ 4823 w 9995"/>
                <a:gd name="connsiteY28" fmla="*/ 2354 h 10000"/>
                <a:gd name="connsiteX29" fmla="*/ 4777 w 9995"/>
                <a:gd name="connsiteY29" fmla="*/ 2426 h 10000"/>
                <a:gd name="connsiteX30" fmla="*/ 4729 w 9995"/>
                <a:gd name="connsiteY30" fmla="*/ 2495 h 10000"/>
                <a:gd name="connsiteX31" fmla="*/ 4679 w 9995"/>
                <a:gd name="connsiteY31" fmla="*/ 2562 h 10000"/>
                <a:gd name="connsiteX32" fmla="*/ 4629 w 9995"/>
                <a:gd name="connsiteY32" fmla="*/ 2626 h 10000"/>
                <a:gd name="connsiteX33" fmla="*/ 4577 w 9995"/>
                <a:gd name="connsiteY33" fmla="*/ 2691 h 10000"/>
                <a:gd name="connsiteX34" fmla="*/ 4526 w 9995"/>
                <a:gd name="connsiteY34" fmla="*/ 2753 h 10000"/>
                <a:gd name="connsiteX35" fmla="*/ 4470 w 9995"/>
                <a:gd name="connsiteY35" fmla="*/ 2817 h 10000"/>
                <a:gd name="connsiteX36" fmla="*/ 4417 w 9995"/>
                <a:gd name="connsiteY36" fmla="*/ 2874 h 10000"/>
                <a:gd name="connsiteX37" fmla="*/ 4362 w 9995"/>
                <a:gd name="connsiteY37" fmla="*/ 2934 h 10000"/>
                <a:gd name="connsiteX38" fmla="*/ 4305 w 9995"/>
                <a:gd name="connsiteY38" fmla="*/ 2988 h 10000"/>
                <a:gd name="connsiteX39" fmla="*/ 4248 w 9995"/>
                <a:gd name="connsiteY39" fmla="*/ 3043 h 10000"/>
                <a:gd name="connsiteX40" fmla="*/ 4190 w 9995"/>
                <a:gd name="connsiteY40" fmla="*/ 3097 h 10000"/>
                <a:gd name="connsiteX41" fmla="*/ 4132 w 9995"/>
                <a:gd name="connsiteY41" fmla="*/ 3149 h 10000"/>
                <a:gd name="connsiteX42" fmla="*/ 4071 w 9995"/>
                <a:gd name="connsiteY42" fmla="*/ 3196 h 10000"/>
                <a:gd name="connsiteX43" fmla="*/ 4010 w 9995"/>
                <a:gd name="connsiteY43" fmla="*/ 3243 h 10000"/>
                <a:gd name="connsiteX44" fmla="*/ 3950 w 9995"/>
                <a:gd name="connsiteY44" fmla="*/ 3290 h 10000"/>
                <a:gd name="connsiteX45" fmla="*/ 3887 w 9995"/>
                <a:gd name="connsiteY45" fmla="*/ 3335 h 10000"/>
                <a:gd name="connsiteX46" fmla="*/ 3823 w 9995"/>
                <a:gd name="connsiteY46" fmla="*/ 3377 h 10000"/>
                <a:gd name="connsiteX47" fmla="*/ 3759 w 9995"/>
                <a:gd name="connsiteY47" fmla="*/ 3417 h 10000"/>
                <a:gd name="connsiteX48" fmla="*/ 3695 w 9995"/>
                <a:gd name="connsiteY48" fmla="*/ 3454 h 10000"/>
                <a:gd name="connsiteX49" fmla="*/ 3629 w 9995"/>
                <a:gd name="connsiteY49" fmla="*/ 3491 h 10000"/>
                <a:gd name="connsiteX50" fmla="*/ 3565 w 9995"/>
                <a:gd name="connsiteY50" fmla="*/ 3523 h 10000"/>
                <a:gd name="connsiteX51" fmla="*/ 3497 w 9995"/>
                <a:gd name="connsiteY51" fmla="*/ 3558 h 10000"/>
                <a:gd name="connsiteX52" fmla="*/ 3429 w 9995"/>
                <a:gd name="connsiteY52" fmla="*/ 3588 h 10000"/>
                <a:gd name="connsiteX53" fmla="*/ 3361 w 9995"/>
                <a:gd name="connsiteY53" fmla="*/ 3615 h 10000"/>
                <a:gd name="connsiteX54" fmla="*/ 3292 w 9995"/>
                <a:gd name="connsiteY54" fmla="*/ 3642 h 10000"/>
                <a:gd name="connsiteX55" fmla="*/ 3222 w 9995"/>
                <a:gd name="connsiteY55" fmla="*/ 3665 h 10000"/>
                <a:gd name="connsiteX56" fmla="*/ 3153 w 9995"/>
                <a:gd name="connsiteY56" fmla="*/ 3687 h 10000"/>
                <a:gd name="connsiteX57" fmla="*/ 3081 w 9995"/>
                <a:gd name="connsiteY57" fmla="*/ 3707 h 10000"/>
                <a:gd name="connsiteX58" fmla="*/ 3012 w 9995"/>
                <a:gd name="connsiteY58" fmla="*/ 3724 h 10000"/>
                <a:gd name="connsiteX59" fmla="*/ 2940 w 9995"/>
                <a:gd name="connsiteY59" fmla="*/ 3739 h 10000"/>
                <a:gd name="connsiteX60" fmla="*/ 2867 w 9995"/>
                <a:gd name="connsiteY60" fmla="*/ 3754 h 10000"/>
                <a:gd name="connsiteX61" fmla="*/ 2796 w 9995"/>
                <a:gd name="connsiteY61" fmla="*/ 3761 h 10000"/>
                <a:gd name="connsiteX62" fmla="*/ 2721 w 9995"/>
                <a:gd name="connsiteY62" fmla="*/ 3771 h 10000"/>
                <a:gd name="connsiteX63" fmla="*/ 2648 w 9995"/>
                <a:gd name="connsiteY63" fmla="*/ 3776 h 10000"/>
                <a:gd name="connsiteX64" fmla="*/ 2575 w 9995"/>
                <a:gd name="connsiteY64" fmla="*/ 3781 h 10000"/>
                <a:gd name="connsiteX65" fmla="*/ 2498 w 9995"/>
                <a:gd name="connsiteY65" fmla="*/ 3781 h 10000"/>
                <a:gd name="connsiteX66" fmla="*/ 2393 w 9995"/>
                <a:gd name="connsiteY66" fmla="*/ 3781 h 10000"/>
                <a:gd name="connsiteX67" fmla="*/ 2284 w 9995"/>
                <a:gd name="connsiteY67" fmla="*/ 3771 h 10000"/>
                <a:gd name="connsiteX68" fmla="*/ 2179 w 9995"/>
                <a:gd name="connsiteY68" fmla="*/ 3759 h 10000"/>
                <a:gd name="connsiteX69" fmla="*/ 2074 w 9995"/>
                <a:gd name="connsiteY69" fmla="*/ 3741 h 10000"/>
                <a:gd name="connsiteX70" fmla="*/ 1970 w 9995"/>
                <a:gd name="connsiteY70" fmla="*/ 3719 h 10000"/>
                <a:gd name="connsiteX71" fmla="*/ 1867 w 9995"/>
                <a:gd name="connsiteY71" fmla="*/ 3692 h 10000"/>
                <a:gd name="connsiteX72" fmla="*/ 1765 w 9995"/>
                <a:gd name="connsiteY72" fmla="*/ 3662 h 10000"/>
                <a:gd name="connsiteX73" fmla="*/ 1665 w 9995"/>
                <a:gd name="connsiteY73" fmla="*/ 3627 h 10000"/>
                <a:gd name="connsiteX74" fmla="*/ 0 w 9995"/>
                <a:gd name="connsiteY74" fmla="*/ 6085 h 10000"/>
                <a:gd name="connsiteX75" fmla="*/ 209 w 9995"/>
                <a:gd name="connsiteY75" fmla="*/ 9512 h 10000"/>
                <a:gd name="connsiteX76" fmla="*/ 344 w 9995"/>
                <a:gd name="connsiteY76" fmla="*/ 9569 h 10000"/>
                <a:gd name="connsiteX77" fmla="*/ 481 w 9995"/>
                <a:gd name="connsiteY77" fmla="*/ 9623 h 10000"/>
                <a:gd name="connsiteX78" fmla="*/ 621 w 9995"/>
                <a:gd name="connsiteY78" fmla="*/ 9673 h 10000"/>
                <a:gd name="connsiteX79" fmla="*/ 758 w 9995"/>
                <a:gd name="connsiteY79" fmla="*/ 9720 h 10000"/>
                <a:gd name="connsiteX80" fmla="*/ 899 w 9995"/>
                <a:gd name="connsiteY80" fmla="*/ 9765 h 10000"/>
                <a:gd name="connsiteX81" fmla="*/ 1040 w 9995"/>
                <a:gd name="connsiteY81" fmla="*/ 9804 h 10000"/>
                <a:gd name="connsiteX82" fmla="*/ 1182 w 9995"/>
                <a:gd name="connsiteY82" fmla="*/ 9839 h 10000"/>
                <a:gd name="connsiteX83" fmla="*/ 1325 w 9995"/>
                <a:gd name="connsiteY83" fmla="*/ 9874 h 10000"/>
                <a:gd name="connsiteX84" fmla="*/ 1471 w 9995"/>
                <a:gd name="connsiteY84" fmla="*/ 9903 h 10000"/>
                <a:gd name="connsiteX85" fmla="*/ 1614 w 9995"/>
                <a:gd name="connsiteY85" fmla="*/ 9926 h 10000"/>
                <a:gd name="connsiteX86" fmla="*/ 1760 w 9995"/>
                <a:gd name="connsiteY86" fmla="*/ 9948 h 10000"/>
                <a:gd name="connsiteX87" fmla="*/ 1906 w 9995"/>
                <a:gd name="connsiteY87" fmla="*/ 9965 h 10000"/>
                <a:gd name="connsiteX88" fmla="*/ 2052 w 9995"/>
                <a:gd name="connsiteY88" fmla="*/ 9980 h 10000"/>
                <a:gd name="connsiteX89" fmla="*/ 2202 w 9995"/>
                <a:gd name="connsiteY89" fmla="*/ 9990 h 10000"/>
                <a:gd name="connsiteX90" fmla="*/ 2350 w 9995"/>
                <a:gd name="connsiteY90" fmla="*/ 9995 h 10000"/>
                <a:gd name="connsiteX91" fmla="*/ 2498 w 9995"/>
                <a:gd name="connsiteY91" fmla="*/ 10000 h 10000"/>
                <a:gd name="connsiteX92" fmla="*/ 2677 w 9995"/>
                <a:gd name="connsiteY92" fmla="*/ 9995 h 10000"/>
                <a:gd name="connsiteX93" fmla="*/ 2850 w 9995"/>
                <a:gd name="connsiteY93" fmla="*/ 9988 h 10000"/>
                <a:gd name="connsiteX94" fmla="*/ 3024 w 9995"/>
                <a:gd name="connsiteY94" fmla="*/ 9975 h 10000"/>
                <a:gd name="connsiteX95" fmla="*/ 3195 w 9995"/>
                <a:gd name="connsiteY95" fmla="*/ 9953 h 10000"/>
                <a:gd name="connsiteX96" fmla="*/ 3368 w 9995"/>
                <a:gd name="connsiteY96" fmla="*/ 9931 h 10000"/>
                <a:gd name="connsiteX97" fmla="*/ 3538 w 9995"/>
                <a:gd name="connsiteY97" fmla="*/ 9898 h 10000"/>
                <a:gd name="connsiteX98" fmla="*/ 3709 w 9995"/>
                <a:gd name="connsiteY98" fmla="*/ 9866 h 10000"/>
                <a:gd name="connsiteX99" fmla="*/ 3877 w 9995"/>
                <a:gd name="connsiteY99" fmla="*/ 9824 h 10000"/>
                <a:gd name="connsiteX100" fmla="*/ 4042 w 9995"/>
                <a:gd name="connsiteY100" fmla="*/ 9779 h 10000"/>
                <a:gd name="connsiteX101" fmla="*/ 4210 w 9995"/>
                <a:gd name="connsiteY101" fmla="*/ 9730 h 10000"/>
                <a:gd name="connsiteX102" fmla="*/ 4372 w 9995"/>
                <a:gd name="connsiteY102" fmla="*/ 9673 h 10000"/>
                <a:gd name="connsiteX103" fmla="*/ 4536 w 9995"/>
                <a:gd name="connsiteY103" fmla="*/ 9616 h 10000"/>
                <a:gd name="connsiteX104" fmla="*/ 4697 w 9995"/>
                <a:gd name="connsiteY104" fmla="*/ 9552 h 10000"/>
                <a:gd name="connsiteX105" fmla="*/ 4857 w 9995"/>
                <a:gd name="connsiteY105" fmla="*/ 9482 h 10000"/>
                <a:gd name="connsiteX106" fmla="*/ 5014 w 9995"/>
                <a:gd name="connsiteY106" fmla="*/ 9405 h 10000"/>
                <a:gd name="connsiteX107" fmla="*/ 5171 w 9995"/>
                <a:gd name="connsiteY107" fmla="*/ 9329 h 10000"/>
                <a:gd name="connsiteX108" fmla="*/ 5326 w 9995"/>
                <a:gd name="connsiteY108" fmla="*/ 9244 h 10000"/>
                <a:gd name="connsiteX109" fmla="*/ 5480 w 9995"/>
                <a:gd name="connsiteY109" fmla="*/ 9158 h 10000"/>
                <a:gd name="connsiteX110" fmla="*/ 5631 w 9995"/>
                <a:gd name="connsiteY110" fmla="*/ 9063 h 10000"/>
                <a:gd name="connsiteX111" fmla="*/ 5781 w 9995"/>
                <a:gd name="connsiteY111" fmla="*/ 8967 h 10000"/>
                <a:gd name="connsiteX112" fmla="*/ 5931 w 9995"/>
                <a:gd name="connsiteY112" fmla="*/ 8865 h 10000"/>
                <a:gd name="connsiteX113" fmla="*/ 6075 w 9995"/>
                <a:gd name="connsiteY113" fmla="*/ 8759 h 10000"/>
                <a:gd name="connsiteX114" fmla="*/ 6221 w 9995"/>
                <a:gd name="connsiteY114" fmla="*/ 8652 h 10000"/>
                <a:gd name="connsiteX115" fmla="*/ 6364 w 9995"/>
                <a:gd name="connsiteY115" fmla="*/ 8536 h 10000"/>
                <a:gd name="connsiteX116" fmla="*/ 6505 w 9995"/>
                <a:gd name="connsiteY116" fmla="*/ 8417 h 10000"/>
                <a:gd name="connsiteX117" fmla="*/ 6642 w 9995"/>
                <a:gd name="connsiteY117" fmla="*/ 8295 h 10000"/>
                <a:gd name="connsiteX118" fmla="*/ 6780 w 9995"/>
                <a:gd name="connsiteY118" fmla="*/ 8169 h 10000"/>
                <a:gd name="connsiteX119" fmla="*/ 6913 w 9995"/>
                <a:gd name="connsiteY119" fmla="*/ 8040 h 10000"/>
                <a:gd name="connsiteX120" fmla="*/ 7045 w 9995"/>
                <a:gd name="connsiteY120" fmla="*/ 7904 h 10000"/>
                <a:gd name="connsiteX121" fmla="*/ 7175 w 9995"/>
                <a:gd name="connsiteY121" fmla="*/ 7768 h 10000"/>
                <a:gd name="connsiteX122" fmla="*/ 7304 w 9995"/>
                <a:gd name="connsiteY122" fmla="*/ 7624 h 10000"/>
                <a:gd name="connsiteX123" fmla="*/ 7429 w 9995"/>
                <a:gd name="connsiteY123" fmla="*/ 7480 h 10000"/>
                <a:gd name="connsiteX124" fmla="*/ 7552 w 9995"/>
                <a:gd name="connsiteY124" fmla="*/ 7329 h 10000"/>
                <a:gd name="connsiteX125" fmla="*/ 7673 w 9995"/>
                <a:gd name="connsiteY125" fmla="*/ 7178 h 10000"/>
                <a:gd name="connsiteX126" fmla="*/ 7792 w 9995"/>
                <a:gd name="connsiteY126" fmla="*/ 7024 h 10000"/>
                <a:gd name="connsiteX127" fmla="*/ 7907 w 9995"/>
                <a:gd name="connsiteY127" fmla="*/ 6861 h 10000"/>
                <a:gd name="connsiteX128" fmla="*/ 8022 w 9995"/>
                <a:gd name="connsiteY128" fmla="*/ 6697 h 10000"/>
                <a:gd name="connsiteX129" fmla="*/ 8133 w 9995"/>
                <a:gd name="connsiteY129" fmla="*/ 6534 h 10000"/>
                <a:gd name="connsiteX130" fmla="*/ 8240 w 9995"/>
                <a:gd name="connsiteY130" fmla="*/ 6365 h 10000"/>
                <a:gd name="connsiteX131" fmla="*/ 8347 w 9995"/>
                <a:gd name="connsiteY131" fmla="*/ 6189 h 10000"/>
                <a:gd name="connsiteX132" fmla="*/ 8450 w 9995"/>
                <a:gd name="connsiteY132" fmla="*/ 6016 h 10000"/>
                <a:gd name="connsiteX133" fmla="*/ 8552 w 9995"/>
                <a:gd name="connsiteY133" fmla="*/ 5835 h 10000"/>
                <a:gd name="connsiteX134" fmla="*/ 8650 w 9995"/>
                <a:gd name="connsiteY134" fmla="*/ 5652 h 10000"/>
                <a:gd name="connsiteX135" fmla="*/ 8745 w 9995"/>
                <a:gd name="connsiteY135" fmla="*/ 5468 h 10000"/>
                <a:gd name="connsiteX136" fmla="*/ 8837 w 9995"/>
                <a:gd name="connsiteY136" fmla="*/ 5278 h 10000"/>
                <a:gd name="connsiteX137" fmla="*/ 8927 w 9995"/>
                <a:gd name="connsiteY137" fmla="*/ 5089 h 10000"/>
                <a:gd name="connsiteX138" fmla="*/ 9014 w 9995"/>
                <a:gd name="connsiteY138" fmla="*/ 4893 h 10000"/>
                <a:gd name="connsiteX139" fmla="*/ 9098 w 9995"/>
                <a:gd name="connsiteY139" fmla="*/ 4698 h 10000"/>
                <a:gd name="connsiteX140" fmla="*/ 9178 w 9995"/>
                <a:gd name="connsiteY140" fmla="*/ 4500 h 10000"/>
                <a:gd name="connsiteX141" fmla="*/ 9256 w 9995"/>
                <a:gd name="connsiteY141" fmla="*/ 4294 h 10000"/>
                <a:gd name="connsiteX142" fmla="*/ 9330 w 9995"/>
                <a:gd name="connsiteY142" fmla="*/ 4091 h 10000"/>
                <a:gd name="connsiteX143" fmla="*/ 9401 w 9995"/>
                <a:gd name="connsiteY143" fmla="*/ 3885 h 10000"/>
                <a:gd name="connsiteX144" fmla="*/ 9470 w 9995"/>
                <a:gd name="connsiteY144" fmla="*/ 3674 h 10000"/>
                <a:gd name="connsiteX145" fmla="*/ 9535 w 9995"/>
                <a:gd name="connsiteY145" fmla="*/ 3464 h 10000"/>
                <a:gd name="connsiteX146" fmla="*/ 9599 w 9995"/>
                <a:gd name="connsiteY146" fmla="*/ 3248 h 10000"/>
                <a:gd name="connsiteX147" fmla="*/ 9656 w 9995"/>
                <a:gd name="connsiteY147" fmla="*/ 3030 h 10000"/>
                <a:gd name="connsiteX148" fmla="*/ 9711 w 9995"/>
                <a:gd name="connsiteY148" fmla="*/ 2815 h 10000"/>
                <a:gd name="connsiteX149" fmla="*/ 9763 w 9995"/>
                <a:gd name="connsiteY149" fmla="*/ 2592 h 10000"/>
                <a:gd name="connsiteX150" fmla="*/ 9813 w 9995"/>
                <a:gd name="connsiteY150" fmla="*/ 2369 h 10000"/>
                <a:gd name="connsiteX151" fmla="*/ 9856 w 9995"/>
                <a:gd name="connsiteY151" fmla="*/ 2143 h 10000"/>
                <a:gd name="connsiteX152" fmla="*/ 9898 w 9995"/>
                <a:gd name="connsiteY152" fmla="*/ 1918 h 10000"/>
                <a:gd name="connsiteX153" fmla="*/ 9936 w 9995"/>
                <a:gd name="connsiteY153" fmla="*/ 1690 h 10000"/>
                <a:gd name="connsiteX154" fmla="*/ 9970 w 9995"/>
                <a:gd name="connsiteY154" fmla="*/ 1457 h 10000"/>
                <a:gd name="connsiteX155" fmla="*/ 9995 w 9995"/>
                <a:gd name="connsiteY155" fmla="*/ 1217 h 10000"/>
                <a:gd name="connsiteX156" fmla="*/ 7611 w 9995"/>
                <a:gd name="connsiteY156" fmla="*/ 1876 h 10000"/>
                <a:gd name="connsiteX157" fmla="*/ 5615 w 9995"/>
                <a:gd name="connsiteY157" fmla="*/ 0 h 10000"/>
                <a:gd name="connsiteX0" fmla="*/ 5618 w 10002"/>
                <a:gd name="connsiteY0" fmla="*/ 0 h 10000"/>
                <a:gd name="connsiteX1" fmla="*/ 5618 w 10002"/>
                <a:gd name="connsiteY1" fmla="*/ 0 h 10000"/>
                <a:gd name="connsiteX2" fmla="*/ 5609 w 10002"/>
                <a:gd name="connsiteY2" fmla="*/ 99 h 10000"/>
                <a:gd name="connsiteX3" fmla="*/ 5595 w 10002"/>
                <a:gd name="connsiteY3" fmla="*/ 201 h 10000"/>
                <a:gd name="connsiteX4" fmla="*/ 5583 w 10002"/>
                <a:gd name="connsiteY4" fmla="*/ 300 h 10000"/>
                <a:gd name="connsiteX5" fmla="*/ 5568 w 10002"/>
                <a:gd name="connsiteY5" fmla="*/ 394 h 10000"/>
                <a:gd name="connsiteX6" fmla="*/ 5550 w 10002"/>
                <a:gd name="connsiteY6" fmla="*/ 491 h 10000"/>
                <a:gd name="connsiteX7" fmla="*/ 5531 w 10002"/>
                <a:gd name="connsiteY7" fmla="*/ 587 h 10000"/>
                <a:gd name="connsiteX8" fmla="*/ 5511 w 10002"/>
                <a:gd name="connsiteY8" fmla="*/ 684 h 10000"/>
                <a:gd name="connsiteX9" fmla="*/ 5490 w 10002"/>
                <a:gd name="connsiteY9" fmla="*/ 778 h 10000"/>
                <a:gd name="connsiteX10" fmla="*/ 5468 w 10002"/>
                <a:gd name="connsiteY10" fmla="*/ 870 h 10000"/>
                <a:gd name="connsiteX11" fmla="*/ 5442 w 10002"/>
                <a:gd name="connsiteY11" fmla="*/ 961 h 10000"/>
                <a:gd name="connsiteX12" fmla="*/ 5418 w 10002"/>
                <a:gd name="connsiteY12" fmla="*/ 1053 h 10000"/>
                <a:gd name="connsiteX13" fmla="*/ 5390 w 10002"/>
                <a:gd name="connsiteY13" fmla="*/ 1145 h 10000"/>
                <a:gd name="connsiteX14" fmla="*/ 5361 w 10002"/>
                <a:gd name="connsiteY14" fmla="*/ 1231 h 10000"/>
                <a:gd name="connsiteX15" fmla="*/ 5331 w 10002"/>
                <a:gd name="connsiteY15" fmla="*/ 1318 h 10000"/>
                <a:gd name="connsiteX16" fmla="*/ 5301 w 10002"/>
                <a:gd name="connsiteY16" fmla="*/ 1405 h 10000"/>
                <a:gd name="connsiteX17" fmla="*/ 5269 w 10002"/>
                <a:gd name="connsiteY17" fmla="*/ 1494 h 10000"/>
                <a:gd name="connsiteX18" fmla="*/ 5235 w 10002"/>
                <a:gd name="connsiteY18" fmla="*/ 1578 h 10000"/>
                <a:gd name="connsiteX19" fmla="*/ 5199 w 10002"/>
                <a:gd name="connsiteY19" fmla="*/ 1663 h 10000"/>
                <a:gd name="connsiteX20" fmla="*/ 5163 w 10002"/>
                <a:gd name="connsiteY20" fmla="*/ 1742 h 10000"/>
                <a:gd name="connsiteX21" fmla="*/ 5124 w 10002"/>
                <a:gd name="connsiteY21" fmla="*/ 1824 h 10000"/>
                <a:gd name="connsiteX22" fmla="*/ 5085 w 10002"/>
                <a:gd name="connsiteY22" fmla="*/ 1903 h 10000"/>
                <a:gd name="connsiteX23" fmla="*/ 5046 w 10002"/>
                <a:gd name="connsiteY23" fmla="*/ 1985 h 10000"/>
                <a:gd name="connsiteX24" fmla="*/ 5005 w 10002"/>
                <a:gd name="connsiteY24" fmla="*/ 2059 h 10000"/>
                <a:gd name="connsiteX25" fmla="*/ 4961 w 10002"/>
                <a:gd name="connsiteY25" fmla="*/ 2133 h 10000"/>
                <a:gd name="connsiteX26" fmla="*/ 4916 w 10002"/>
                <a:gd name="connsiteY26" fmla="*/ 2210 h 10000"/>
                <a:gd name="connsiteX27" fmla="*/ 4872 w 10002"/>
                <a:gd name="connsiteY27" fmla="*/ 2282 h 10000"/>
                <a:gd name="connsiteX28" fmla="*/ 4825 w 10002"/>
                <a:gd name="connsiteY28" fmla="*/ 2354 h 10000"/>
                <a:gd name="connsiteX29" fmla="*/ 4779 w 10002"/>
                <a:gd name="connsiteY29" fmla="*/ 2426 h 10000"/>
                <a:gd name="connsiteX30" fmla="*/ 4731 w 10002"/>
                <a:gd name="connsiteY30" fmla="*/ 2495 h 10000"/>
                <a:gd name="connsiteX31" fmla="*/ 4681 w 10002"/>
                <a:gd name="connsiteY31" fmla="*/ 2562 h 10000"/>
                <a:gd name="connsiteX32" fmla="*/ 4631 w 10002"/>
                <a:gd name="connsiteY32" fmla="*/ 2626 h 10000"/>
                <a:gd name="connsiteX33" fmla="*/ 4579 w 10002"/>
                <a:gd name="connsiteY33" fmla="*/ 2691 h 10000"/>
                <a:gd name="connsiteX34" fmla="*/ 4528 w 10002"/>
                <a:gd name="connsiteY34" fmla="*/ 2753 h 10000"/>
                <a:gd name="connsiteX35" fmla="*/ 4472 w 10002"/>
                <a:gd name="connsiteY35" fmla="*/ 2817 h 10000"/>
                <a:gd name="connsiteX36" fmla="*/ 4419 w 10002"/>
                <a:gd name="connsiteY36" fmla="*/ 2874 h 10000"/>
                <a:gd name="connsiteX37" fmla="*/ 4364 w 10002"/>
                <a:gd name="connsiteY37" fmla="*/ 2934 h 10000"/>
                <a:gd name="connsiteX38" fmla="*/ 4307 w 10002"/>
                <a:gd name="connsiteY38" fmla="*/ 2988 h 10000"/>
                <a:gd name="connsiteX39" fmla="*/ 4250 w 10002"/>
                <a:gd name="connsiteY39" fmla="*/ 3043 h 10000"/>
                <a:gd name="connsiteX40" fmla="*/ 4192 w 10002"/>
                <a:gd name="connsiteY40" fmla="*/ 3097 h 10000"/>
                <a:gd name="connsiteX41" fmla="*/ 4134 w 10002"/>
                <a:gd name="connsiteY41" fmla="*/ 3149 h 10000"/>
                <a:gd name="connsiteX42" fmla="*/ 4073 w 10002"/>
                <a:gd name="connsiteY42" fmla="*/ 3196 h 10000"/>
                <a:gd name="connsiteX43" fmla="*/ 4012 w 10002"/>
                <a:gd name="connsiteY43" fmla="*/ 3243 h 10000"/>
                <a:gd name="connsiteX44" fmla="*/ 3952 w 10002"/>
                <a:gd name="connsiteY44" fmla="*/ 3290 h 10000"/>
                <a:gd name="connsiteX45" fmla="*/ 3889 w 10002"/>
                <a:gd name="connsiteY45" fmla="*/ 3335 h 10000"/>
                <a:gd name="connsiteX46" fmla="*/ 3825 w 10002"/>
                <a:gd name="connsiteY46" fmla="*/ 3377 h 10000"/>
                <a:gd name="connsiteX47" fmla="*/ 3761 w 10002"/>
                <a:gd name="connsiteY47" fmla="*/ 3417 h 10000"/>
                <a:gd name="connsiteX48" fmla="*/ 3697 w 10002"/>
                <a:gd name="connsiteY48" fmla="*/ 3454 h 10000"/>
                <a:gd name="connsiteX49" fmla="*/ 3631 w 10002"/>
                <a:gd name="connsiteY49" fmla="*/ 3491 h 10000"/>
                <a:gd name="connsiteX50" fmla="*/ 3567 w 10002"/>
                <a:gd name="connsiteY50" fmla="*/ 3523 h 10000"/>
                <a:gd name="connsiteX51" fmla="*/ 3499 w 10002"/>
                <a:gd name="connsiteY51" fmla="*/ 3558 h 10000"/>
                <a:gd name="connsiteX52" fmla="*/ 3431 w 10002"/>
                <a:gd name="connsiteY52" fmla="*/ 3588 h 10000"/>
                <a:gd name="connsiteX53" fmla="*/ 3363 w 10002"/>
                <a:gd name="connsiteY53" fmla="*/ 3615 h 10000"/>
                <a:gd name="connsiteX54" fmla="*/ 3294 w 10002"/>
                <a:gd name="connsiteY54" fmla="*/ 3642 h 10000"/>
                <a:gd name="connsiteX55" fmla="*/ 3224 w 10002"/>
                <a:gd name="connsiteY55" fmla="*/ 3665 h 10000"/>
                <a:gd name="connsiteX56" fmla="*/ 3155 w 10002"/>
                <a:gd name="connsiteY56" fmla="*/ 3687 h 10000"/>
                <a:gd name="connsiteX57" fmla="*/ 3083 w 10002"/>
                <a:gd name="connsiteY57" fmla="*/ 3707 h 10000"/>
                <a:gd name="connsiteX58" fmla="*/ 3014 w 10002"/>
                <a:gd name="connsiteY58" fmla="*/ 3724 h 10000"/>
                <a:gd name="connsiteX59" fmla="*/ 2941 w 10002"/>
                <a:gd name="connsiteY59" fmla="*/ 3739 h 10000"/>
                <a:gd name="connsiteX60" fmla="*/ 2868 w 10002"/>
                <a:gd name="connsiteY60" fmla="*/ 3754 h 10000"/>
                <a:gd name="connsiteX61" fmla="*/ 2797 w 10002"/>
                <a:gd name="connsiteY61" fmla="*/ 3761 h 10000"/>
                <a:gd name="connsiteX62" fmla="*/ 2722 w 10002"/>
                <a:gd name="connsiteY62" fmla="*/ 3771 h 10000"/>
                <a:gd name="connsiteX63" fmla="*/ 2649 w 10002"/>
                <a:gd name="connsiteY63" fmla="*/ 3776 h 10000"/>
                <a:gd name="connsiteX64" fmla="*/ 2576 w 10002"/>
                <a:gd name="connsiteY64" fmla="*/ 3781 h 10000"/>
                <a:gd name="connsiteX65" fmla="*/ 2499 w 10002"/>
                <a:gd name="connsiteY65" fmla="*/ 3781 h 10000"/>
                <a:gd name="connsiteX66" fmla="*/ 2394 w 10002"/>
                <a:gd name="connsiteY66" fmla="*/ 3781 h 10000"/>
                <a:gd name="connsiteX67" fmla="*/ 2285 w 10002"/>
                <a:gd name="connsiteY67" fmla="*/ 3771 h 10000"/>
                <a:gd name="connsiteX68" fmla="*/ 2180 w 10002"/>
                <a:gd name="connsiteY68" fmla="*/ 3759 h 10000"/>
                <a:gd name="connsiteX69" fmla="*/ 2075 w 10002"/>
                <a:gd name="connsiteY69" fmla="*/ 3741 h 10000"/>
                <a:gd name="connsiteX70" fmla="*/ 1971 w 10002"/>
                <a:gd name="connsiteY70" fmla="*/ 3719 h 10000"/>
                <a:gd name="connsiteX71" fmla="*/ 1868 w 10002"/>
                <a:gd name="connsiteY71" fmla="*/ 3692 h 10000"/>
                <a:gd name="connsiteX72" fmla="*/ 1766 w 10002"/>
                <a:gd name="connsiteY72" fmla="*/ 3662 h 10000"/>
                <a:gd name="connsiteX73" fmla="*/ 1666 w 10002"/>
                <a:gd name="connsiteY73" fmla="*/ 3627 h 10000"/>
                <a:gd name="connsiteX74" fmla="*/ 0 w 10002"/>
                <a:gd name="connsiteY74" fmla="*/ 6085 h 10000"/>
                <a:gd name="connsiteX75" fmla="*/ 209 w 10002"/>
                <a:gd name="connsiteY75" fmla="*/ 9512 h 10000"/>
                <a:gd name="connsiteX76" fmla="*/ 344 w 10002"/>
                <a:gd name="connsiteY76" fmla="*/ 9569 h 10000"/>
                <a:gd name="connsiteX77" fmla="*/ 481 w 10002"/>
                <a:gd name="connsiteY77" fmla="*/ 9623 h 10000"/>
                <a:gd name="connsiteX78" fmla="*/ 621 w 10002"/>
                <a:gd name="connsiteY78" fmla="*/ 9673 h 10000"/>
                <a:gd name="connsiteX79" fmla="*/ 758 w 10002"/>
                <a:gd name="connsiteY79" fmla="*/ 9720 h 10000"/>
                <a:gd name="connsiteX80" fmla="*/ 899 w 10002"/>
                <a:gd name="connsiteY80" fmla="*/ 9765 h 10000"/>
                <a:gd name="connsiteX81" fmla="*/ 1041 w 10002"/>
                <a:gd name="connsiteY81" fmla="*/ 9804 h 10000"/>
                <a:gd name="connsiteX82" fmla="*/ 1183 w 10002"/>
                <a:gd name="connsiteY82" fmla="*/ 9839 h 10000"/>
                <a:gd name="connsiteX83" fmla="*/ 1326 w 10002"/>
                <a:gd name="connsiteY83" fmla="*/ 9874 h 10000"/>
                <a:gd name="connsiteX84" fmla="*/ 1472 w 10002"/>
                <a:gd name="connsiteY84" fmla="*/ 9903 h 10000"/>
                <a:gd name="connsiteX85" fmla="*/ 1615 w 10002"/>
                <a:gd name="connsiteY85" fmla="*/ 9926 h 10000"/>
                <a:gd name="connsiteX86" fmla="*/ 1761 w 10002"/>
                <a:gd name="connsiteY86" fmla="*/ 9948 h 10000"/>
                <a:gd name="connsiteX87" fmla="*/ 1907 w 10002"/>
                <a:gd name="connsiteY87" fmla="*/ 9965 h 10000"/>
                <a:gd name="connsiteX88" fmla="*/ 2053 w 10002"/>
                <a:gd name="connsiteY88" fmla="*/ 9980 h 10000"/>
                <a:gd name="connsiteX89" fmla="*/ 2203 w 10002"/>
                <a:gd name="connsiteY89" fmla="*/ 9990 h 10000"/>
                <a:gd name="connsiteX90" fmla="*/ 2351 w 10002"/>
                <a:gd name="connsiteY90" fmla="*/ 9995 h 10000"/>
                <a:gd name="connsiteX91" fmla="*/ 2499 w 10002"/>
                <a:gd name="connsiteY91" fmla="*/ 10000 h 10000"/>
                <a:gd name="connsiteX92" fmla="*/ 2678 w 10002"/>
                <a:gd name="connsiteY92" fmla="*/ 9995 h 10000"/>
                <a:gd name="connsiteX93" fmla="*/ 2851 w 10002"/>
                <a:gd name="connsiteY93" fmla="*/ 9988 h 10000"/>
                <a:gd name="connsiteX94" fmla="*/ 3026 w 10002"/>
                <a:gd name="connsiteY94" fmla="*/ 9975 h 10000"/>
                <a:gd name="connsiteX95" fmla="*/ 3197 w 10002"/>
                <a:gd name="connsiteY95" fmla="*/ 9953 h 10000"/>
                <a:gd name="connsiteX96" fmla="*/ 3370 w 10002"/>
                <a:gd name="connsiteY96" fmla="*/ 9931 h 10000"/>
                <a:gd name="connsiteX97" fmla="*/ 3540 w 10002"/>
                <a:gd name="connsiteY97" fmla="*/ 9898 h 10000"/>
                <a:gd name="connsiteX98" fmla="*/ 3711 w 10002"/>
                <a:gd name="connsiteY98" fmla="*/ 9866 h 10000"/>
                <a:gd name="connsiteX99" fmla="*/ 3879 w 10002"/>
                <a:gd name="connsiteY99" fmla="*/ 9824 h 10000"/>
                <a:gd name="connsiteX100" fmla="*/ 4044 w 10002"/>
                <a:gd name="connsiteY100" fmla="*/ 9779 h 10000"/>
                <a:gd name="connsiteX101" fmla="*/ 4212 w 10002"/>
                <a:gd name="connsiteY101" fmla="*/ 9730 h 10000"/>
                <a:gd name="connsiteX102" fmla="*/ 4374 w 10002"/>
                <a:gd name="connsiteY102" fmla="*/ 9673 h 10000"/>
                <a:gd name="connsiteX103" fmla="*/ 4538 w 10002"/>
                <a:gd name="connsiteY103" fmla="*/ 9616 h 10000"/>
                <a:gd name="connsiteX104" fmla="*/ 4699 w 10002"/>
                <a:gd name="connsiteY104" fmla="*/ 9552 h 10000"/>
                <a:gd name="connsiteX105" fmla="*/ 4859 w 10002"/>
                <a:gd name="connsiteY105" fmla="*/ 9482 h 10000"/>
                <a:gd name="connsiteX106" fmla="*/ 5017 w 10002"/>
                <a:gd name="connsiteY106" fmla="*/ 9405 h 10000"/>
                <a:gd name="connsiteX107" fmla="*/ 5174 w 10002"/>
                <a:gd name="connsiteY107" fmla="*/ 9329 h 10000"/>
                <a:gd name="connsiteX108" fmla="*/ 5329 w 10002"/>
                <a:gd name="connsiteY108" fmla="*/ 9244 h 10000"/>
                <a:gd name="connsiteX109" fmla="*/ 5483 w 10002"/>
                <a:gd name="connsiteY109" fmla="*/ 9158 h 10000"/>
                <a:gd name="connsiteX110" fmla="*/ 5634 w 10002"/>
                <a:gd name="connsiteY110" fmla="*/ 9063 h 10000"/>
                <a:gd name="connsiteX111" fmla="*/ 5784 w 10002"/>
                <a:gd name="connsiteY111" fmla="*/ 8967 h 10000"/>
                <a:gd name="connsiteX112" fmla="*/ 5934 w 10002"/>
                <a:gd name="connsiteY112" fmla="*/ 8865 h 10000"/>
                <a:gd name="connsiteX113" fmla="*/ 6078 w 10002"/>
                <a:gd name="connsiteY113" fmla="*/ 8759 h 10000"/>
                <a:gd name="connsiteX114" fmla="*/ 6224 w 10002"/>
                <a:gd name="connsiteY114" fmla="*/ 8652 h 10000"/>
                <a:gd name="connsiteX115" fmla="*/ 6367 w 10002"/>
                <a:gd name="connsiteY115" fmla="*/ 8536 h 10000"/>
                <a:gd name="connsiteX116" fmla="*/ 6508 w 10002"/>
                <a:gd name="connsiteY116" fmla="*/ 8417 h 10000"/>
                <a:gd name="connsiteX117" fmla="*/ 6645 w 10002"/>
                <a:gd name="connsiteY117" fmla="*/ 8295 h 10000"/>
                <a:gd name="connsiteX118" fmla="*/ 6783 w 10002"/>
                <a:gd name="connsiteY118" fmla="*/ 8169 h 10000"/>
                <a:gd name="connsiteX119" fmla="*/ 6916 w 10002"/>
                <a:gd name="connsiteY119" fmla="*/ 8040 h 10000"/>
                <a:gd name="connsiteX120" fmla="*/ 7049 w 10002"/>
                <a:gd name="connsiteY120" fmla="*/ 7904 h 10000"/>
                <a:gd name="connsiteX121" fmla="*/ 7179 w 10002"/>
                <a:gd name="connsiteY121" fmla="*/ 7768 h 10000"/>
                <a:gd name="connsiteX122" fmla="*/ 7308 w 10002"/>
                <a:gd name="connsiteY122" fmla="*/ 7624 h 10000"/>
                <a:gd name="connsiteX123" fmla="*/ 7433 w 10002"/>
                <a:gd name="connsiteY123" fmla="*/ 7480 h 10000"/>
                <a:gd name="connsiteX124" fmla="*/ 7556 w 10002"/>
                <a:gd name="connsiteY124" fmla="*/ 7329 h 10000"/>
                <a:gd name="connsiteX125" fmla="*/ 7677 w 10002"/>
                <a:gd name="connsiteY125" fmla="*/ 7178 h 10000"/>
                <a:gd name="connsiteX126" fmla="*/ 7796 w 10002"/>
                <a:gd name="connsiteY126" fmla="*/ 7024 h 10000"/>
                <a:gd name="connsiteX127" fmla="*/ 7911 w 10002"/>
                <a:gd name="connsiteY127" fmla="*/ 6861 h 10000"/>
                <a:gd name="connsiteX128" fmla="*/ 8026 w 10002"/>
                <a:gd name="connsiteY128" fmla="*/ 6697 h 10000"/>
                <a:gd name="connsiteX129" fmla="*/ 8137 w 10002"/>
                <a:gd name="connsiteY129" fmla="*/ 6534 h 10000"/>
                <a:gd name="connsiteX130" fmla="*/ 8244 w 10002"/>
                <a:gd name="connsiteY130" fmla="*/ 6365 h 10000"/>
                <a:gd name="connsiteX131" fmla="*/ 8351 w 10002"/>
                <a:gd name="connsiteY131" fmla="*/ 6189 h 10000"/>
                <a:gd name="connsiteX132" fmla="*/ 8454 w 10002"/>
                <a:gd name="connsiteY132" fmla="*/ 6016 h 10000"/>
                <a:gd name="connsiteX133" fmla="*/ 8556 w 10002"/>
                <a:gd name="connsiteY133" fmla="*/ 5835 h 10000"/>
                <a:gd name="connsiteX134" fmla="*/ 8654 w 10002"/>
                <a:gd name="connsiteY134" fmla="*/ 5652 h 10000"/>
                <a:gd name="connsiteX135" fmla="*/ 8749 w 10002"/>
                <a:gd name="connsiteY135" fmla="*/ 5468 h 10000"/>
                <a:gd name="connsiteX136" fmla="*/ 8841 w 10002"/>
                <a:gd name="connsiteY136" fmla="*/ 5278 h 10000"/>
                <a:gd name="connsiteX137" fmla="*/ 8931 w 10002"/>
                <a:gd name="connsiteY137" fmla="*/ 5089 h 10000"/>
                <a:gd name="connsiteX138" fmla="*/ 9019 w 10002"/>
                <a:gd name="connsiteY138" fmla="*/ 4893 h 10000"/>
                <a:gd name="connsiteX139" fmla="*/ 9103 w 10002"/>
                <a:gd name="connsiteY139" fmla="*/ 4698 h 10000"/>
                <a:gd name="connsiteX140" fmla="*/ 9183 w 10002"/>
                <a:gd name="connsiteY140" fmla="*/ 4500 h 10000"/>
                <a:gd name="connsiteX141" fmla="*/ 9261 w 10002"/>
                <a:gd name="connsiteY141" fmla="*/ 4294 h 10000"/>
                <a:gd name="connsiteX142" fmla="*/ 9335 w 10002"/>
                <a:gd name="connsiteY142" fmla="*/ 4091 h 10000"/>
                <a:gd name="connsiteX143" fmla="*/ 9406 w 10002"/>
                <a:gd name="connsiteY143" fmla="*/ 3885 h 10000"/>
                <a:gd name="connsiteX144" fmla="*/ 9475 w 10002"/>
                <a:gd name="connsiteY144" fmla="*/ 3674 h 10000"/>
                <a:gd name="connsiteX145" fmla="*/ 9540 w 10002"/>
                <a:gd name="connsiteY145" fmla="*/ 3464 h 10000"/>
                <a:gd name="connsiteX146" fmla="*/ 9604 w 10002"/>
                <a:gd name="connsiteY146" fmla="*/ 3248 h 10000"/>
                <a:gd name="connsiteX147" fmla="*/ 9661 w 10002"/>
                <a:gd name="connsiteY147" fmla="*/ 3030 h 10000"/>
                <a:gd name="connsiteX148" fmla="*/ 9716 w 10002"/>
                <a:gd name="connsiteY148" fmla="*/ 2815 h 10000"/>
                <a:gd name="connsiteX149" fmla="*/ 9768 w 10002"/>
                <a:gd name="connsiteY149" fmla="*/ 2592 h 10000"/>
                <a:gd name="connsiteX150" fmla="*/ 9818 w 10002"/>
                <a:gd name="connsiteY150" fmla="*/ 2369 h 10000"/>
                <a:gd name="connsiteX151" fmla="*/ 9861 w 10002"/>
                <a:gd name="connsiteY151" fmla="*/ 2143 h 10000"/>
                <a:gd name="connsiteX152" fmla="*/ 9903 w 10002"/>
                <a:gd name="connsiteY152" fmla="*/ 1918 h 10000"/>
                <a:gd name="connsiteX153" fmla="*/ 9941 w 10002"/>
                <a:gd name="connsiteY153" fmla="*/ 1690 h 10000"/>
                <a:gd name="connsiteX154" fmla="*/ 9975 w 10002"/>
                <a:gd name="connsiteY154" fmla="*/ 1457 h 10000"/>
                <a:gd name="connsiteX155" fmla="*/ 10002 w 10002"/>
                <a:gd name="connsiteY155" fmla="*/ 1216 h 10000"/>
                <a:gd name="connsiteX156" fmla="*/ 7615 w 10002"/>
                <a:gd name="connsiteY156" fmla="*/ 1876 h 10000"/>
                <a:gd name="connsiteX157" fmla="*/ 5618 w 10002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9 w 10001"/>
                <a:gd name="connsiteY75" fmla="*/ 9512 h 10000"/>
                <a:gd name="connsiteX76" fmla="*/ 344 w 10001"/>
                <a:gd name="connsiteY76" fmla="*/ 9569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9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6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6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6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</a:cxnLst>
              <a:rect l="l" t="t" r="r" b="b"/>
              <a:pathLst>
                <a:path w="10001" h="10000">
                  <a:moveTo>
                    <a:pt x="5618" y="0"/>
                  </a:moveTo>
                  <a:lnTo>
                    <a:pt x="5618" y="0"/>
                  </a:lnTo>
                  <a:lnTo>
                    <a:pt x="5609" y="99"/>
                  </a:lnTo>
                  <a:cubicBezTo>
                    <a:pt x="5604" y="133"/>
                    <a:pt x="5600" y="167"/>
                    <a:pt x="5595" y="201"/>
                  </a:cubicBezTo>
                  <a:lnTo>
                    <a:pt x="5583" y="300"/>
                  </a:lnTo>
                  <a:cubicBezTo>
                    <a:pt x="5578" y="331"/>
                    <a:pt x="5573" y="363"/>
                    <a:pt x="5568" y="394"/>
                  </a:cubicBezTo>
                  <a:cubicBezTo>
                    <a:pt x="5562" y="426"/>
                    <a:pt x="5556" y="459"/>
                    <a:pt x="5550" y="491"/>
                  </a:cubicBezTo>
                  <a:cubicBezTo>
                    <a:pt x="5544" y="523"/>
                    <a:pt x="5537" y="555"/>
                    <a:pt x="5531" y="587"/>
                  </a:cubicBezTo>
                  <a:cubicBezTo>
                    <a:pt x="5524" y="619"/>
                    <a:pt x="5518" y="652"/>
                    <a:pt x="5511" y="684"/>
                  </a:cubicBezTo>
                  <a:cubicBezTo>
                    <a:pt x="5504" y="715"/>
                    <a:pt x="5497" y="747"/>
                    <a:pt x="5490" y="778"/>
                  </a:cubicBezTo>
                  <a:cubicBezTo>
                    <a:pt x="5483" y="809"/>
                    <a:pt x="5475" y="839"/>
                    <a:pt x="5468" y="870"/>
                  </a:cubicBezTo>
                  <a:cubicBezTo>
                    <a:pt x="5459" y="900"/>
                    <a:pt x="5451" y="931"/>
                    <a:pt x="5442" y="961"/>
                  </a:cubicBezTo>
                  <a:cubicBezTo>
                    <a:pt x="5434" y="992"/>
                    <a:pt x="5426" y="1022"/>
                    <a:pt x="5418" y="1053"/>
                  </a:cubicBezTo>
                  <a:cubicBezTo>
                    <a:pt x="5409" y="1084"/>
                    <a:pt x="5399" y="1114"/>
                    <a:pt x="5390" y="1145"/>
                  </a:cubicBezTo>
                  <a:cubicBezTo>
                    <a:pt x="5380" y="1174"/>
                    <a:pt x="5371" y="1202"/>
                    <a:pt x="5361" y="1231"/>
                  </a:cubicBezTo>
                  <a:lnTo>
                    <a:pt x="5331" y="1318"/>
                  </a:lnTo>
                  <a:lnTo>
                    <a:pt x="5301" y="1405"/>
                  </a:lnTo>
                  <a:cubicBezTo>
                    <a:pt x="5290" y="1435"/>
                    <a:pt x="5280" y="1464"/>
                    <a:pt x="5269" y="1494"/>
                  </a:cubicBezTo>
                  <a:cubicBezTo>
                    <a:pt x="5258" y="1522"/>
                    <a:pt x="5246" y="1550"/>
                    <a:pt x="5235" y="1578"/>
                  </a:cubicBezTo>
                  <a:cubicBezTo>
                    <a:pt x="5223" y="1606"/>
                    <a:pt x="5211" y="1635"/>
                    <a:pt x="5199" y="1663"/>
                  </a:cubicBezTo>
                  <a:cubicBezTo>
                    <a:pt x="5187" y="1689"/>
                    <a:pt x="5175" y="1716"/>
                    <a:pt x="5163" y="1742"/>
                  </a:cubicBezTo>
                  <a:cubicBezTo>
                    <a:pt x="5150" y="1769"/>
                    <a:pt x="5137" y="1797"/>
                    <a:pt x="5124" y="1824"/>
                  </a:cubicBezTo>
                  <a:cubicBezTo>
                    <a:pt x="5111" y="1850"/>
                    <a:pt x="5098" y="1877"/>
                    <a:pt x="5085" y="1903"/>
                  </a:cubicBezTo>
                  <a:cubicBezTo>
                    <a:pt x="5072" y="1930"/>
                    <a:pt x="5059" y="1958"/>
                    <a:pt x="5046" y="1985"/>
                  </a:cubicBezTo>
                  <a:cubicBezTo>
                    <a:pt x="5032" y="2010"/>
                    <a:pt x="5019" y="2034"/>
                    <a:pt x="5005" y="2059"/>
                  </a:cubicBezTo>
                  <a:cubicBezTo>
                    <a:pt x="4990" y="2084"/>
                    <a:pt x="4975" y="2108"/>
                    <a:pt x="4961" y="2133"/>
                  </a:cubicBezTo>
                  <a:cubicBezTo>
                    <a:pt x="4946" y="2159"/>
                    <a:pt x="4931" y="2184"/>
                    <a:pt x="4916" y="2210"/>
                  </a:cubicBezTo>
                  <a:cubicBezTo>
                    <a:pt x="4901" y="2234"/>
                    <a:pt x="4887" y="2258"/>
                    <a:pt x="4872" y="2282"/>
                  </a:cubicBezTo>
                  <a:cubicBezTo>
                    <a:pt x="4856" y="2306"/>
                    <a:pt x="4841" y="2330"/>
                    <a:pt x="4825" y="2354"/>
                  </a:cubicBezTo>
                  <a:cubicBezTo>
                    <a:pt x="4810" y="2378"/>
                    <a:pt x="4794" y="2402"/>
                    <a:pt x="4779" y="2426"/>
                  </a:cubicBezTo>
                  <a:lnTo>
                    <a:pt x="4731" y="2495"/>
                  </a:lnTo>
                  <a:cubicBezTo>
                    <a:pt x="4714" y="2517"/>
                    <a:pt x="4698" y="2540"/>
                    <a:pt x="4681" y="2562"/>
                  </a:cubicBezTo>
                  <a:cubicBezTo>
                    <a:pt x="4664" y="2583"/>
                    <a:pt x="4648" y="2605"/>
                    <a:pt x="4631" y="2626"/>
                  </a:cubicBezTo>
                  <a:cubicBezTo>
                    <a:pt x="4614" y="2648"/>
                    <a:pt x="4596" y="2669"/>
                    <a:pt x="4579" y="2691"/>
                  </a:cubicBezTo>
                  <a:cubicBezTo>
                    <a:pt x="4562" y="2712"/>
                    <a:pt x="4545" y="2732"/>
                    <a:pt x="4528" y="2753"/>
                  </a:cubicBezTo>
                  <a:cubicBezTo>
                    <a:pt x="4509" y="2774"/>
                    <a:pt x="4491" y="2796"/>
                    <a:pt x="4472" y="2817"/>
                  </a:cubicBezTo>
                  <a:cubicBezTo>
                    <a:pt x="4454" y="2836"/>
                    <a:pt x="4437" y="2855"/>
                    <a:pt x="4419" y="2874"/>
                  </a:cubicBezTo>
                  <a:cubicBezTo>
                    <a:pt x="4401" y="2894"/>
                    <a:pt x="4382" y="2914"/>
                    <a:pt x="4364" y="2934"/>
                  </a:cubicBezTo>
                  <a:lnTo>
                    <a:pt x="4307" y="2988"/>
                  </a:lnTo>
                  <a:cubicBezTo>
                    <a:pt x="4288" y="3006"/>
                    <a:pt x="4269" y="3025"/>
                    <a:pt x="4250" y="3043"/>
                  </a:cubicBezTo>
                  <a:cubicBezTo>
                    <a:pt x="4231" y="3061"/>
                    <a:pt x="4211" y="3079"/>
                    <a:pt x="4192" y="3097"/>
                  </a:cubicBezTo>
                  <a:lnTo>
                    <a:pt x="4134" y="3149"/>
                  </a:lnTo>
                  <a:cubicBezTo>
                    <a:pt x="4114" y="3165"/>
                    <a:pt x="4093" y="3180"/>
                    <a:pt x="4073" y="3196"/>
                  </a:cubicBezTo>
                  <a:cubicBezTo>
                    <a:pt x="4053" y="3212"/>
                    <a:pt x="4032" y="3227"/>
                    <a:pt x="4012" y="3243"/>
                  </a:cubicBezTo>
                  <a:cubicBezTo>
                    <a:pt x="3992" y="3259"/>
                    <a:pt x="3972" y="3274"/>
                    <a:pt x="3952" y="3290"/>
                  </a:cubicBezTo>
                  <a:lnTo>
                    <a:pt x="3889" y="3335"/>
                  </a:lnTo>
                  <a:cubicBezTo>
                    <a:pt x="3868" y="3349"/>
                    <a:pt x="3846" y="3363"/>
                    <a:pt x="3825" y="3377"/>
                  </a:cubicBezTo>
                  <a:lnTo>
                    <a:pt x="3761" y="3417"/>
                  </a:lnTo>
                  <a:lnTo>
                    <a:pt x="3697" y="3454"/>
                  </a:lnTo>
                  <a:cubicBezTo>
                    <a:pt x="3675" y="3466"/>
                    <a:pt x="3653" y="3479"/>
                    <a:pt x="3631" y="3491"/>
                  </a:cubicBezTo>
                  <a:cubicBezTo>
                    <a:pt x="3610" y="3502"/>
                    <a:pt x="3588" y="3512"/>
                    <a:pt x="3567" y="3523"/>
                  </a:cubicBezTo>
                  <a:lnTo>
                    <a:pt x="3499" y="3558"/>
                  </a:lnTo>
                  <a:lnTo>
                    <a:pt x="3431" y="3588"/>
                  </a:lnTo>
                  <a:lnTo>
                    <a:pt x="3363" y="3615"/>
                  </a:lnTo>
                  <a:lnTo>
                    <a:pt x="3294" y="3642"/>
                  </a:lnTo>
                  <a:cubicBezTo>
                    <a:pt x="3271" y="3650"/>
                    <a:pt x="3247" y="3657"/>
                    <a:pt x="3224" y="3665"/>
                  </a:cubicBezTo>
                  <a:cubicBezTo>
                    <a:pt x="3201" y="3672"/>
                    <a:pt x="3178" y="3680"/>
                    <a:pt x="3155" y="3687"/>
                  </a:cubicBezTo>
                  <a:cubicBezTo>
                    <a:pt x="3131" y="3694"/>
                    <a:pt x="3107" y="3700"/>
                    <a:pt x="3083" y="3707"/>
                  </a:cubicBezTo>
                  <a:cubicBezTo>
                    <a:pt x="3060" y="3713"/>
                    <a:pt x="3037" y="3718"/>
                    <a:pt x="3014" y="3724"/>
                  </a:cubicBezTo>
                  <a:lnTo>
                    <a:pt x="2941" y="3739"/>
                  </a:lnTo>
                  <a:lnTo>
                    <a:pt x="2868" y="3754"/>
                  </a:lnTo>
                  <a:cubicBezTo>
                    <a:pt x="2844" y="3756"/>
                    <a:pt x="2821" y="3759"/>
                    <a:pt x="2797" y="3761"/>
                  </a:cubicBezTo>
                  <a:cubicBezTo>
                    <a:pt x="2772" y="3764"/>
                    <a:pt x="2747" y="3768"/>
                    <a:pt x="2722" y="3771"/>
                  </a:cubicBezTo>
                  <a:cubicBezTo>
                    <a:pt x="2698" y="3773"/>
                    <a:pt x="2673" y="3774"/>
                    <a:pt x="2649" y="3776"/>
                  </a:cubicBezTo>
                  <a:cubicBezTo>
                    <a:pt x="2625" y="3778"/>
                    <a:pt x="2600" y="3779"/>
                    <a:pt x="2576" y="3781"/>
                  </a:cubicBezTo>
                  <a:lnTo>
                    <a:pt x="2499" y="3781"/>
                  </a:lnTo>
                  <a:lnTo>
                    <a:pt x="2394" y="3781"/>
                  </a:lnTo>
                  <a:lnTo>
                    <a:pt x="2285" y="3771"/>
                  </a:lnTo>
                  <a:lnTo>
                    <a:pt x="2180" y="3759"/>
                  </a:lnTo>
                  <a:lnTo>
                    <a:pt x="2075" y="3741"/>
                  </a:lnTo>
                  <a:cubicBezTo>
                    <a:pt x="2040" y="3734"/>
                    <a:pt x="2006" y="3726"/>
                    <a:pt x="1971" y="3719"/>
                  </a:cubicBezTo>
                  <a:lnTo>
                    <a:pt x="1868" y="3692"/>
                  </a:lnTo>
                  <a:lnTo>
                    <a:pt x="1766" y="3662"/>
                  </a:lnTo>
                  <a:cubicBezTo>
                    <a:pt x="1733" y="3650"/>
                    <a:pt x="1699" y="3639"/>
                    <a:pt x="1666" y="3627"/>
                  </a:cubicBezTo>
                  <a:lnTo>
                    <a:pt x="0" y="6085"/>
                  </a:lnTo>
                  <a:cubicBezTo>
                    <a:pt x="70" y="7227"/>
                    <a:pt x="138" y="8352"/>
                    <a:pt x="208" y="9494"/>
                  </a:cubicBezTo>
                  <a:cubicBezTo>
                    <a:pt x="253" y="9518"/>
                    <a:pt x="259" y="9522"/>
                    <a:pt x="345" y="9563"/>
                  </a:cubicBezTo>
                  <a:cubicBezTo>
                    <a:pt x="390" y="9583"/>
                    <a:pt x="411" y="9593"/>
                    <a:pt x="481" y="9623"/>
                  </a:cubicBezTo>
                  <a:lnTo>
                    <a:pt x="621" y="9673"/>
                  </a:lnTo>
                  <a:lnTo>
                    <a:pt x="758" y="9720"/>
                  </a:lnTo>
                  <a:lnTo>
                    <a:pt x="899" y="9765"/>
                  </a:lnTo>
                  <a:lnTo>
                    <a:pt x="1041" y="9804"/>
                  </a:lnTo>
                  <a:lnTo>
                    <a:pt x="1183" y="9839"/>
                  </a:lnTo>
                  <a:lnTo>
                    <a:pt x="1326" y="9874"/>
                  </a:lnTo>
                  <a:lnTo>
                    <a:pt x="1472" y="9903"/>
                  </a:lnTo>
                  <a:lnTo>
                    <a:pt x="1615" y="9926"/>
                  </a:lnTo>
                  <a:lnTo>
                    <a:pt x="1761" y="9948"/>
                  </a:lnTo>
                  <a:lnTo>
                    <a:pt x="1907" y="9965"/>
                  </a:lnTo>
                  <a:lnTo>
                    <a:pt x="2053" y="9980"/>
                  </a:lnTo>
                  <a:lnTo>
                    <a:pt x="2203" y="9990"/>
                  </a:lnTo>
                  <a:lnTo>
                    <a:pt x="2351" y="9995"/>
                  </a:lnTo>
                  <a:lnTo>
                    <a:pt x="2499" y="10000"/>
                  </a:lnTo>
                  <a:lnTo>
                    <a:pt x="2678" y="9995"/>
                  </a:lnTo>
                  <a:lnTo>
                    <a:pt x="2851" y="9988"/>
                  </a:lnTo>
                  <a:lnTo>
                    <a:pt x="3026" y="9975"/>
                  </a:lnTo>
                  <a:lnTo>
                    <a:pt x="3197" y="9953"/>
                  </a:lnTo>
                  <a:lnTo>
                    <a:pt x="3370" y="9931"/>
                  </a:lnTo>
                  <a:lnTo>
                    <a:pt x="3540" y="9898"/>
                  </a:lnTo>
                  <a:lnTo>
                    <a:pt x="3711" y="9866"/>
                  </a:lnTo>
                  <a:lnTo>
                    <a:pt x="3879" y="9824"/>
                  </a:lnTo>
                  <a:lnTo>
                    <a:pt x="4044" y="9779"/>
                  </a:lnTo>
                  <a:lnTo>
                    <a:pt x="4212" y="9730"/>
                  </a:lnTo>
                  <a:lnTo>
                    <a:pt x="4374" y="9673"/>
                  </a:lnTo>
                  <a:lnTo>
                    <a:pt x="4538" y="9616"/>
                  </a:lnTo>
                  <a:lnTo>
                    <a:pt x="4699" y="9552"/>
                  </a:lnTo>
                  <a:lnTo>
                    <a:pt x="4859" y="9482"/>
                  </a:lnTo>
                  <a:lnTo>
                    <a:pt x="5017" y="9405"/>
                  </a:lnTo>
                  <a:lnTo>
                    <a:pt x="5174" y="9329"/>
                  </a:lnTo>
                  <a:lnTo>
                    <a:pt x="5329" y="9244"/>
                  </a:lnTo>
                  <a:cubicBezTo>
                    <a:pt x="5380" y="9215"/>
                    <a:pt x="5432" y="9187"/>
                    <a:pt x="5483" y="9158"/>
                  </a:cubicBezTo>
                  <a:cubicBezTo>
                    <a:pt x="5533" y="9126"/>
                    <a:pt x="5584" y="9095"/>
                    <a:pt x="5634" y="9063"/>
                  </a:cubicBezTo>
                  <a:lnTo>
                    <a:pt x="5784" y="8967"/>
                  </a:lnTo>
                  <a:lnTo>
                    <a:pt x="5934" y="8865"/>
                  </a:lnTo>
                  <a:lnTo>
                    <a:pt x="6078" y="8759"/>
                  </a:lnTo>
                  <a:lnTo>
                    <a:pt x="6224" y="8652"/>
                  </a:lnTo>
                  <a:lnTo>
                    <a:pt x="6367" y="8536"/>
                  </a:lnTo>
                  <a:lnTo>
                    <a:pt x="6508" y="8417"/>
                  </a:lnTo>
                  <a:lnTo>
                    <a:pt x="6645" y="8295"/>
                  </a:lnTo>
                  <a:lnTo>
                    <a:pt x="6783" y="8169"/>
                  </a:lnTo>
                  <a:lnTo>
                    <a:pt x="6916" y="8040"/>
                  </a:lnTo>
                  <a:lnTo>
                    <a:pt x="7049" y="7904"/>
                  </a:lnTo>
                  <a:lnTo>
                    <a:pt x="7179" y="7768"/>
                  </a:lnTo>
                  <a:lnTo>
                    <a:pt x="7308" y="7624"/>
                  </a:lnTo>
                  <a:lnTo>
                    <a:pt x="7433" y="7480"/>
                  </a:lnTo>
                  <a:lnTo>
                    <a:pt x="7556" y="7329"/>
                  </a:lnTo>
                  <a:lnTo>
                    <a:pt x="7677" y="7178"/>
                  </a:lnTo>
                  <a:cubicBezTo>
                    <a:pt x="7717" y="7127"/>
                    <a:pt x="7756" y="7075"/>
                    <a:pt x="7796" y="7024"/>
                  </a:cubicBezTo>
                  <a:lnTo>
                    <a:pt x="7911" y="6861"/>
                  </a:lnTo>
                  <a:cubicBezTo>
                    <a:pt x="7949" y="6806"/>
                    <a:pt x="7988" y="6752"/>
                    <a:pt x="8026" y="6697"/>
                  </a:cubicBezTo>
                  <a:lnTo>
                    <a:pt x="8137" y="6534"/>
                  </a:lnTo>
                  <a:cubicBezTo>
                    <a:pt x="8173" y="6478"/>
                    <a:pt x="8208" y="6421"/>
                    <a:pt x="8244" y="6365"/>
                  </a:cubicBezTo>
                  <a:lnTo>
                    <a:pt x="8351" y="6189"/>
                  </a:lnTo>
                  <a:cubicBezTo>
                    <a:pt x="8385" y="6131"/>
                    <a:pt x="8420" y="6074"/>
                    <a:pt x="8454" y="6016"/>
                  </a:cubicBezTo>
                  <a:lnTo>
                    <a:pt x="8556" y="5835"/>
                  </a:lnTo>
                  <a:cubicBezTo>
                    <a:pt x="8589" y="5774"/>
                    <a:pt x="8621" y="5713"/>
                    <a:pt x="8654" y="5652"/>
                  </a:cubicBezTo>
                  <a:cubicBezTo>
                    <a:pt x="8686" y="5591"/>
                    <a:pt x="8717" y="5529"/>
                    <a:pt x="8749" y="5468"/>
                  </a:cubicBezTo>
                  <a:cubicBezTo>
                    <a:pt x="8780" y="5405"/>
                    <a:pt x="8810" y="5341"/>
                    <a:pt x="8841" y="5278"/>
                  </a:cubicBezTo>
                  <a:lnTo>
                    <a:pt x="8931" y="5089"/>
                  </a:lnTo>
                  <a:cubicBezTo>
                    <a:pt x="8960" y="5024"/>
                    <a:pt x="8989" y="4958"/>
                    <a:pt x="9019" y="4893"/>
                  </a:cubicBezTo>
                  <a:lnTo>
                    <a:pt x="9103" y="4698"/>
                  </a:lnTo>
                  <a:cubicBezTo>
                    <a:pt x="9130" y="4632"/>
                    <a:pt x="9156" y="4566"/>
                    <a:pt x="9183" y="4500"/>
                  </a:cubicBezTo>
                  <a:cubicBezTo>
                    <a:pt x="9209" y="4431"/>
                    <a:pt x="9235" y="4363"/>
                    <a:pt x="9261" y="4294"/>
                  </a:cubicBezTo>
                  <a:cubicBezTo>
                    <a:pt x="9286" y="4226"/>
                    <a:pt x="9310" y="4159"/>
                    <a:pt x="9335" y="4091"/>
                  </a:cubicBezTo>
                  <a:cubicBezTo>
                    <a:pt x="9359" y="4022"/>
                    <a:pt x="9382" y="3954"/>
                    <a:pt x="9406" y="3885"/>
                  </a:cubicBezTo>
                  <a:cubicBezTo>
                    <a:pt x="9429" y="3815"/>
                    <a:pt x="9452" y="3744"/>
                    <a:pt x="9475" y="3674"/>
                  </a:cubicBezTo>
                  <a:cubicBezTo>
                    <a:pt x="9497" y="3604"/>
                    <a:pt x="9518" y="3534"/>
                    <a:pt x="9540" y="3464"/>
                  </a:cubicBezTo>
                  <a:cubicBezTo>
                    <a:pt x="9561" y="3392"/>
                    <a:pt x="9583" y="3320"/>
                    <a:pt x="9604" y="3248"/>
                  </a:cubicBezTo>
                  <a:cubicBezTo>
                    <a:pt x="9623" y="3175"/>
                    <a:pt x="9642" y="3103"/>
                    <a:pt x="9661" y="3030"/>
                  </a:cubicBezTo>
                  <a:cubicBezTo>
                    <a:pt x="9679" y="2958"/>
                    <a:pt x="9698" y="2887"/>
                    <a:pt x="9716" y="2815"/>
                  </a:cubicBezTo>
                  <a:cubicBezTo>
                    <a:pt x="9733" y="2741"/>
                    <a:pt x="9751" y="2666"/>
                    <a:pt x="9768" y="2592"/>
                  </a:cubicBezTo>
                  <a:cubicBezTo>
                    <a:pt x="9785" y="2518"/>
                    <a:pt x="9801" y="2443"/>
                    <a:pt x="9818" y="2369"/>
                  </a:cubicBezTo>
                  <a:cubicBezTo>
                    <a:pt x="9832" y="2294"/>
                    <a:pt x="9847" y="2218"/>
                    <a:pt x="9861" y="2143"/>
                  </a:cubicBezTo>
                  <a:lnTo>
                    <a:pt x="9903" y="1918"/>
                  </a:lnTo>
                  <a:cubicBezTo>
                    <a:pt x="9916" y="1842"/>
                    <a:pt x="9928" y="1766"/>
                    <a:pt x="9941" y="1690"/>
                  </a:cubicBezTo>
                  <a:cubicBezTo>
                    <a:pt x="9952" y="1612"/>
                    <a:pt x="9964" y="1535"/>
                    <a:pt x="9975" y="1457"/>
                  </a:cubicBezTo>
                  <a:cubicBezTo>
                    <a:pt x="9983" y="1377"/>
                    <a:pt x="9993" y="1295"/>
                    <a:pt x="10001" y="1215"/>
                  </a:cubicBezTo>
                  <a:lnTo>
                    <a:pt x="7615" y="1876"/>
                  </a:lnTo>
                  <a:lnTo>
                    <a:pt x="5618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70596" y="234864"/>
            <a:ext cx="8794113" cy="659459"/>
          </a:xfrm>
        </p:spPr>
        <p:txBody>
          <a:bodyPr/>
          <a:lstStyle/>
          <a:p>
            <a:r>
              <a:rPr lang="en-US" dirty="0"/>
              <a:t>Acre would combine several disparate sources of commodity data into a single database. Improving data quality and availability</a:t>
            </a:r>
          </a:p>
        </p:txBody>
      </p:sp>
      <p:sp>
        <p:nvSpPr>
          <p:cNvPr id="22" name="Oval 21"/>
          <p:cNvSpPr/>
          <p:nvPr/>
        </p:nvSpPr>
        <p:spPr bwMode="gray">
          <a:xfrm>
            <a:off x="5200122" y="3136431"/>
            <a:ext cx="1363310" cy="94911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48" tIns="46648" rIns="46648" bIns="46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Work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0" name="Right Arrow 19"/>
          <p:cNvSpPr/>
          <p:nvPr/>
        </p:nvSpPr>
        <p:spPr bwMode="gray">
          <a:xfrm rot="10800000">
            <a:off x="5000428" y="1902449"/>
            <a:ext cx="1400985" cy="276167"/>
          </a:xfrm>
          <a:prstGeom prst="rightArrow">
            <a:avLst/>
          </a:prstGeom>
          <a:solidFill>
            <a:srgbClr val="03162A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1" name="Right Arrow 20"/>
          <p:cNvSpPr/>
          <p:nvPr/>
        </p:nvSpPr>
        <p:spPr bwMode="gray">
          <a:xfrm rot="10800000">
            <a:off x="2531818" y="1870291"/>
            <a:ext cx="1400985" cy="276167"/>
          </a:xfrm>
          <a:prstGeom prst="rightArrow">
            <a:avLst/>
          </a:prstGeom>
          <a:solidFill>
            <a:srgbClr val="03162A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3" name="Right Arrow 22"/>
          <p:cNvSpPr/>
          <p:nvPr/>
        </p:nvSpPr>
        <p:spPr bwMode="gray">
          <a:xfrm>
            <a:off x="4930368" y="1523359"/>
            <a:ext cx="1400985" cy="276167"/>
          </a:xfrm>
          <a:prstGeom prst="rightArrow">
            <a:avLst/>
          </a:prstGeom>
          <a:solidFill>
            <a:srgbClr val="0066CC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4" name="Right Arrow 23"/>
          <p:cNvSpPr/>
          <p:nvPr/>
        </p:nvSpPr>
        <p:spPr bwMode="gray">
          <a:xfrm>
            <a:off x="2448761" y="1523359"/>
            <a:ext cx="1286457" cy="276167"/>
          </a:xfrm>
          <a:prstGeom prst="rightArrow">
            <a:avLst/>
          </a:prstGeom>
          <a:solidFill>
            <a:srgbClr val="0066CC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5" name="Right Arrow 24"/>
          <p:cNvSpPr/>
          <p:nvPr/>
        </p:nvSpPr>
        <p:spPr bwMode="gray">
          <a:xfrm rot="4262365">
            <a:off x="6786742" y="2471278"/>
            <a:ext cx="1286382" cy="276183"/>
          </a:xfrm>
          <a:prstGeom prst="rightArrow">
            <a:avLst/>
          </a:prstGeom>
          <a:solidFill>
            <a:srgbClr val="0066CC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6" name="Right Arrow 25"/>
          <p:cNvSpPr/>
          <p:nvPr/>
        </p:nvSpPr>
        <p:spPr bwMode="gray">
          <a:xfrm rot="15037137">
            <a:off x="6549755" y="3205766"/>
            <a:ext cx="1646341" cy="276183"/>
          </a:xfrm>
          <a:prstGeom prst="rightArrow">
            <a:avLst/>
          </a:prstGeom>
          <a:solidFill>
            <a:srgbClr val="03162A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7" name="Legend2"/>
          <p:cNvSpPr>
            <a:spLocks noChangeArrowheads="1"/>
          </p:cNvSpPr>
          <p:nvPr/>
        </p:nvSpPr>
        <p:spPr bwMode="gray">
          <a:xfrm>
            <a:off x="1233535" y="3020283"/>
            <a:ext cx="1722741" cy="6806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en-US" b="1" dirty="0" smtClean="0">
                <a:latin typeface="+mn-lt"/>
              </a:rPr>
              <a:t>Acr</a:t>
            </a:r>
            <a:r>
              <a:rPr lang="en-US" b="1" dirty="0" smtClean="0">
                <a:solidFill>
                  <a:srgbClr val="008000"/>
                </a:solidFill>
                <a:latin typeface="Georgia" panose="02040502050405020303" pitchFamily="18" charset="0"/>
              </a:rPr>
              <a:t>E</a:t>
            </a:r>
          </a:p>
          <a:p>
            <a:pPr defTabSz="913526">
              <a:buClr>
                <a:schemeClr val="tx2"/>
              </a:buClr>
            </a:pPr>
            <a:r>
              <a:rPr lang="en-US" i="1" dirty="0" smtClean="0"/>
              <a:t>Agricultural commodity research </a:t>
            </a:r>
            <a:r>
              <a:rPr lang="en-US" i="1" dirty="0"/>
              <a:t>E</a:t>
            </a:r>
            <a:r>
              <a:rPr lang="en-US" i="1" dirty="0" smtClean="0"/>
              <a:t>ngine</a:t>
            </a:r>
            <a:endParaRPr lang="en-US" i="1" dirty="0"/>
          </a:p>
          <a:p>
            <a:pPr defTabSz="913526">
              <a:buClr>
                <a:schemeClr val="tx2"/>
              </a:buClr>
            </a:pPr>
            <a:endParaRPr lang="en-US" b="1" dirty="0">
              <a:latin typeface="+mn-lt"/>
            </a:endParaRPr>
          </a:p>
        </p:txBody>
      </p:sp>
      <p:sp>
        <p:nvSpPr>
          <p:cNvPr id="28" name="Rectangle 6174"/>
          <p:cNvSpPr txBox="1"/>
          <p:nvPr/>
        </p:nvSpPr>
        <p:spPr bwMode="gray">
          <a:xfrm>
            <a:off x="392363" y="4161150"/>
            <a:ext cx="2437347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Combing governmental, NGO, and proprietary crop knowledge into a simple assessment tool</a:t>
            </a:r>
          </a:p>
        </p:txBody>
      </p:sp>
      <p:sp>
        <p:nvSpPr>
          <p:cNvPr id="29" name="McK 1. On-page tracker"/>
          <p:cNvSpPr>
            <a:spLocks noChangeArrowheads="1"/>
          </p:cNvSpPr>
          <p:nvPr/>
        </p:nvSpPr>
        <p:spPr bwMode="gray">
          <a:xfrm>
            <a:off x="121489" y="27537"/>
            <a:ext cx="52578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dirty="0" smtClean="0">
                <a:solidFill>
                  <a:srgbClr val="808080"/>
                </a:solidFill>
                <a:latin typeface="Arial Narrow" pitchFamily="34" charset="0"/>
                <a:ea typeface="+mj-ea"/>
              </a:rPr>
              <a:t>ACRE</a:t>
            </a:r>
            <a:endParaRPr lang="en-US" b="1" baseline="0" noProof="0" dirty="0">
              <a:solidFill>
                <a:srgbClr val="FF0000"/>
              </a:solidFill>
              <a:latin typeface="Arial Narrow" pitchFamily="34" charset="0"/>
              <a:ea typeface="+mj-ea"/>
            </a:endParaRPr>
          </a:p>
        </p:txBody>
      </p:sp>
      <p:grpSp>
        <p:nvGrpSpPr>
          <p:cNvPr id="4" name="Group 29"/>
          <p:cNvGrpSpPr/>
          <p:nvPr/>
        </p:nvGrpSpPr>
        <p:grpSpPr bwMode="gray">
          <a:xfrm>
            <a:off x="483090" y="5333201"/>
            <a:ext cx="1904241" cy="276999"/>
            <a:chOff x="473445" y="4736426"/>
            <a:chExt cx="1866222" cy="271485"/>
          </a:xfrm>
        </p:grpSpPr>
        <p:sp>
          <p:nvSpPr>
            <p:cNvPr id="31" name="RectangleLegend3"/>
            <p:cNvSpPr>
              <a:spLocks noChangeArrowheads="1"/>
            </p:cNvSpPr>
            <p:nvPr/>
          </p:nvSpPr>
          <p:spPr bwMode="gray">
            <a:xfrm>
              <a:off x="473445" y="474753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727445" y="4736426"/>
              <a:ext cx="1612222" cy="2714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dirty="0" smtClean="0">
                  <a:latin typeface="+mn-lt"/>
                </a:rPr>
                <a:t>Raw material info</a:t>
              </a:r>
              <a:endParaRPr lang="en-US" dirty="0">
                <a:latin typeface="+mn-lt"/>
              </a:endParaRPr>
            </a:p>
          </p:txBody>
        </p:sp>
      </p:grpSp>
      <p:grpSp>
        <p:nvGrpSpPr>
          <p:cNvPr id="5" name="Group 32"/>
          <p:cNvGrpSpPr/>
          <p:nvPr/>
        </p:nvGrpSpPr>
        <p:grpSpPr bwMode="gray">
          <a:xfrm>
            <a:off x="483090" y="5687135"/>
            <a:ext cx="2006832" cy="553998"/>
            <a:chOff x="473445" y="5573921"/>
            <a:chExt cx="1966765" cy="542970"/>
          </a:xfrm>
        </p:grpSpPr>
        <p:sp>
          <p:nvSpPr>
            <p:cNvPr id="34" name="RectangleLegend4"/>
            <p:cNvSpPr>
              <a:spLocks noChangeArrowheads="1"/>
            </p:cNvSpPr>
            <p:nvPr/>
          </p:nvSpPr>
          <p:spPr bwMode="gray">
            <a:xfrm>
              <a:off x="473445" y="5585033"/>
              <a:ext cx="165100" cy="160338"/>
            </a:xfrm>
            <a:prstGeom prst="rect">
              <a:avLst/>
            </a:prstGeom>
            <a:solidFill>
              <a:schemeClr val="accent1">
                <a:lumMod val="10000"/>
              </a:schemeClr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35" name="Legend4"/>
            <p:cNvSpPr>
              <a:spLocks noChangeArrowheads="1"/>
            </p:cNvSpPr>
            <p:nvPr/>
          </p:nvSpPr>
          <p:spPr bwMode="gray">
            <a:xfrm>
              <a:off x="727445" y="5573921"/>
              <a:ext cx="1712765" cy="5429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dirty="0" smtClean="0">
                  <a:latin typeface="+mn-lt"/>
                </a:rPr>
                <a:t>Best practices, </a:t>
              </a:r>
            </a:p>
            <a:p>
              <a:pPr defTabSz="913526">
                <a:buClr>
                  <a:schemeClr val="tx2"/>
                </a:buClr>
              </a:pPr>
              <a:r>
                <a:rPr lang="en-US" dirty="0">
                  <a:latin typeface="+mn-lt"/>
                </a:rPr>
                <a:t>t</a:t>
              </a:r>
              <a:r>
                <a:rPr lang="en-US" dirty="0" smtClean="0">
                  <a:latin typeface="+mn-lt"/>
                </a:rPr>
                <a:t>echnical guidance</a:t>
              </a:r>
              <a:endParaRPr lang="en-US" dirty="0">
                <a:latin typeface="+mn-lt"/>
              </a:endParaRPr>
            </a:p>
          </p:txBody>
        </p:sp>
      </p:grpSp>
      <p:grpSp>
        <p:nvGrpSpPr>
          <p:cNvPr id="7" name="Group 35"/>
          <p:cNvGrpSpPr/>
          <p:nvPr/>
        </p:nvGrpSpPr>
        <p:grpSpPr bwMode="gray">
          <a:xfrm>
            <a:off x="421699" y="3036174"/>
            <a:ext cx="541112" cy="872672"/>
            <a:chOff x="365153" y="3408865"/>
            <a:chExt cx="530309" cy="855299"/>
          </a:xfrm>
        </p:grpSpPr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365153" y="3559141"/>
              <a:ext cx="143843" cy="7050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noAutofit/>
            </a:bodyPr>
            <a:lstStyle/>
            <a:p>
              <a:pPr defTabSz="913526">
                <a:lnSpc>
                  <a:spcPts val="1326"/>
                </a:lnSpc>
                <a:buClr>
                  <a:schemeClr val="tx2"/>
                </a:buClr>
              </a:pPr>
              <a:r>
                <a:rPr lang="en-US" sz="1400" b="1" dirty="0" smtClean="0">
                  <a:latin typeface="Georgia" pitchFamily="18" charset="0"/>
                </a:rPr>
                <a:t>A</a:t>
              </a:r>
            </a:p>
            <a:p>
              <a:pPr defTabSz="913526">
                <a:lnSpc>
                  <a:spcPts val="1326"/>
                </a:lnSpc>
                <a:buClr>
                  <a:schemeClr val="tx2"/>
                </a:buClr>
              </a:pPr>
              <a:r>
                <a:rPr lang="en-US" sz="1400" b="1" dirty="0" smtClean="0">
                  <a:latin typeface="Georgia" pitchFamily="18" charset="0"/>
                </a:rPr>
                <a:t>CR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515797" y="3408865"/>
              <a:ext cx="379665" cy="7970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no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4900" b="1" dirty="0">
                  <a:solidFill>
                    <a:srgbClr val="008000"/>
                  </a:solidFill>
                  <a:latin typeface="Georgia" pitchFamily="18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E</a:t>
              </a:r>
            </a:p>
          </p:txBody>
        </p:sp>
      </p:grpSp>
      <p:sp>
        <p:nvSpPr>
          <p:cNvPr id="19" name="Rectangle 18"/>
          <p:cNvSpPr/>
          <p:nvPr/>
        </p:nvSpPr>
        <p:spPr bwMode="gray">
          <a:xfrm>
            <a:off x="1290025" y="1099333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Raw materials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3733035" y="1096978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ier 2/3 suppliers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6338549" y="1240249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ier 1 suppliers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5236251" y="4744931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tores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7130169" y="3209933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uyer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3312100" y="3209933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nsumers</a:t>
            </a:r>
          </a:p>
        </p:txBody>
      </p:sp>
    </p:spTree>
    <p:extLst>
      <p:ext uri="{BB962C8B-B14F-4D97-AF65-F5344CB8AC3E}">
        <p14:creationId xmlns:p14="http://schemas.microsoft.com/office/powerpoint/2010/main" val="503102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673101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8" name="Rounded Rectangle 97"/>
          <p:cNvSpPr/>
          <p:nvPr/>
        </p:nvSpPr>
        <p:spPr bwMode="gray">
          <a:xfrm>
            <a:off x="224311" y="2907172"/>
            <a:ext cx="2627764" cy="3312178"/>
          </a:xfrm>
          <a:prstGeom prst="roundRect">
            <a:avLst>
              <a:gd name="adj" fmla="val 8274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8" name="Freeform 3"/>
          <p:cNvSpPr>
            <a:spLocks/>
          </p:cNvSpPr>
          <p:nvPr/>
        </p:nvSpPr>
        <p:spPr bwMode="gray">
          <a:xfrm>
            <a:off x="1117462" y="990403"/>
            <a:ext cx="5020369" cy="1542024"/>
          </a:xfrm>
          <a:custGeom>
            <a:avLst/>
            <a:gdLst>
              <a:gd name="T0" fmla="*/ 0 w 2554"/>
              <a:gd name="T1" fmla="*/ 0 h 890"/>
              <a:gd name="T2" fmla="*/ 2147483647 w 2554"/>
              <a:gd name="T3" fmla="*/ 0 h 890"/>
              <a:gd name="T4" fmla="*/ 2147483647 w 2554"/>
              <a:gd name="T5" fmla="*/ 2147483647 h 890"/>
              <a:gd name="T6" fmla="*/ 2147483647 w 2554"/>
              <a:gd name="T7" fmla="*/ 2147483647 h 890"/>
              <a:gd name="T8" fmla="*/ 0 w 2554"/>
              <a:gd name="T9" fmla="*/ 2147483647 h 890"/>
              <a:gd name="T10" fmla="*/ 0 w 2554"/>
              <a:gd name="T11" fmla="*/ 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554"/>
              <a:gd name="T19" fmla="*/ 0 h 890"/>
              <a:gd name="T20" fmla="*/ 2554 w 2554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554" h="890">
                <a:moveTo>
                  <a:pt x="0" y="0"/>
                </a:moveTo>
                <a:lnTo>
                  <a:pt x="2368" y="0"/>
                </a:lnTo>
                <a:lnTo>
                  <a:pt x="2554" y="457"/>
                </a:lnTo>
                <a:lnTo>
                  <a:pt x="2370" y="889"/>
                </a:lnTo>
                <a:lnTo>
                  <a:pt x="0" y="89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3296" tIns="46648" rIns="93296" bIns="46648">
            <a:noAutofit/>
          </a:bodyPr>
          <a:lstStyle/>
          <a:p>
            <a:endParaRPr lang="en-US" dirty="0"/>
          </a:p>
        </p:txBody>
      </p:sp>
      <p:grpSp>
        <p:nvGrpSpPr>
          <p:cNvPr id="3" name="Group 49"/>
          <p:cNvGrpSpPr>
            <a:grpSpLocks/>
          </p:cNvGrpSpPr>
          <p:nvPr/>
        </p:nvGrpSpPr>
        <p:grpSpPr bwMode="gray">
          <a:xfrm>
            <a:off x="3094956" y="986835"/>
            <a:ext cx="5611479" cy="5252515"/>
            <a:chOff x="-84370714" y="-50229900"/>
            <a:chExt cx="92615078" cy="92947206"/>
          </a:xfrm>
          <a:solidFill>
            <a:schemeClr val="bg2">
              <a:lumMod val="9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64" name="Freeform 5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-38375416" y="-50229900"/>
              <a:ext cx="46619780" cy="57270904"/>
            </a:xfrm>
            <a:custGeom>
              <a:avLst/>
              <a:gdLst>
                <a:gd name="T0" fmla="*/ 2147483647 w 1530"/>
                <a:gd name="T1" fmla="*/ 2147483647 h 1871"/>
                <a:gd name="T2" fmla="*/ 2147483647 w 1530"/>
                <a:gd name="T3" fmla="*/ 2147483647 h 1871"/>
                <a:gd name="T4" fmla="*/ 2147483647 w 1530"/>
                <a:gd name="T5" fmla="*/ 2147483647 h 1871"/>
                <a:gd name="T6" fmla="*/ 2147483647 w 1530"/>
                <a:gd name="T7" fmla="*/ 2147483647 h 1871"/>
                <a:gd name="T8" fmla="*/ 2147483647 w 1530"/>
                <a:gd name="T9" fmla="*/ 2147483647 h 1871"/>
                <a:gd name="T10" fmla="*/ 2147483647 w 1530"/>
                <a:gd name="T11" fmla="*/ 2147483647 h 1871"/>
                <a:gd name="T12" fmla="*/ 2147483647 w 1530"/>
                <a:gd name="T13" fmla="*/ 2147483647 h 1871"/>
                <a:gd name="T14" fmla="*/ 2147483647 w 1530"/>
                <a:gd name="T15" fmla="*/ 2147483647 h 1871"/>
                <a:gd name="T16" fmla="*/ 2147483647 w 1530"/>
                <a:gd name="T17" fmla="*/ 2147483647 h 1871"/>
                <a:gd name="T18" fmla="*/ 2147483647 w 1530"/>
                <a:gd name="T19" fmla="*/ 2147483647 h 1871"/>
                <a:gd name="T20" fmla="*/ 2147483647 w 1530"/>
                <a:gd name="T21" fmla="*/ 2147483647 h 1871"/>
                <a:gd name="T22" fmla="*/ 2147483647 w 1530"/>
                <a:gd name="T23" fmla="*/ 2147483647 h 1871"/>
                <a:gd name="T24" fmla="*/ 2147483647 w 1530"/>
                <a:gd name="T25" fmla="*/ 2147483647 h 1871"/>
                <a:gd name="T26" fmla="*/ 2147483647 w 1530"/>
                <a:gd name="T27" fmla="*/ 2147483647 h 1871"/>
                <a:gd name="T28" fmla="*/ 2147483647 w 1530"/>
                <a:gd name="T29" fmla="*/ 2147483647 h 1871"/>
                <a:gd name="T30" fmla="*/ 2147483647 w 1530"/>
                <a:gd name="T31" fmla="*/ 2147483647 h 1871"/>
                <a:gd name="T32" fmla="*/ 2147483647 w 1530"/>
                <a:gd name="T33" fmla="*/ 2147483647 h 1871"/>
                <a:gd name="T34" fmla="*/ 2147483647 w 1530"/>
                <a:gd name="T35" fmla="*/ 2147483647 h 1871"/>
                <a:gd name="T36" fmla="*/ 2147483647 w 1530"/>
                <a:gd name="T37" fmla="*/ 2147483647 h 1871"/>
                <a:gd name="T38" fmla="*/ 2147483647 w 1530"/>
                <a:gd name="T39" fmla="*/ 2147483647 h 1871"/>
                <a:gd name="T40" fmla="*/ 2147483647 w 1530"/>
                <a:gd name="T41" fmla="*/ 2147483647 h 1871"/>
                <a:gd name="T42" fmla="*/ 2147483647 w 1530"/>
                <a:gd name="T43" fmla="*/ 2147483647 h 1871"/>
                <a:gd name="T44" fmla="*/ 2147483647 w 1530"/>
                <a:gd name="T45" fmla="*/ 2147483647 h 1871"/>
                <a:gd name="T46" fmla="*/ 2147483647 w 1530"/>
                <a:gd name="T47" fmla="*/ 2147483647 h 1871"/>
                <a:gd name="T48" fmla="*/ 2147483647 w 1530"/>
                <a:gd name="T49" fmla="*/ 2147483647 h 1871"/>
                <a:gd name="T50" fmla="*/ 2147483647 w 1530"/>
                <a:gd name="T51" fmla="*/ 2147483647 h 1871"/>
                <a:gd name="T52" fmla="*/ 2147483647 w 1530"/>
                <a:gd name="T53" fmla="*/ 2147483647 h 1871"/>
                <a:gd name="T54" fmla="*/ 2147483647 w 1530"/>
                <a:gd name="T55" fmla="*/ 2147483647 h 1871"/>
                <a:gd name="T56" fmla="*/ 2147483647 w 1530"/>
                <a:gd name="T57" fmla="*/ 2147483647 h 1871"/>
                <a:gd name="T58" fmla="*/ 2147483647 w 1530"/>
                <a:gd name="T59" fmla="*/ 2147483647 h 1871"/>
                <a:gd name="T60" fmla="*/ 2147483647 w 1530"/>
                <a:gd name="T61" fmla="*/ 2147483647 h 1871"/>
                <a:gd name="T62" fmla="*/ 2147483647 w 1530"/>
                <a:gd name="T63" fmla="*/ 2147483647 h 1871"/>
                <a:gd name="T64" fmla="*/ 2147483647 w 1530"/>
                <a:gd name="T65" fmla="*/ 2147483647 h 1871"/>
                <a:gd name="T66" fmla="*/ 2147483647 w 1530"/>
                <a:gd name="T67" fmla="*/ 2147483647 h 1871"/>
                <a:gd name="T68" fmla="*/ 2147483647 w 1530"/>
                <a:gd name="T69" fmla="*/ 2147483647 h 1871"/>
                <a:gd name="T70" fmla="*/ 2147483647 w 1530"/>
                <a:gd name="T71" fmla="*/ 2147483647 h 1871"/>
                <a:gd name="T72" fmla="*/ 2147483647 w 1530"/>
                <a:gd name="T73" fmla="*/ 2147483647 h 1871"/>
                <a:gd name="T74" fmla="*/ 2147483647 w 1530"/>
                <a:gd name="T75" fmla="*/ 2147483647 h 1871"/>
                <a:gd name="T76" fmla="*/ 2147483647 w 1530"/>
                <a:gd name="T77" fmla="*/ 2147483647 h 1871"/>
                <a:gd name="T78" fmla="*/ 2147483647 w 1530"/>
                <a:gd name="T79" fmla="*/ 2147483647 h 1871"/>
                <a:gd name="T80" fmla="*/ 2147483647 w 1530"/>
                <a:gd name="T81" fmla="*/ 2147483647 h 1871"/>
                <a:gd name="T82" fmla="*/ 2147483647 w 1530"/>
                <a:gd name="T83" fmla="*/ 2147483647 h 1871"/>
                <a:gd name="T84" fmla="*/ 2147483647 w 1530"/>
                <a:gd name="T85" fmla="*/ 2147483647 h 1871"/>
                <a:gd name="T86" fmla="*/ 2147483647 w 1530"/>
                <a:gd name="T87" fmla="*/ 2147483647 h 1871"/>
                <a:gd name="T88" fmla="*/ 2147483647 w 1530"/>
                <a:gd name="T89" fmla="*/ 2147483647 h 1871"/>
                <a:gd name="T90" fmla="*/ 2147483647 w 1530"/>
                <a:gd name="T91" fmla="*/ 2147483647 h 1871"/>
                <a:gd name="T92" fmla="*/ 2147483647 w 1530"/>
                <a:gd name="T93" fmla="*/ 2147483647 h 1871"/>
                <a:gd name="T94" fmla="*/ 2147483647 w 1530"/>
                <a:gd name="T95" fmla="*/ 2147483647 h 1871"/>
                <a:gd name="T96" fmla="*/ 2147483647 w 1530"/>
                <a:gd name="T97" fmla="*/ 0 h 1871"/>
                <a:gd name="T98" fmla="*/ 2147483647 w 1530"/>
                <a:gd name="T99" fmla="*/ 2147483647 h 187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530"/>
                <a:gd name="T151" fmla="*/ 0 h 1871"/>
                <a:gd name="T152" fmla="*/ 1530 w 1530"/>
                <a:gd name="T153" fmla="*/ 1871 h 1871"/>
                <a:gd name="connsiteX0" fmla="*/ 26 w 10000"/>
                <a:gd name="connsiteY0" fmla="*/ 4768 h 10000"/>
                <a:gd name="connsiteX1" fmla="*/ 59 w 10000"/>
                <a:gd name="connsiteY1" fmla="*/ 4762 h 10000"/>
                <a:gd name="connsiteX2" fmla="*/ 163 w 10000"/>
                <a:gd name="connsiteY2" fmla="*/ 4762 h 10000"/>
                <a:gd name="connsiteX3" fmla="*/ 268 w 10000"/>
                <a:gd name="connsiteY3" fmla="*/ 4768 h 10000"/>
                <a:gd name="connsiteX4" fmla="*/ 373 w 10000"/>
                <a:gd name="connsiteY4" fmla="*/ 4773 h 10000"/>
                <a:gd name="connsiteX5" fmla="*/ 477 w 10000"/>
                <a:gd name="connsiteY5" fmla="*/ 4778 h 10000"/>
                <a:gd name="connsiteX6" fmla="*/ 582 w 10000"/>
                <a:gd name="connsiteY6" fmla="*/ 4794 h 10000"/>
                <a:gd name="connsiteX7" fmla="*/ 686 w 10000"/>
                <a:gd name="connsiteY7" fmla="*/ 4805 h 10000"/>
                <a:gd name="connsiteX8" fmla="*/ 784 w 10000"/>
                <a:gd name="connsiteY8" fmla="*/ 4816 h 10000"/>
                <a:gd name="connsiteX9" fmla="*/ 882 w 10000"/>
                <a:gd name="connsiteY9" fmla="*/ 4832 h 10000"/>
                <a:gd name="connsiteX10" fmla="*/ 987 w 10000"/>
                <a:gd name="connsiteY10" fmla="*/ 4848 h 10000"/>
                <a:gd name="connsiteX11" fmla="*/ 1085 w 10000"/>
                <a:gd name="connsiteY11" fmla="*/ 4869 h 10000"/>
                <a:gd name="connsiteX12" fmla="*/ 1183 w 10000"/>
                <a:gd name="connsiteY12" fmla="*/ 4890 h 10000"/>
                <a:gd name="connsiteX13" fmla="*/ 1281 w 10000"/>
                <a:gd name="connsiteY13" fmla="*/ 4912 h 10000"/>
                <a:gd name="connsiteX14" fmla="*/ 1373 w 10000"/>
                <a:gd name="connsiteY14" fmla="*/ 4939 h 10000"/>
                <a:gd name="connsiteX15" fmla="*/ 1471 w 10000"/>
                <a:gd name="connsiteY15" fmla="*/ 4965 h 10000"/>
                <a:gd name="connsiteX16" fmla="*/ 1562 w 10000"/>
                <a:gd name="connsiteY16" fmla="*/ 4997 h 10000"/>
                <a:gd name="connsiteX17" fmla="*/ 1654 w 10000"/>
                <a:gd name="connsiteY17" fmla="*/ 5029 h 10000"/>
                <a:gd name="connsiteX18" fmla="*/ 1745 w 10000"/>
                <a:gd name="connsiteY18" fmla="*/ 5061 h 10000"/>
                <a:gd name="connsiteX19" fmla="*/ 1837 w 10000"/>
                <a:gd name="connsiteY19" fmla="*/ 5094 h 10000"/>
                <a:gd name="connsiteX20" fmla="*/ 1928 w 10000"/>
                <a:gd name="connsiteY20" fmla="*/ 5131 h 10000"/>
                <a:gd name="connsiteX21" fmla="*/ 2020 w 10000"/>
                <a:gd name="connsiteY21" fmla="*/ 5168 h 10000"/>
                <a:gd name="connsiteX22" fmla="*/ 2105 w 10000"/>
                <a:gd name="connsiteY22" fmla="*/ 5211 h 10000"/>
                <a:gd name="connsiteX23" fmla="*/ 2190 w 10000"/>
                <a:gd name="connsiteY23" fmla="*/ 5249 h 10000"/>
                <a:gd name="connsiteX24" fmla="*/ 2275 w 10000"/>
                <a:gd name="connsiteY24" fmla="*/ 5291 h 10000"/>
                <a:gd name="connsiteX25" fmla="*/ 2353 w 10000"/>
                <a:gd name="connsiteY25" fmla="*/ 5334 h 10000"/>
                <a:gd name="connsiteX26" fmla="*/ 2438 w 10000"/>
                <a:gd name="connsiteY26" fmla="*/ 5382 h 10000"/>
                <a:gd name="connsiteX27" fmla="*/ 2516 w 10000"/>
                <a:gd name="connsiteY27" fmla="*/ 5430 h 10000"/>
                <a:gd name="connsiteX28" fmla="*/ 2595 w 10000"/>
                <a:gd name="connsiteY28" fmla="*/ 5478 h 10000"/>
                <a:gd name="connsiteX29" fmla="*/ 2673 w 10000"/>
                <a:gd name="connsiteY29" fmla="*/ 5526 h 10000"/>
                <a:gd name="connsiteX30" fmla="*/ 2752 w 10000"/>
                <a:gd name="connsiteY30" fmla="*/ 5580 h 10000"/>
                <a:gd name="connsiteX31" fmla="*/ 2824 w 10000"/>
                <a:gd name="connsiteY31" fmla="*/ 5633 h 10000"/>
                <a:gd name="connsiteX32" fmla="*/ 2895 w 10000"/>
                <a:gd name="connsiteY32" fmla="*/ 5687 h 10000"/>
                <a:gd name="connsiteX33" fmla="*/ 2967 w 10000"/>
                <a:gd name="connsiteY33" fmla="*/ 5746 h 10000"/>
                <a:gd name="connsiteX34" fmla="*/ 3033 w 10000"/>
                <a:gd name="connsiteY34" fmla="*/ 5804 h 10000"/>
                <a:gd name="connsiteX35" fmla="*/ 3105 w 10000"/>
                <a:gd name="connsiteY35" fmla="*/ 5863 h 10000"/>
                <a:gd name="connsiteX36" fmla="*/ 3170 w 10000"/>
                <a:gd name="connsiteY36" fmla="*/ 5922 h 10000"/>
                <a:gd name="connsiteX37" fmla="*/ 3229 w 10000"/>
                <a:gd name="connsiteY37" fmla="*/ 5986 h 10000"/>
                <a:gd name="connsiteX38" fmla="*/ 3294 w 10000"/>
                <a:gd name="connsiteY38" fmla="*/ 6045 h 10000"/>
                <a:gd name="connsiteX39" fmla="*/ 3353 w 10000"/>
                <a:gd name="connsiteY39" fmla="*/ 6109 h 10000"/>
                <a:gd name="connsiteX40" fmla="*/ 3412 w 10000"/>
                <a:gd name="connsiteY40" fmla="*/ 6173 h 10000"/>
                <a:gd name="connsiteX41" fmla="*/ 3471 w 10000"/>
                <a:gd name="connsiteY41" fmla="*/ 6237 h 10000"/>
                <a:gd name="connsiteX42" fmla="*/ 3523 w 10000"/>
                <a:gd name="connsiteY42" fmla="*/ 6307 h 10000"/>
                <a:gd name="connsiteX43" fmla="*/ 3575 w 10000"/>
                <a:gd name="connsiteY43" fmla="*/ 6376 h 10000"/>
                <a:gd name="connsiteX44" fmla="*/ 3627 w 10000"/>
                <a:gd name="connsiteY44" fmla="*/ 6446 h 10000"/>
                <a:gd name="connsiteX45" fmla="*/ 3680 w 10000"/>
                <a:gd name="connsiteY45" fmla="*/ 6515 h 10000"/>
                <a:gd name="connsiteX46" fmla="*/ 3719 w 10000"/>
                <a:gd name="connsiteY46" fmla="*/ 6590 h 10000"/>
                <a:gd name="connsiteX47" fmla="*/ 3771 w 10000"/>
                <a:gd name="connsiteY47" fmla="*/ 6665 h 10000"/>
                <a:gd name="connsiteX48" fmla="*/ 3810 w 10000"/>
                <a:gd name="connsiteY48" fmla="*/ 6734 h 10000"/>
                <a:gd name="connsiteX49" fmla="*/ 3850 w 10000"/>
                <a:gd name="connsiteY49" fmla="*/ 6809 h 10000"/>
                <a:gd name="connsiteX50" fmla="*/ 3889 w 10000"/>
                <a:gd name="connsiteY50" fmla="*/ 6884 h 10000"/>
                <a:gd name="connsiteX51" fmla="*/ 3922 w 10000"/>
                <a:gd name="connsiteY51" fmla="*/ 6959 h 10000"/>
                <a:gd name="connsiteX52" fmla="*/ 3954 w 10000"/>
                <a:gd name="connsiteY52" fmla="*/ 7039 h 10000"/>
                <a:gd name="connsiteX53" fmla="*/ 3987 w 10000"/>
                <a:gd name="connsiteY53" fmla="*/ 7119 h 10000"/>
                <a:gd name="connsiteX54" fmla="*/ 4020 w 10000"/>
                <a:gd name="connsiteY54" fmla="*/ 7194 h 10000"/>
                <a:gd name="connsiteX55" fmla="*/ 4046 w 10000"/>
                <a:gd name="connsiteY55" fmla="*/ 7274 h 10000"/>
                <a:gd name="connsiteX56" fmla="*/ 4065 w 10000"/>
                <a:gd name="connsiteY56" fmla="*/ 7354 h 10000"/>
                <a:gd name="connsiteX57" fmla="*/ 4092 w 10000"/>
                <a:gd name="connsiteY57" fmla="*/ 7440 h 10000"/>
                <a:gd name="connsiteX58" fmla="*/ 4111 w 10000"/>
                <a:gd name="connsiteY58" fmla="*/ 7520 h 10000"/>
                <a:gd name="connsiteX59" fmla="*/ 4131 w 10000"/>
                <a:gd name="connsiteY59" fmla="*/ 7600 h 10000"/>
                <a:gd name="connsiteX60" fmla="*/ 4144 w 10000"/>
                <a:gd name="connsiteY60" fmla="*/ 7686 h 10000"/>
                <a:gd name="connsiteX61" fmla="*/ 4157 w 10000"/>
                <a:gd name="connsiteY61" fmla="*/ 7771 h 10000"/>
                <a:gd name="connsiteX62" fmla="*/ 4163 w 10000"/>
                <a:gd name="connsiteY62" fmla="*/ 7857 h 10000"/>
                <a:gd name="connsiteX63" fmla="*/ 4170 w 10000"/>
                <a:gd name="connsiteY63" fmla="*/ 7942 h 10000"/>
                <a:gd name="connsiteX64" fmla="*/ 4170 w 10000"/>
                <a:gd name="connsiteY64" fmla="*/ 8028 h 10000"/>
                <a:gd name="connsiteX65" fmla="*/ 4176 w 10000"/>
                <a:gd name="connsiteY65" fmla="*/ 8113 h 10000"/>
                <a:gd name="connsiteX66" fmla="*/ 4170 w 10000"/>
                <a:gd name="connsiteY66" fmla="*/ 8226 h 10000"/>
                <a:gd name="connsiteX67" fmla="*/ 4163 w 10000"/>
                <a:gd name="connsiteY67" fmla="*/ 8343 h 10000"/>
                <a:gd name="connsiteX68" fmla="*/ 4157 w 10000"/>
                <a:gd name="connsiteY68" fmla="*/ 8450 h 10000"/>
                <a:gd name="connsiteX69" fmla="*/ 4137 w 10000"/>
                <a:gd name="connsiteY69" fmla="*/ 8562 h 10000"/>
                <a:gd name="connsiteX70" fmla="*/ 6739 w 10000"/>
                <a:gd name="connsiteY70" fmla="*/ 10000 h 10000"/>
                <a:gd name="connsiteX71" fmla="*/ 9850 w 10000"/>
                <a:gd name="connsiteY71" fmla="*/ 9498 h 10000"/>
                <a:gd name="connsiteX72" fmla="*/ 9889 w 10000"/>
                <a:gd name="connsiteY72" fmla="*/ 9332 h 10000"/>
                <a:gd name="connsiteX73" fmla="*/ 9915 w 10000"/>
                <a:gd name="connsiteY73" fmla="*/ 9161 h 10000"/>
                <a:gd name="connsiteX74" fmla="*/ 9941 w 10000"/>
                <a:gd name="connsiteY74" fmla="*/ 8990 h 10000"/>
                <a:gd name="connsiteX75" fmla="*/ 9961 w 10000"/>
                <a:gd name="connsiteY75" fmla="*/ 8813 h 10000"/>
                <a:gd name="connsiteX76" fmla="*/ 9974 w 10000"/>
                <a:gd name="connsiteY76" fmla="*/ 8637 h 10000"/>
                <a:gd name="connsiteX77" fmla="*/ 9987 w 10000"/>
                <a:gd name="connsiteY77" fmla="*/ 8466 h 10000"/>
                <a:gd name="connsiteX78" fmla="*/ 9993 w 10000"/>
                <a:gd name="connsiteY78" fmla="*/ 8290 h 10000"/>
                <a:gd name="connsiteX79" fmla="*/ 10000 w 10000"/>
                <a:gd name="connsiteY79" fmla="*/ 8113 h 10000"/>
                <a:gd name="connsiteX80" fmla="*/ 9993 w 10000"/>
                <a:gd name="connsiteY80" fmla="*/ 7900 h 10000"/>
                <a:gd name="connsiteX81" fmla="*/ 9987 w 10000"/>
                <a:gd name="connsiteY81" fmla="*/ 7696 h 10000"/>
                <a:gd name="connsiteX82" fmla="*/ 9967 w 10000"/>
                <a:gd name="connsiteY82" fmla="*/ 7488 h 10000"/>
                <a:gd name="connsiteX83" fmla="*/ 9948 w 10000"/>
                <a:gd name="connsiteY83" fmla="*/ 7285 h 10000"/>
                <a:gd name="connsiteX84" fmla="*/ 9915 w 10000"/>
                <a:gd name="connsiteY84" fmla="*/ 7076 h 10000"/>
                <a:gd name="connsiteX85" fmla="*/ 9882 w 10000"/>
                <a:gd name="connsiteY85" fmla="*/ 6879 h 10000"/>
                <a:gd name="connsiteX86" fmla="*/ 9843 w 10000"/>
                <a:gd name="connsiteY86" fmla="*/ 6676 h 10000"/>
                <a:gd name="connsiteX87" fmla="*/ 9797 w 10000"/>
                <a:gd name="connsiteY87" fmla="*/ 6478 h 10000"/>
                <a:gd name="connsiteX88" fmla="*/ 9745 w 10000"/>
                <a:gd name="connsiteY88" fmla="*/ 6280 h 10000"/>
                <a:gd name="connsiteX89" fmla="*/ 9686 w 10000"/>
                <a:gd name="connsiteY89" fmla="*/ 6088 h 10000"/>
                <a:gd name="connsiteX90" fmla="*/ 9621 w 10000"/>
                <a:gd name="connsiteY90" fmla="*/ 5890 h 10000"/>
                <a:gd name="connsiteX91" fmla="*/ 9556 w 10000"/>
                <a:gd name="connsiteY91" fmla="*/ 5697 h 10000"/>
                <a:gd name="connsiteX92" fmla="*/ 9477 w 10000"/>
                <a:gd name="connsiteY92" fmla="*/ 5510 h 10000"/>
                <a:gd name="connsiteX93" fmla="*/ 9399 w 10000"/>
                <a:gd name="connsiteY93" fmla="*/ 5323 h 10000"/>
                <a:gd name="connsiteX94" fmla="*/ 9307 w 10000"/>
                <a:gd name="connsiteY94" fmla="*/ 5136 h 10000"/>
                <a:gd name="connsiteX95" fmla="*/ 9216 w 10000"/>
                <a:gd name="connsiteY95" fmla="*/ 4955 h 10000"/>
                <a:gd name="connsiteX96" fmla="*/ 9124 w 10000"/>
                <a:gd name="connsiteY96" fmla="*/ 4773 h 10000"/>
                <a:gd name="connsiteX97" fmla="*/ 9020 w 10000"/>
                <a:gd name="connsiteY97" fmla="*/ 4596 h 10000"/>
                <a:gd name="connsiteX98" fmla="*/ 8915 w 10000"/>
                <a:gd name="connsiteY98" fmla="*/ 4420 h 10000"/>
                <a:gd name="connsiteX99" fmla="*/ 8804 w 10000"/>
                <a:gd name="connsiteY99" fmla="*/ 4244 h 10000"/>
                <a:gd name="connsiteX100" fmla="*/ 8686 w 10000"/>
                <a:gd name="connsiteY100" fmla="*/ 4073 h 10000"/>
                <a:gd name="connsiteX101" fmla="*/ 8562 w 10000"/>
                <a:gd name="connsiteY101" fmla="*/ 3907 h 10000"/>
                <a:gd name="connsiteX102" fmla="*/ 8438 w 10000"/>
                <a:gd name="connsiteY102" fmla="*/ 3741 h 10000"/>
                <a:gd name="connsiteX103" fmla="*/ 8307 w 10000"/>
                <a:gd name="connsiteY103" fmla="*/ 3576 h 10000"/>
                <a:gd name="connsiteX104" fmla="*/ 8170 w 10000"/>
                <a:gd name="connsiteY104" fmla="*/ 3415 h 10000"/>
                <a:gd name="connsiteX105" fmla="*/ 8026 w 10000"/>
                <a:gd name="connsiteY105" fmla="*/ 3260 h 10000"/>
                <a:gd name="connsiteX106" fmla="*/ 7882 w 10000"/>
                <a:gd name="connsiteY106" fmla="*/ 3105 h 10000"/>
                <a:gd name="connsiteX107" fmla="*/ 7732 w 10000"/>
                <a:gd name="connsiteY107" fmla="*/ 2950 h 10000"/>
                <a:gd name="connsiteX108" fmla="*/ 7582 w 10000"/>
                <a:gd name="connsiteY108" fmla="*/ 2806 h 10000"/>
                <a:gd name="connsiteX109" fmla="*/ 7418 w 10000"/>
                <a:gd name="connsiteY109" fmla="*/ 2662 h 10000"/>
                <a:gd name="connsiteX110" fmla="*/ 7261 w 10000"/>
                <a:gd name="connsiteY110" fmla="*/ 2517 h 10000"/>
                <a:gd name="connsiteX111" fmla="*/ 7092 w 10000"/>
                <a:gd name="connsiteY111" fmla="*/ 2373 h 10000"/>
                <a:gd name="connsiteX112" fmla="*/ 6922 w 10000"/>
                <a:gd name="connsiteY112" fmla="*/ 2239 h 10000"/>
                <a:gd name="connsiteX113" fmla="*/ 6752 w 10000"/>
                <a:gd name="connsiteY113" fmla="*/ 2106 h 10000"/>
                <a:gd name="connsiteX114" fmla="*/ 6569 w 10000"/>
                <a:gd name="connsiteY114" fmla="*/ 1978 h 10000"/>
                <a:gd name="connsiteX115" fmla="*/ 6386 w 10000"/>
                <a:gd name="connsiteY115" fmla="*/ 1855 h 10000"/>
                <a:gd name="connsiteX116" fmla="*/ 6203 w 10000"/>
                <a:gd name="connsiteY116" fmla="*/ 1732 h 10000"/>
                <a:gd name="connsiteX117" fmla="*/ 6013 w 10000"/>
                <a:gd name="connsiteY117" fmla="*/ 1614 h 10000"/>
                <a:gd name="connsiteX118" fmla="*/ 5817 w 10000"/>
                <a:gd name="connsiteY118" fmla="*/ 1497 h 10000"/>
                <a:gd name="connsiteX119" fmla="*/ 5621 w 10000"/>
                <a:gd name="connsiteY119" fmla="*/ 1384 h 10000"/>
                <a:gd name="connsiteX120" fmla="*/ 5425 w 10000"/>
                <a:gd name="connsiteY120" fmla="*/ 1277 h 10000"/>
                <a:gd name="connsiteX121" fmla="*/ 5222 w 10000"/>
                <a:gd name="connsiteY121" fmla="*/ 1176 h 10000"/>
                <a:gd name="connsiteX122" fmla="*/ 5020 w 10000"/>
                <a:gd name="connsiteY122" fmla="*/ 1074 h 10000"/>
                <a:gd name="connsiteX123" fmla="*/ 4804 w 10000"/>
                <a:gd name="connsiteY123" fmla="*/ 978 h 10000"/>
                <a:gd name="connsiteX124" fmla="*/ 4595 w 10000"/>
                <a:gd name="connsiteY124" fmla="*/ 887 h 10000"/>
                <a:gd name="connsiteX125" fmla="*/ 4379 w 10000"/>
                <a:gd name="connsiteY125" fmla="*/ 802 h 10000"/>
                <a:gd name="connsiteX126" fmla="*/ 4157 w 10000"/>
                <a:gd name="connsiteY126" fmla="*/ 716 h 10000"/>
                <a:gd name="connsiteX127" fmla="*/ 3941 w 10000"/>
                <a:gd name="connsiteY127" fmla="*/ 636 h 10000"/>
                <a:gd name="connsiteX128" fmla="*/ 3719 w 10000"/>
                <a:gd name="connsiteY128" fmla="*/ 567 h 10000"/>
                <a:gd name="connsiteX129" fmla="*/ 3490 w 10000"/>
                <a:gd name="connsiteY129" fmla="*/ 492 h 10000"/>
                <a:gd name="connsiteX130" fmla="*/ 3261 w 10000"/>
                <a:gd name="connsiteY130" fmla="*/ 428 h 10000"/>
                <a:gd name="connsiteX131" fmla="*/ 3026 w 10000"/>
                <a:gd name="connsiteY131" fmla="*/ 363 h 10000"/>
                <a:gd name="connsiteX132" fmla="*/ 2797 w 10000"/>
                <a:gd name="connsiteY132" fmla="*/ 310 h 10000"/>
                <a:gd name="connsiteX133" fmla="*/ 2556 w 10000"/>
                <a:gd name="connsiteY133" fmla="*/ 257 h 10000"/>
                <a:gd name="connsiteX134" fmla="*/ 2314 w 10000"/>
                <a:gd name="connsiteY134" fmla="*/ 208 h 10000"/>
                <a:gd name="connsiteX135" fmla="*/ 2078 w 10000"/>
                <a:gd name="connsiteY135" fmla="*/ 166 h 10000"/>
                <a:gd name="connsiteX136" fmla="*/ 1837 w 10000"/>
                <a:gd name="connsiteY136" fmla="*/ 128 h 10000"/>
                <a:gd name="connsiteX137" fmla="*/ 1588 w 10000"/>
                <a:gd name="connsiteY137" fmla="*/ 91 h 10000"/>
                <a:gd name="connsiteX138" fmla="*/ 1340 w 10000"/>
                <a:gd name="connsiteY138" fmla="*/ 64 h 10000"/>
                <a:gd name="connsiteX139" fmla="*/ 1092 w 10000"/>
                <a:gd name="connsiteY139" fmla="*/ 43 h 10000"/>
                <a:gd name="connsiteX140" fmla="*/ 843 w 10000"/>
                <a:gd name="connsiteY140" fmla="*/ 27 h 10000"/>
                <a:gd name="connsiteX141" fmla="*/ 588 w 10000"/>
                <a:gd name="connsiteY141" fmla="*/ 11 h 10000"/>
                <a:gd name="connsiteX142" fmla="*/ 333 w 10000"/>
                <a:gd name="connsiteY142" fmla="*/ 5 h 10000"/>
                <a:gd name="connsiteX143" fmla="*/ 78 w 10000"/>
                <a:gd name="connsiteY143" fmla="*/ 0 h 10000"/>
                <a:gd name="connsiteX144" fmla="*/ 0 w 10000"/>
                <a:gd name="connsiteY144" fmla="*/ 5 h 10000"/>
                <a:gd name="connsiteX145" fmla="*/ 1245 w 10000"/>
                <a:gd name="connsiteY145" fmla="*/ 2475 h 10000"/>
                <a:gd name="connsiteX146" fmla="*/ 26 w 10000"/>
                <a:gd name="connsiteY146" fmla="*/ 4768 h 10000"/>
                <a:gd name="connsiteX0" fmla="*/ 26 w 10000"/>
                <a:gd name="connsiteY0" fmla="*/ 4768 h 10000"/>
                <a:gd name="connsiteX1" fmla="*/ 59 w 10000"/>
                <a:gd name="connsiteY1" fmla="*/ 4762 h 10000"/>
                <a:gd name="connsiteX2" fmla="*/ 163 w 10000"/>
                <a:gd name="connsiteY2" fmla="*/ 4762 h 10000"/>
                <a:gd name="connsiteX3" fmla="*/ 268 w 10000"/>
                <a:gd name="connsiteY3" fmla="*/ 4768 h 10000"/>
                <a:gd name="connsiteX4" fmla="*/ 373 w 10000"/>
                <a:gd name="connsiteY4" fmla="*/ 4773 h 10000"/>
                <a:gd name="connsiteX5" fmla="*/ 477 w 10000"/>
                <a:gd name="connsiteY5" fmla="*/ 4778 h 10000"/>
                <a:gd name="connsiteX6" fmla="*/ 582 w 10000"/>
                <a:gd name="connsiteY6" fmla="*/ 4794 h 10000"/>
                <a:gd name="connsiteX7" fmla="*/ 686 w 10000"/>
                <a:gd name="connsiteY7" fmla="*/ 4805 h 10000"/>
                <a:gd name="connsiteX8" fmla="*/ 784 w 10000"/>
                <a:gd name="connsiteY8" fmla="*/ 4816 h 10000"/>
                <a:gd name="connsiteX9" fmla="*/ 882 w 10000"/>
                <a:gd name="connsiteY9" fmla="*/ 4832 h 10000"/>
                <a:gd name="connsiteX10" fmla="*/ 987 w 10000"/>
                <a:gd name="connsiteY10" fmla="*/ 4848 h 10000"/>
                <a:gd name="connsiteX11" fmla="*/ 1085 w 10000"/>
                <a:gd name="connsiteY11" fmla="*/ 4869 h 10000"/>
                <a:gd name="connsiteX12" fmla="*/ 1183 w 10000"/>
                <a:gd name="connsiteY12" fmla="*/ 4890 h 10000"/>
                <a:gd name="connsiteX13" fmla="*/ 1281 w 10000"/>
                <a:gd name="connsiteY13" fmla="*/ 4912 h 10000"/>
                <a:gd name="connsiteX14" fmla="*/ 1373 w 10000"/>
                <a:gd name="connsiteY14" fmla="*/ 4939 h 10000"/>
                <a:gd name="connsiteX15" fmla="*/ 1471 w 10000"/>
                <a:gd name="connsiteY15" fmla="*/ 4965 h 10000"/>
                <a:gd name="connsiteX16" fmla="*/ 1562 w 10000"/>
                <a:gd name="connsiteY16" fmla="*/ 4997 h 10000"/>
                <a:gd name="connsiteX17" fmla="*/ 1654 w 10000"/>
                <a:gd name="connsiteY17" fmla="*/ 5029 h 10000"/>
                <a:gd name="connsiteX18" fmla="*/ 1745 w 10000"/>
                <a:gd name="connsiteY18" fmla="*/ 5061 h 10000"/>
                <a:gd name="connsiteX19" fmla="*/ 1837 w 10000"/>
                <a:gd name="connsiteY19" fmla="*/ 5094 h 10000"/>
                <a:gd name="connsiteX20" fmla="*/ 1928 w 10000"/>
                <a:gd name="connsiteY20" fmla="*/ 5131 h 10000"/>
                <a:gd name="connsiteX21" fmla="*/ 2020 w 10000"/>
                <a:gd name="connsiteY21" fmla="*/ 5168 h 10000"/>
                <a:gd name="connsiteX22" fmla="*/ 2105 w 10000"/>
                <a:gd name="connsiteY22" fmla="*/ 5211 h 10000"/>
                <a:gd name="connsiteX23" fmla="*/ 2190 w 10000"/>
                <a:gd name="connsiteY23" fmla="*/ 5249 h 10000"/>
                <a:gd name="connsiteX24" fmla="*/ 2275 w 10000"/>
                <a:gd name="connsiteY24" fmla="*/ 5291 h 10000"/>
                <a:gd name="connsiteX25" fmla="*/ 2353 w 10000"/>
                <a:gd name="connsiteY25" fmla="*/ 5334 h 10000"/>
                <a:gd name="connsiteX26" fmla="*/ 2438 w 10000"/>
                <a:gd name="connsiteY26" fmla="*/ 5382 h 10000"/>
                <a:gd name="connsiteX27" fmla="*/ 2516 w 10000"/>
                <a:gd name="connsiteY27" fmla="*/ 5430 h 10000"/>
                <a:gd name="connsiteX28" fmla="*/ 2595 w 10000"/>
                <a:gd name="connsiteY28" fmla="*/ 5478 h 10000"/>
                <a:gd name="connsiteX29" fmla="*/ 2673 w 10000"/>
                <a:gd name="connsiteY29" fmla="*/ 5526 h 10000"/>
                <a:gd name="connsiteX30" fmla="*/ 2752 w 10000"/>
                <a:gd name="connsiteY30" fmla="*/ 5580 h 10000"/>
                <a:gd name="connsiteX31" fmla="*/ 2824 w 10000"/>
                <a:gd name="connsiteY31" fmla="*/ 5633 h 10000"/>
                <a:gd name="connsiteX32" fmla="*/ 2895 w 10000"/>
                <a:gd name="connsiteY32" fmla="*/ 5687 h 10000"/>
                <a:gd name="connsiteX33" fmla="*/ 2967 w 10000"/>
                <a:gd name="connsiteY33" fmla="*/ 5746 h 10000"/>
                <a:gd name="connsiteX34" fmla="*/ 3033 w 10000"/>
                <a:gd name="connsiteY34" fmla="*/ 5804 h 10000"/>
                <a:gd name="connsiteX35" fmla="*/ 3105 w 10000"/>
                <a:gd name="connsiteY35" fmla="*/ 5863 h 10000"/>
                <a:gd name="connsiteX36" fmla="*/ 3170 w 10000"/>
                <a:gd name="connsiteY36" fmla="*/ 5922 h 10000"/>
                <a:gd name="connsiteX37" fmla="*/ 3229 w 10000"/>
                <a:gd name="connsiteY37" fmla="*/ 5986 h 10000"/>
                <a:gd name="connsiteX38" fmla="*/ 3294 w 10000"/>
                <a:gd name="connsiteY38" fmla="*/ 6045 h 10000"/>
                <a:gd name="connsiteX39" fmla="*/ 3353 w 10000"/>
                <a:gd name="connsiteY39" fmla="*/ 6109 h 10000"/>
                <a:gd name="connsiteX40" fmla="*/ 3412 w 10000"/>
                <a:gd name="connsiteY40" fmla="*/ 6173 h 10000"/>
                <a:gd name="connsiteX41" fmla="*/ 3471 w 10000"/>
                <a:gd name="connsiteY41" fmla="*/ 6237 h 10000"/>
                <a:gd name="connsiteX42" fmla="*/ 3523 w 10000"/>
                <a:gd name="connsiteY42" fmla="*/ 6307 h 10000"/>
                <a:gd name="connsiteX43" fmla="*/ 3575 w 10000"/>
                <a:gd name="connsiteY43" fmla="*/ 6376 h 10000"/>
                <a:gd name="connsiteX44" fmla="*/ 3627 w 10000"/>
                <a:gd name="connsiteY44" fmla="*/ 6446 h 10000"/>
                <a:gd name="connsiteX45" fmla="*/ 3680 w 10000"/>
                <a:gd name="connsiteY45" fmla="*/ 6515 h 10000"/>
                <a:gd name="connsiteX46" fmla="*/ 3719 w 10000"/>
                <a:gd name="connsiteY46" fmla="*/ 6590 h 10000"/>
                <a:gd name="connsiteX47" fmla="*/ 3771 w 10000"/>
                <a:gd name="connsiteY47" fmla="*/ 6665 h 10000"/>
                <a:gd name="connsiteX48" fmla="*/ 3810 w 10000"/>
                <a:gd name="connsiteY48" fmla="*/ 6734 h 10000"/>
                <a:gd name="connsiteX49" fmla="*/ 3850 w 10000"/>
                <a:gd name="connsiteY49" fmla="*/ 6809 h 10000"/>
                <a:gd name="connsiteX50" fmla="*/ 3889 w 10000"/>
                <a:gd name="connsiteY50" fmla="*/ 6884 h 10000"/>
                <a:gd name="connsiteX51" fmla="*/ 3922 w 10000"/>
                <a:gd name="connsiteY51" fmla="*/ 6959 h 10000"/>
                <a:gd name="connsiteX52" fmla="*/ 3954 w 10000"/>
                <a:gd name="connsiteY52" fmla="*/ 7039 h 10000"/>
                <a:gd name="connsiteX53" fmla="*/ 3987 w 10000"/>
                <a:gd name="connsiteY53" fmla="*/ 7119 h 10000"/>
                <a:gd name="connsiteX54" fmla="*/ 4020 w 10000"/>
                <a:gd name="connsiteY54" fmla="*/ 7194 h 10000"/>
                <a:gd name="connsiteX55" fmla="*/ 4046 w 10000"/>
                <a:gd name="connsiteY55" fmla="*/ 7274 h 10000"/>
                <a:gd name="connsiteX56" fmla="*/ 4065 w 10000"/>
                <a:gd name="connsiteY56" fmla="*/ 7354 h 10000"/>
                <a:gd name="connsiteX57" fmla="*/ 4092 w 10000"/>
                <a:gd name="connsiteY57" fmla="*/ 7440 h 10000"/>
                <a:gd name="connsiteX58" fmla="*/ 4111 w 10000"/>
                <a:gd name="connsiteY58" fmla="*/ 7520 h 10000"/>
                <a:gd name="connsiteX59" fmla="*/ 4131 w 10000"/>
                <a:gd name="connsiteY59" fmla="*/ 7600 h 10000"/>
                <a:gd name="connsiteX60" fmla="*/ 4144 w 10000"/>
                <a:gd name="connsiteY60" fmla="*/ 7686 h 10000"/>
                <a:gd name="connsiteX61" fmla="*/ 4157 w 10000"/>
                <a:gd name="connsiteY61" fmla="*/ 7771 h 10000"/>
                <a:gd name="connsiteX62" fmla="*/ 4163 w 10000"/>
                <a:gd name="connsiteY62" fmla="*/ 7857 h 10000"/>
                <a:gd name="connsiteX63" fmla="*/ 4170 w 10000"/>
                <a:gd name="connsiteY63" fmla="*/ 7942 h 10000"/>
                <a:gd name="connsiteX64" fmla="*/ 4170 w 10000"/>
                <a:gd name="connsiteY64" fmla="*/ 8028 h 10000"/>
                <a:gd name="connsiteX65" fmla="*/ 4176 w 10000"/>
                <a:gd name="connsiteY65" fmla="*/ 8113 h 10000"/>
                <a:gd name="connsiteX66" fmla="*/ 4170 w 10000"/>
                <a:gd name="connsiteY66" fmla="*/ 8226 h 10000"/>
                <a:gd name="connsiteX67" fmla="*/ 4163 w 10000"/>
                <a:gd name="connsiteY67" fmla="*/ 8343 h 10000"/>
                <a:gd name="connsiteX68" fmla="*/ 4157 w 10000"/>
                <a:gd name="connsiteY68" fmla="*/ 8450 h 10000"/>
                <a:gd name="connsiteX69" fmla="*/ 4137 w 10000"/>
                <a:gd name="connsiteY69" fmla="*/ 8562 h 10000"/>
                <a:gd name="connsiteX70" fmla="*/ 6739 w 10000"/>
                <a:gd name="connsiteY70" fmla="*/ 10000 h 10000"/>
                <a:gd name="connsiteX71" fmla="*/ 9850 w 10000"/>
                <a:gd name="connsiteY71" fmla="*/ 9498 h 10000"/>
                <a:gd name="connsiteX72" fmla="*/ 9889 w 10000"/>
                <a:gd name="connsiteY72" fmla="*/ 9332 h 10000"/>
                <a:gd name="connsiteX73" fmla="*/ 9915 w 10000"/>
                <a:gd name="connsiteY73" fmla="*/ 9161 h 10000"/>
                <a:gd name="connsiteX74" fmla="*/ 9941 w 10000"/>
                <a:gd name="connsiteY74" fmla="*/ 8990 h 10000"/>
                <a:gd name="connsiteX75" fmla="*/ 9961 w 10000"/>
                <a:gd name="connsiteY75" fmla="*/ 8813 h 10000"/>
                <a:gd name="connsiteX76" fmla="*/ 9974 w 10000"/>
                <a:gd name="connsiteY76" fmla="*/ 8637 h 10000"/>
                <a:gd name="connsiteX77" fmla="*/ 9987 w 10000"/>
                <a:gd name="connsiteY77" fmla="*/ 8466 h 10000"/>
                <a:gd name="connsiteX78" fmla="*/ 9993 w 10000"/>
                <a:gd name="connsiteY78" fmla="*/ 8290 h 10000"/>
                <a:gd name="connsiteX79" fmla="*/ 10000 w 10000"/>
                <a:gd name="connsiteY79" fmla="*/ 8113 h 10000"/>
                <a:gd name="connsiteX80" fmla="*/ 9993 w 10000"/>
                <a:gd name="connsiteY80" fmla="*/ 7900 h 10000"/>
                <a:gd name="connsiteX81" fmla="*/ 9987 w 10000"/>
                <a:gd name="connsiteY81" fmla="*/ 7696 h 10000"/>
                <a:gd name="connsiteX82" fmla="*/ 9967 w 10000"/>
                <a:gd name="connsiteY82" fmla="*/ 7488 h 10000"/>
                <a:gd name="connsiteX83" fmla="*/ 9948 w 10000"/>
                <a:gd name="connsiteY83" fmla="*/ 7285 h 10000"/>
                <a:gd name="connsiteX84" fmla="*/ 9915 w 10000"/>
                <a:gd name="connsiteY84" fmla="*/ 7076 h 10000"/>
                <a:gd name="connsiteX85" fmla="*/ 9882 w 10000"/>
                <a:gd name="connsiteY85" fmla="*/ 6879 h 10000"/>
                <a:gd name="connsiteX86" fmla="*/ 9843 w 10000"/>
                <a:gd name="connsiteY86" fmla="*/ 6676 h 10000"/>
                <a:gd name="connsiteX87" fmla="*/ 9797 w 10000"/>
                <a:gd name="connsiteY87" fmla="*/ 6478 h 10000"/>
                <a:gd name="connsiteX88" fmla="*/ 9745 w 10000"/>
                <a:gd name="connsiteY88" fmla="*/ 6280 h 10000"/>
                <a:gd name="connsiteX89" fmla="*/ 9686 w 10000"/>
                <a:gd name="connsiteY89" fmla="*/ 6088 h 10000"/>
                <a:gd name="connsiteX90" fmla="*/ 9621 w 10000"/>
                <a:gd name="connsiteY90" fmla="*/ 5890 h 10000"/>
                <a:gd name="connsiteX91" fmla="*/ 9556 w 10000"/>
                <a:gd name="connsiteY91" fmla="*/ 5697 h 10000"/>
                <a:gd name="connsiteX92" fmla="*/ 9477 w 10000"/>
                <a:gd name="connsiteY92" fmla="*/ 5510 h 10000"/>
                <a:gd name="connsiteX93" fmla="*/ 9399 w 10000"/>
                <a:gd name="connsiteY93" fmla="*/ 5323 h 10000"/>
                <a:gd name="connsiteX94" fmla="*/ 9307 w 10000"/>
                <a:gd name="connsiteY94" fmla="*/ 5136 h 10000"/>
                <a:gd name="connsiteX95" fmla="*/ 9216 w 10000"/>
                <a:gd name="connsiteY95" fmla="*/ 4955 h 10000"/>
                <a:gd name="connsiteX96" fmla="*/ 9124 w 10000"/>
                <a:gd name="connsiteY96" fmla="*/ 4773 h 10000"/>
                <a:gd name="connsiteX97" fmla="*/ 9020 w 10000"/>
                <a:gd name="connsiteY97" fmla="*/ 4596 h 10000"/>
                <a:gd name="connsiteX98" fmla="*/ 8915 w 10000"/>
                <a:gd name="connsiteY98" fmla="*/ 4420 h 10000"/>
                <a:gd name="connsiteX99" fmla="*/ 8804 w 10000"/>
                <a:gd name="connsiteY99" fmla="*/ 4244 h 10000"/>
                <a:gd name="connsiteX100" fmla="*/ 8686 w 10000"/>
                <a:gd name="connsiteY100" fmla="*/ 4073 h 10000"/>
                <a:gd name="connsiteX101" fmla="*/ 8562 w 10000"/>
                <a:gd name="connsiteY101" fmla="*/ 3907 h 10000"/>
                <a:gd name="connsiteX102" fmla="*/ 8438 w 10000"/>
                <a:gd name="connsiteY102" fmla="*/ 3741 h 10000"/>
                <a:gd name="connsiteX103" fmla="*/ 8307 w 10000"/>
                <a:gd name="connsiteY103" fmla="*/ 3576 h 10000"/>
                <a:gd name="connsiteX104" fmla="*/ 8170 w 10000"/>
                <a:gd name="connsiteY104" fmla="*/ 3415 h 10000"/>
                <a:gd name="connsiteX105" fmla="*/ 8026 w 10000"/>
                <a:gd name="connsiteY105" fmla="*/ 3260 h 10000"/>
                <a:gd name="connsiteX106" fmla="*/ 7882 w 10000"/>
                <a:gd name="connsiteY106" fmla="*/ 3105 h 10000"/>
                <a:gd name="connsiteX107" fmla="*/ 7732 w 10000"/>
                <a:gd name="connsiteY107" fmla="*/ 2950 h 10000"/>
                <a:gd name="connsiteX108" fmla="*/ 7582 w 10000"/>
                <a:gd name="connsiteY108" fmla="*/ 2806 h 10000"/>
                <a:gd name="connsiteX109" fmla="*/ 7418 w 10000"/>
                <a:gd name="connsiteY109" fmla="*/ 2662 h 10000"/>
                <a:gd name="connsiteX110" fmla="*/ 7261 w 10000"/>
                <a:gd name="connsiteY110" fmla="*/ 2517 h 10000"/>
                <a:gd name="connsiteX111" fmla="*/ 7092 w 10000"/>
                <a:gd name="connsiteY111" fmla="*/ 2373 h 10000"/>
                <a:gd name="connsiteX112" fmla="*/ 6922 w 10000"/>
                <a:gd name="connsiteY112" fmla="*/ 2239 h 10000"/>
                <a:gd name="connsiteX113" fmla="*/ 6752 w 10000"/>
                <a:gd name="connsiteY113" fmla="*/ 2106 h 10000"/>
                <a:gd name="connsiteX114" fmla="*/ 6569 w 10000"/>
                <a:gd name="connsiteY114" fmla="*/ 1978 h 10000"/>
                <a:gd name="connsiteX115" fmla="*/ 6386 w 10000"/>
                <a:gd name="connsiteY115" fmla="*/ 1855 h 10000"/>
                <a:gd name="connsiteX116" fmla="*/ 6203 w 10000"/>
                <a:gd name="connsiteY116" fmla="*/ 1732 h 10000"/>
                <a:gd name="connsiteX117" fmla="*/ 6013 w 10000"/>
                <a:gd name="connsiteY117" fmla="*/ 1614 h 10000"/>
                <a:gd name="connsiteX118" fmla="*/ 5817 w 10000"/>
                <a:gd name="connsiteY118" fmla="*/ 1497 h 10000"/>
                <a:gd name="connsiteX119" fmla="*/ 5621 w 10000"/>
                <a:gd name="connsiteY119" fmla="*/ 1384 h 10000"/>
                <a:gd name="connsiteX120" fmla="*/ 5425 w 10000"/>
                <a:gd name="connsiteY120" fmla="*/ 1277 h 10000"/>
                <a:gd name="connsiteX121" fmla="*/ 5222 w 10000"/>
                <a:gd name="connsiteY121" fmla="*/ 1176 h 10000"/>
                <a:gd name="connsiteX122" fmla="*/ 5020 w 10000"/>
                <a:gd name="connsiteY122" fmla="*/ 1074 h 10000"/>
                <a:gd name="connsiteX123" fmla="*/ 4804 w 10000"/>
                <a:gd name="connsiteY123" fmla="*/ 978 h 10000"/>
                <a:gd name="connsiteX124" fmla="*/ 4595 w 10000"/>
                <a:gd name="connsiteY124" fmla="*/ 887 h 10000"/>
                <a:gd name="connsiteX125" fmla="*/ 4379 w 10000"/>
                <a:gd name="connsiteY125" fmla="*/ 802 h 10000"/>
                <a:gd name="connsiteX126" fmla="*/ 4157 w 10000"/>
                <a:gd name="connsiteY126" fmla="*/ 716 h 10000"/>
                <a:gd name="connsiteX127" fmla="*/ 3941 w 10000"/>
                <a:gd name="connsiteY127" fmla="*/ 636 h 10000"/>
                <a:gd name="connsiteX128" fmla="*/ 3719 w 10000"/>
                <a:gd name="connsiteY128" fmla="*/ 567 h 10000"/>
                <a:gd name="connsiteX129" fmla="*/ 3490 w 10000"/>
                <a:gd name="connsiteY129" fmla="*/ 492 h 10000"/>
                <a:gd name="connsiteX130" fmla="*/ 3261 w 10000"/>
                <a:gd name="connsiteY130" fmla="*/ 428 h 10000"/>
                <a:gd name="connsiteX131" fmla="*/ 3026 w 10000"/>
                <a:gd name="connsiteY131" fmla="*/ 363 h 10000"/>
                <a:gd name="connsiteX132" fmla="*/ 2797 w 10000"/>
                <a:gd name="connsiteY132" fmla="*/ 310 h 10000"/>
                <a:gd name="connsiteX133" fmla="*/ 2556 w 10000"/>
                <a:gd name="connsiteY133" fmla="*/ 257 h 10000"/>
                <a:gd name="connsiteX134" fmla="*/ 2314 w 10000"/>
                <a:gd name="connsiteY134" fmla="*/ 208 h 10000"/>
                <a:gd name="connsiteX135" fmla="*/ 2078 w 10000"/>
                <a:gd name="connsiteY135" fmla="*/ 166 h 10000"/>
                <a:gd name="connsiteX136" fmla="*/ 1837 w 10000"/>
                <a:gd name="connsiteY136" fmla="*/ 128 h 10000"/>
                <a:gd name="connsiteX137" fmla="*/ 1588 w 10000"/>
                <a:gd name="connsiteY137" fmla="*/ 91 h 10000"/>
                <a:gd name="connsiteX138" fmla="*/ 1340 w 10000"/>
                <a:gd name="connsiteY138" fmla="*/ 64 h 10000"/>
                <a:gd name="connsiteX139" fmla="*/ 1092 w 10000"/>
                <a:gd name="connsiteY139" fmla="*/ 43 h 10000"/>
                <a:gd name="connsiteX140" fmla="*/ 843 w 10000"/>
                <a:gd name="connsiteY140" fmla="*/ 27 h 10000"/>
                <a:gd name="connsiteX141" fmla="*/ 588 w 10000"/>
                <a:gd name="connsiteY141" fmla="*/ 11 h 10000"/>
                <a:gd name="connsiteX142" fmla="*/ 333 w 10000"/>
                <a:gd name="connsiteY142" fmla="*/ 5 h 10000"/>
                <a:gd name="connsiteX143" fmla="*/ 78 w 10000"/>
                <a:gd name="connsiteY143" fmla="*/ 0 h 10000"/>
                <a:gd name="connsiteX144" fmla="*/ 0 w 10000"/>
                <a:gd name="connsiteY144" fmla="*/ 5 h 10000"/>
                <a:gd name="connsiteX145" fmla="*/ 1245 w 10000"/>
                <a:gd name="connsiteY145" fmla="*/ 2443 h 10000"/>
                <a:gd name="connsiteX146" fmla="*/ 26 w 10000"/>
                <a:gd name="connsiteY146" fmla="*/ 4768 h 10000"/>
                <a:gd name="connsiteX0" fmla="*/ 26 w 10000"/>
                <a:gd name="connsiteY0" fmla="*/ 4768 h 10000"/>
                <a:gd name="connsiteX1" fmla="*/ 59 w 10000"/>
                <a:gd name="connsiteY1" fmla="*/ 4762 h 10000"/>
                <a:gd name="connsiteX2" fmla="*/ 163 w 10000"/>
                <a:gd name="connsiteY2" fmla="*/ 4762 h 10000"/>
                <a:gd name="connsiteX3" fmla="*/ 268 w 10000"/>
                <a:gd name="connsiteY3" fmla="*/ 4768 h 10000"/>
                <a:gd name="connsiteX4" fmla="*/ 373 w 10000"/>
                <a:gd name="connsiteY4" fmla="*/ 4773 h 10000"/>
                <a:gd name="connsiteX5" fmla="*/ 477 w 10000"/>
                <a:gd name="connsiteY5" fmla="*/ 4778 h 10000"/>
                <a:gd name="connsiteX6" fmla="*/ 582 w 10000"/>
                <a:gd name="connsiteY6" fmla="*/ 4794 h 10000"/>
                <a:gd name="connsiteX7" fmla="*/ 686 w 10000"/>
                <a:gd name="connsiteY7" fmla="*/ 4805 h 10000"/>
                <a:gd name="connsiteX8" fmla="*/ 784 w 10000"/>
                <a:gd name="connsiteY8" fmla="*/ 4816 h 10000"/>
                <a:gd name="connsiteX9" fmla="*/ 882 w 10000"/>
                <a:gd name="connsiteY9" fmla="*/ 4832 h 10000"/>
                <a:gd name="connsiteX10" fmla="*/ 987 w 10000"/>
                <a:gd name="connsiteY10" fmla="*/ 4848 h 10000"/>
                <a:gd name="connsiteX11" fmla="*/ 1085 w 10000"/>
                <a:gd name="connsiteY11" fmla="*/ 4869 h 10000"/>
                <a:gd name="connsiteX12" fmla="*/ 1183 w 10000"/>
                <a:gd name="connsiteY12" fmla="*/ 4890 h 10000"/>
                <a:gd name="connsiteX13" fmla="*/ 1281 w 10000"/>
                <a:gd name="connsiteY13" fmla="*/ 4912 h 10000"/>
                <a:gd name="connsiteX14" fmla="*/ 1373 w 10000"/>
                <a:gd name="connsiteY14" fmla="*/ 4939 h 10000"/>
                <a:gd name="connsiteX15" fmla="*/ 1471 w 10000"/>
                <a:gd name="connsiteY15" fmla="*/ 4965 h 10000"/>
                <a:gd name="connsiteX16" fmla="*/ 1562 w 10000"/>
                <a:gd name="connsiteY16" fmla="*/ 4997 h 10000"/>
                <a:gd name="connsiteX17" fmla="*/ 1654 w 10000"/>
                <a:gd name="connsiteY17" fmla="*/ 5029 h 10000"/>
                <a:gd name="connsiteX18" fmla="*/ 1745 w 10000"/>
                <a:gd name="connsiteY18" fmla="*/ 5061 h 10000"/>
                <a:gd name="connsiteX19" fmla="*/ 1837 w 10000"/>
                <a:gd name="connsiteY19" fmla="*/ 5094 h 10000"/>
                <a:gd name="connsiteX20" fmla="*/ 1928 w 10000"/>
                <a:gd name="connsiteY20" fmla="*/ 5131 h 10000"/>
                <a:gd name="connsiteX21" fmla="*/ 2020 w 10000"/>
                <a:gd name="connsiteY21" fmla="*/ 5168 h 10000"/>
                <a:gd name="connsiteX22" fmla="*/ 2105 w 10000"/>
                <a:gd name="connsiteY22" fmla="*/ 5211 h 10000"/>
                <a:gd name="connsiteX23" fmla="*/ 2190 w 10000"/>
                <a:gd name="connsiteY23" fmla="*/ 5249 h 10000"/>
                <a:gd name="connsiteX24" fmla="*/ 2275 w 10000"/>
                <a:gd name="connsiteY24" fmla="*/ 5291 h 10000"/>
                <a:gd name="connsiteX25" fmla="*/ 2353 w 10000"/>
                <a:gd name="connsiteY25" fmla="*/ 5334 h 10000"/>
                <a:gd name="connsiteX26" fmla="*/ 2438 w 10000"/>
                <a:gd name="connsiteY26" fmla="*/ 5382 h 10000"/>
                <a:gd name="connsiteX27" fmla="*/ 2516 w 10000"/>
                <a:gd name="connsiteY27" fmla="*/ 5430 h 10000"/>
                <a:gd name="connsiteX28" fmla="*/ 2595 w 10000"/>
                <a:gd name="connsiteY28" fmla="*/ 5478 h 10000"/>
                <a:gd name="connsiteX29" fmla="*/ 2673 w 10000"/>
                <a:gd name="connsiteY29" fmla="*/ 5526 h 10000"/>
                <a:gd name="connsiteX30" fmla="*/ 2752 w 10000"/>
                <a:gd name="connsiteY30" fmla="*/ 5580 h 10000"/>
                <a:gd name="connsiteX31" fmla="*/ 2824 w 10000"/>
                <a:gd name="connsiteY31" fmla="*/ 5633 h 10000"/>
                <a:gd name="connsiteX32" fmla="*/ 2895 w 10000"/>
                <a:gd name="connsiteY32" fmla="*/ 5687 h 10000"/>
                <a:gd name="connsiteX33" fmla="*/ 2967 w 10000"/>
                <a:gd name="connsiteY33" fmla="*/ 5746 h 10000"/>
                <a:gd name="connsiteX34" fmla="*/ 3033 w 10000"/>
                <a:gd name="connsiteY34" fmla="*/ 5804 h 10000"/>
                <a:gd name="connsiteX35" fmla="*/ 3105 w 10000"/>
                <a:gd name="connsiteY35" fmla="*/ 5863 h 10000"/>
                <a:gd name="connsiteX36" fmla="*/ 3170 w 10000"/>
                <a:gd name="connsiteY36" fmla="*/ 5922 h 10000"/>
                <a:gd name="connsiteX37" fmla="*/ 3229 w 10000"/>
                <a:gd name="connsiteY37" fmla="*/ 5986 h 10000"/>
                <a:gd name="connsiteX38" fmla="*/ 3294 w 10000"/>
                <a:gd name="connsiteY38" fmla="*/ 6045 h 10000"/>
                <a:gd name="connsiteX39" fmla="*/ 3353 w 10000"/>
                <a:gd name="connsiteY39" fmla="*/ 6109 h 10000"/>
                <a:gd name="connsiteX40" fmla="*/ 3412 w 10000"/>
                <a:gd name="connsiteY40" fmla="*/ 6173 h 10000"/>
                <a:gd name="connsiteX41" fmla="*/ 3471 w 10000"/>
                <a:gd name="connsiteY41" fmla="*/ 6237 h 10000"/>
                <a:gd name="connsiteX42" fmla="*/ 3523 w 10000"/>
                <a:gd name="connsiteY42" fmla="*/ 6307 h 10000"/>
                <a:gd name="connsiteX43" fmla="*/ 3575 w 10000"/>
                <a:gd name="connsiteY43" fmla="*/ 6376 h 10000"/>
                <a:gd name="connsiteX44" fmla="*/ 3627 w 10000"/>
                <a:gd name="connsiteY44" fmla="*/ 6446 h 10000"/>
                <a:gd name="connsiteX45" fmla="*/ 3680 w 10000"/>
                <a:gd name="connsiteY45" fmla="*/ 6515 h 10000"/>
                <a:gd name="connsiteX46" fmla="*/ 3719 w 10000"/>
                <a:gd name="connsiteY46" fmla="*/ 6590 h 10000"/>
                <a:gd name="connsiteX47" fmla="*/ 3771 w 10000"/>
                <a:gd name="connsiteY47" fmla="*/ 6665 h 10000"/>
                <a:gd name="connsiteX48" fmla="*/ 3810 w 10000"/>
                <a:gd name="connsiteY48" fmla="*/ 6734 h 10000"/>
                <a:gd name="connsiteX49" fmla="*/ 3850 w 10000"/>
                <a:gd name="connsiteY49" fmla="*/ 6809 h 10000"/>
                <a:gd name="connsiteX50" fmla="*/ 3889 w 10000"/>
                <a:gd name="connsiteY50" fmla="*/ 6884 h 10000"/>
                <a:gd name="connsiteX51" fmla="*/ 3922 w 10000"/>
                <a:gd name="connsiteY51" fmla="*/ 6959 h 10000"/>
                <a:gd name="connsiteX52" fmla="*/ 3954 w 10000"/>
                <a:gd name="connsiteY52" fmla="*/ 7039 h 10000"/>
                <a:gd name="connsiteX53" fmla="*/ 3987 w 10000"/>
                <a:gd name="connsiteY53" fmla="*/ 7119 h 10000"/>
                <a:gd name="connsiteX54" fmla="*/ 4020 w 10000"/>
                <a:gd name="connsiteY54" fmla="*/ 7194 h 10000"/>
                <a:gd name="connsiteX55" fmla="*/ 4046 w 10000"/>
                <a:gd name="connsiteY55" fmla="*/ 7274 h 10000"/>
                <a:gd name="connsiteX56" fmla="*/ 4065 w 10000"/>
                <a:gd name="connsiteY56" fmla="*/ 7354 h 10000"/>
                <a:gd name="connsiteX57" fmla="*/ 4092 w 10000"/>
                <a:gd name="connsiteY57" fmla="*/ 7440 h 10000"/>
                <a:gd name="connsiteX58" fmla="*/ 4111 w 10000"/>
                <a:gd name="connsiteY58" fmla="*/ 7520 h 10000"/>
                <a:gd name="connsiteX59" fmla="*/ 4131 w 10000"/>
                <a:gd name="connsiteY59" fmla="*/ 7600 h 10000"/>
                <a:gd name="connsiteX60" fmla="*/ 4144 w 10000"/>
                <a:gd name="connsiteY60" fmla="*/ 7686 h 10000"/>
                <a:gd name="connsiteX61" fmla="*/ 4157 w 10000"/>
                <a:gd name="connsiteY61" fmla="*/ 7771 h 10000"/>
                <a:gd name="connsiteX62" fmla="*/ 4163 w 10000"/>
                <a:gd name="connsiteY62" fmla="*/ 7857 h 10000"/>
                <a:gd name="connsiteX63" fmla="*/ 4170 w 10000"/>
                <a:gd name="connsiteY63" fmla="*/ 7942 h 10000"/>
                <a:gd name="connsiteX64" fmla="*/ 4170 w 10000"/>
                <a:gd name="connsiteY64" fmla="*/ 8028 h 10000"/>
                <a:gd name="connsiteX65" fmla="*/ 4176 w 10000"/>
                <a:gd name="connsiteY65" fmla="*/ 8113 h 10000"/>
                <a:gd name="connsiteX66" fmla="*/ 4170 w 10000"/>
                <a:gd name="connsiteY66" fmla="*/ 8226 h 10000"/>
                <a:gd name="connsiteX67" fmla="*/ 4163 w 10000"/>
                <a:gd name="connsiteY67" fmla="*/ 8343 h 10000"/>
                <a:gd name="connsiteX68" fmla="*/ 4157 w 10000"/>
                <a:gd name="connsiteY68" fmla="*/ 8450 h 10000"/>
                <a:gd name="connsiteX69" fmla="*/ 4137 w 10000"/>
                <a:gd name="connsiteY69" fmla="*/ 8562 h 10000"/>
                <a:gd name="connsiteX70" fmla="*/ 6739 w 10000"/>
                <a:gd name="connsiteY70" fmla="*/ 10000 h 10000"/>
                <a:gd name="connsiteX71" fmla="*/ 9850 w 10000"/>
                <a:gd name="connsiteY71" fmla="*/ 9498 h 10000"/>
                <a:gd name="connsiteX72" fmla="*/ 9889 w 10000"/>
                <a:gd name="connsiteY72" fmla="*/ 9332 h 10000"/>
                <a:gd name="connsiteX73" fmla="*/ 9915 w 10000"/>
                <a:gd name="connsiteY73" fmla="*/ 9161 h 10000"/>
                <a:gd name="connsiteX74" fmla="*/ 9941 w 10000"/>
                <a:gd name="connsiteY74" fmla="*/ 8990 h 10000"/>
                <a:gd name="connsiteX75" fmla="*/ 9961 w 10000"/>
                <a:gd name="connsiteY75" fmla="*/ 8813 h 10000"/>
                <a:gd name="connsiteX76" fmla="*/ 9974 w 10000"/>
                <a:gd name="connsiteY76" fmla="*/ 8637 h 10000"/>
                <a:gd name="connsiteX77" fmla="*/ 9987 w 10000"/>
                <a:gd name="connsiteY77" fmla="*/ 8466 h 10000"/>
                <a:gd name="connsiteX78" fmla="*/ 9993 w 10000"/>
                <a:gd name="connsiteY78" fmla="*/ 8290 h 10000"/>
                <a:gd name="connsiteX79" fmla="*/ 10000 w 10000"/>
                <a:gd name="connsiteY79" fmla="*/ 8113 h 10000"/>
                <a:gd name="connsiteX80" fmla="*/ 9993 w 10000"/>
                <a:gd name="connsiteY80" fmla="*/ 7900 h 10000"/>
                <a:gd name="connsiteX81" fmla="*/ 9987 w 10000"/>
                <a:gd name="connsiteY81" fmla="*/ 7696 h 10000"/>
                <a:gd name="connsiteX82" fmla="*/ 9967 w 10000"/>
                <a:gd name="connsiteY82" fmla="*/ 7488 h 10000"/>
                <a:gd name="connsiteX83" fmla="*/ 9948 w 10000"/>
                <a:gd name="connsiteY83" fmla="*/ 7285 h 10000"/>
                <a:gd name="connsiteX84" fmla="*/ 9915 w 10000"/>
                <a:gd name="connsiteY84" fmla="*/ 7076 h 10000"/>
                <a:gd name="connsiteX85" fmla="*/ 9882 w 10000"/>
                <a:gd name="connsiteY85" fmla="*/ 6879 h 10000"/>
                <a:gd name="connsiteX86" fmla="*/ 9843 w 10000"/>
                <a:gd name="connsiteY86" fmla="*/ 6676 h 10000"/>
                <a:gd name="connsiteX87" fmla="*/ 9797 w 10000"/>
                <a:gd name="connsiteY87" fmla="*/ 6478 h 10000"/>
                <a:gd name="connsiteX88" fmla="*/ 9745 w 10000"/>
                <a:gd name="connsiteY88" fmla="*/ 6280 h 10000"/>
                <a:gd name="connsiteX89" fmla="*/ 9686 w 10000"/>
                <a:gd name="connsiteY89" fmla="*/ 6088 h 10000"/>
                <a:gd name="connsiteX90" fmla="*/ 9621 w 10000"/>
                <a:gd name="connsiteY90" fmla="*/ 5890 h 10000"/>
                <a:gd name="connsiteX91" fmla="*/ 9556 w 10000"/>
                <a:gd name="connsiteY91" fmla="*/ 5697 h 10000"/>
                <a:gd name="connsiteX92" fmla="*/ 9477 w 10000"/>
                <a:gd name="connsiteY92" fmla="*/ 5510 h 10000"/>
                <a:gd name="connsiteX93" fmla="*/ 9399 w 10000"/>
                <a:gd name="connsiteY93" fmla="*/ 5323 h 10000"/>
                <a:gd name="connsiteX94" fmla="*/ 9307 w 10000"/>
                <a:gd name="connsiteY94" fmla="*/ 5136 h 10000"/>
                <a:gd name="connsiteX95" fmla="*/ 9216 w 10000"/>
                <a:gd name="connsiteY95" fmla="*/ 4955 h 10000"/>
                <a:gd name="connsiteX96" fmla="*/ 9124 w 10000"/>
                <a:gd name="connsiteY96" fmla="*/ 4773 h 10000"/>
                <a:gd name="connsiteX97" fmla="*/ 9020 w 10000"/>
                <a:gd name="connsiteY97" fmla="*/ 4596 h 10000"/>
                <a:gd name="connsiteX98" fmla="*/ 8915 w 10000"/>
                <a:gd name="connsiteY98" fmla="*/ 4420 h 10000"/>
                <a:gd name="connsiteX99" fmla="*/ 8804 w 10000"/>
                <a:gd name="connsiteY99" fmla="*/ 4244 h 10000"/>
                <a:gd name="connsiteX100" fmla="*/ 8686 w 10000"/>
                <a:gd name="connsiteY100" fmla="*/ 4073 h 10000"/>
                <a:gd name="connsiteX101" fmla="*/ 8562 w 10000"/>
                <a:gd name="connsiteY101" fmla="*/ 3907 h 10000"/>
                <a:gd name="connsiteX102" fmla="*/ 8438 w 10000"/>
                <a:gd name="connsiteY102" fmla="*/ 3741 h 10000"/>
                <a:gd name="connsiteX103" fmla="*/ 8307 w 10000"/>
                <a:gd name="connsiteY103" fmla="*/ 3576 h 10000"/>
                <a:gd name="connsiteX104" fmla="*/ 8170 w 10000"/>
                <a:gd name="connsiteY104" fmla="*/ 3415 h 10000"/>
                <a:gd name="connsiteX105" fmla="*/ 8026 w 10000"/>
                <a:gd name="connsiteY105" fmla="*/ 3260 h 10000"/>
                <a:gd name="connsiteX106" fmla="*/ 7882 w 10000"/>
                <a:gd name="connsiteY106" fmla="*/ 3105 h 10000"/>
                <a:gd name="connsiteX107" fmla="*/ 7732 w 10000"/>
                <a:gd name="connsiteY107" fmla="*/ 2950 h 10000"/>
                <a:gd name="connsiteX108" fmla="*/ 7582 w 10000"/>
                <a:gd name="connsiteY108" fmla="*/ 2806 h 10000"/>
                <a:gd name="connsiteX109" fmla="*/ 7418 w 10000"/>
                <a:gd name="connsiteY109" fmla="*/ 2662 h 10000"/>
                <a:gd name="connsiteX110" fmla="*/ 7261 w 10000"/>
                <a:gd name="connsiteY110" fmla="*/ 2517 h 10000"/>
                <a:gd name="connsiteX111" fmla="*/ 7092 w 10000"/>
                <a:gd name="connsiteY111" fmla="*/ 2373 h 10000"/>
                <a:gd name="connsiteX112" fmla="*/ 6922 w 10000"/>
                <a:gd name="connsiteY112" fmla="*/ 2239 h 10000"/>
                <a:gd name="connsiteX113" fmla="*/ 6752 w 10000"/>
                <a:gd name="connsiteY113" fmla="*/ 2106 h 10000"/>
                <a:gd name="connsiteX114" fmla="*/ 6569 w 10000"/>
                <a:gd name="connsiteY114" fmla="*/ 1978 h 10000"/>
                <a:gd name="connsiteX115" fmla="*/ 6386 w 10000"/>
                <a:gd name="connsiteY115" fmla="*/ 1855 h 10000"/>
                <a:gd name="connsiteX116" fmla="*/ 6203 w 10000"/>
                <a:gd name="connsiteY116" fmla="*/ 1732 h 10000"/>
                <a:gd name="connsiteX117" fmla="*/ 6013 w 10000"/>
                <a:gd name="connsiteY117" fmla="*/ 1614 h 10000"/>
                <a:gd name="connsiteX118" fmla="*/ 5817 w 10000"/>
                <a:gd name="connsiteY118" fmla="*/ 1497 h 10000"/>
                <a:gd name="connsiteX119" fmla="*/ 5621 w 10000"/>
                <a:gd name="connsiteY119" fmla="*/ 1384 h 10000"/>
                <a:gd name="connsiteX120" fmla="*/ 5425 w 10000"/>
                <a:gd name="connsiteY120" fmla="*/ 1277 h 10000"/>
                <a:gd name="connsiteX121" fmla="*/ 5222 w 10000"/>
                <a:gd name="connsiteY121" fmla="*/ 1176 h 10000"/>
                <a:gd name="connsiteX122" fmla="*/ 5020 w 10000"/>
                <a:gd name="connsiteY122" fmla="*/ 1074 h 10000"/>
                <a:gd name="connsiteX123" fmla="*/ 4804 w 10000"/>
                <a:gd name="connsiteY123" fmla="*/ 978 h 10000"/>
                <a:gd name="connsiteX124" fmla="*/ 4595 w 10000"/>
                <a:gd name="connsiteY124" fmla="*/ 887 h 10000"/>
                <a:gd name="connsiteX125" fmla="*/ 4379 w 10000"/>
                <a:gd name="connsiteY125" fmla="*/ 802 h 10000"/>
                <a:gd name="connsiteX126" fmla="*/ 4157 w 10000"/>
                <a:gd name="connsiteY126" fmla="*/ 716 h 10000"/>
                <a:gd name="connsiteX127" fmla="*/ 3941 w 10000"/>
                <a:gd name="connsiteY127" fmla="*/ 636 h 10000"/>
                <a:gd name="connsiteX128" fmla="*/ 3719 w 10000"/>
                <a:gd name="connsiteY128" fmla="*/ 567 h 10000"/>
                <a:gd name="connsiteX129" fmla="*/ 3490 w 10000"/>
                <a:gd name="connsiteY129" fmla="*/ 492 h 10000"/>
                <a:gd name="connsiteX130" fmla="*/ 3261 w 10000"/>
                <a:gd name="connsiteY130" fmla="*/ 428 h 10000"/>
                <a:gd name="connsiteX131" fmla="*/ 3026 w 10000"/>
                <a:gd name="connsiteY131" fmla="*/ 363 h 10000"/>
                <a:gd name="connsiteX132" fmla="*/ 2797 w 10000"/>
                <a:gd name="connsiteY132" fmla="*/ 310 h 10000"/>
                <a:gd name="connsiteX133" fmla="*/ 2556 w 10000"/>
                <a:gd name="connsiteY133" fmla="*/ 257 h 10000"/>
                <a:gd name="connsiteX134" fmla="*/ 2314 w 10000"/>
                <a:gd name="connsiteY134" fmla="*/ 208 h 10000"/>
                <a:gd name="connsiteX135" fmla="*/ 2078 w 10000"/>
                <a:gd name="connsiteY135" fmla="*/ 166 h 10000"/>
                <a:gd name="connsiteX136" fmla="*/ 1837 w 10000"/>
                <a:gd name="connsiteY136" fmla="*/ 128 h 10000"/>
                <a:gd name="connsiteX137" fmla="*/ 1588 w 10000"/>
                <a:gd name="connsiteY137" fmla="*/ 91 h 10000"/>
                <a:gd name="connsiteX138" fmla="*/ 1340 w 10000"/>
                <a:gd name="connsiteY138" fmla="*/ 64 h 10000"/>
                <a:gd name="connsiteX139" fmla="*/ 1092 w 10000"/>
                <a:gd name="connsiteY139" fmla="*/ 43 h 10000"/>
                <a:gd name="connsiteX140" fmla="*/ 843 w 10000"/>
                <a:gd name="connsiteY140" fmla="*/ 27 h 10000"/>
                <a:gd name="connsiteX141" fmla="*/ 588 w 10000"/>
                <a:gd name="connsiteY141" fmla="*/ 11 h 10000"/>
                <a:gd name="connsiteX142" fmla="*/ 333 w 10000"/>
                <a:gd name="connsiteY142" fmla="*/ 5 h 10000"/>
                <a:gd name="connsiteX143" fmla="*/ 78 w 10000"/>
                <a:gd name="connsiteY143" fmla="*/ 0 h 10000"/>
                <a:gd name="connsiteX144" fmla="*/ 0 w 10000"/>
                <a:gd name="connsiteY144" fmla="*/ 5 h 10000"/>
                <a:gd name="connsiteX145" fmla="*/ 1245 w 10000"/>
                <a:gd name="connsiteY145" fmla="*/ 2443 h 10000"/>
                <a:gd name="connsiteX146" fmla="*/ 26 w 10000"/>
                <a:gd name="connsiteY146" fmla="*/ 4768 h 10000"/>
                <a:gd name="connsiteX0" fmla="*/ 0 w 9974"/>
                <a:gd name="connsiteY0" fmla="*/ 4771 h 10003"/>
                <a:gd name="connsiteX1" fmla="*/ 33 w 9974"/>
                <a:gd name="connsiteY1" fmla="*/ 4765 h 10003"/>
                <a:gd name="connsiteX2" fmla="*/ 137 w 9974"/>
                <a:gd name="connsiteY2" fmla="*/ 4765 h 10003"/>
                <a:gd name="connsiteX3" fmla="*/ 242 w 9974"/>
                <a:gd name="connsiteY3" fmla="*/ 4771 h 10003"/>
                <a:gd name="connsiteX4" fmla="*/ 347 w 9974"/>
                <a:gd name="connsiteY4" fmla="*/ 4776 h 10003"/>
                <a:gd name="connsiteX5" fmla="*/ 451 w 9974"/>
                <a:gd name="connsiteY5" fmla="*/ 4781 h 10003"/>
                <a:gd name="connsiteX6" fmla="*/ 556 w 9974"/>
                <a:gd name="connsiteY6" fmla="*/ 4797 h 10003"/>
                <a:gd name="connsiteX7" fmla="*/ 660 w 9974"/>
                <a:gd name="connsiteY7" fmla="*/ 4808 h 10003"/>
                <a:gd name="connsiteX8" fmla="*/ 758 w 9974"/>
                <a:gd name="connsiteY8" fmla="*/ 4819 h 10003"/>
                <a:gd name="connsiteX9" fmla="*/ 856 w 9974"/>
                <a:gd name="connsiteY9" fmla="*/ 4835 h 10003"/>
                <a:gd name="connsiteX10" fmla="*/ 961 w 9974"/>
                <a:gd name="connsiteY10" fmla="*/ 4851 h 10003"/>
                <a:gd name="connsiteX11" fmla="*/ 1059 w 9974"/>
                <a:gd name="connsiteY11" fmla="*/ 4872 h 10003"/>
                <a:gd name="connsiteX12" fmla="*/ 1157 w 9974"/>
                <a:gd name="connsiteY12" fmla="*/ 4893 h 10003"/>
                <a:gd name="connsiteX13" fmla="*/ 1255 w 9974"/>
                <a:gd name="connsiteY13" fmla="*/ 4915 h 10003"/>
                <a:gd name="connsiteX14" fmla="*/ 1347 w 9974"/>
                <a:gd name="connsiteY14" fmla="*/ 4942 h 10003"/>
                <a:gd name="connsiteX15" fmla="*/ 1445 w 9974"/>
                <a:gd name="connsiteY15" fmla="*/ 4968 h 10003"/>
                <a:gd name="connsiteX16" fmla="*/ 1536 w 9974"/>
                <a:gd name="connsiteY16" fmla="*/ 5000 h 10003"/>
                <a:gd name="connsiteX17" fmla="*/ 1628 w 9974"/>
                <a:gd name="connsiteY17" fmla="*/ 5032 h 10003"/>
                <a:gd name="connsiteX18" fmla="*/ 1719 w 9974"/>
                <a:gd name="connsiteY18" fmla="*/ 5064 h 10003"/>
                <a:gd name="connsiteX19" fmla="*/ 1811 w 9974"/>
                <a:gd name="connsiteY19" fmla="*/ 5097 h 10003"/>
                <a:gd name="connsiteX20" fmla="*/ 1902 w 9974"/>
                <a:gd name="connsiteY20" fmla="*/ 5134 h 10003"/>
                <a:gd name="connsiteX21" fmla="*/ 1994 w 9974"/>
                <a:gd name="connsiteY21" fmla="*/ 5171 h 10003"/>
                <a:gd name="connsiteX22" fmla="*/ 2079 w 9974"/>
                <a:gd name="connsiteY22" fmla="*/ 5214 h 10003"/>
                <a:gd name="connsiteX23" fmla="*/ 2164 w 9974"/>
                <a:gd name="connsiteY23" fmla="*/ 5252 h 10003"/>
                <a:gd name="connsiteX24" fmla="*/ 2249 w 9974"/>
                <a:gd name="connsiteY24" fmla="*/ 5294 h 10003"/>
                <a:gd name="connsiteX25" fmla="*/ 2327 w 9974"/>
                <a:gd name="connsiteY25" fmla="*/ 5337 h 10003"/>
                <a:gd name="connsiteX26" fmla="*/ 2412 w 9974"/>
                <a:gd name="connsiteY26" fmla="*/ 5385 h 10003"/>
                <a:gd name="connsiteX27" fmla="*/ 2490 w 9974"/>
                <a:gd name="connsiteY27" fmla="*/ 5433 h 10003"/>
                <a:gd name="connsiteX28" fmla="*/ 2569 w 9974"/>
                <a:gd name="connsiteY28" fmla="*/ 5481 h 10003"/>
                <a:gd name="connsiteX29" fmla="*/ 2647 w 9974"/>
                <a:gd name="connsiteY29" fmla="*/ 5529 h 10003"/>
                <a:gd name="connsiteX30" fmla="*/ 2726 w 9974"/>
                <a:gd name="connsiteY30" fmla="*/ 5583 h 10003"/>
                <a:gd name="connsiteX31" fmla="*/ 2798 w 9974"/>
                <a:gd name="connsiteY31" fmla="*/ 5636 h 10003"/>
                <a:gd name="connsiteX32" fmla="*/ 2869 w 9974"/>
                <a:gd name="connsiteY32" fmla="*/ 5690 h 10003"/>
                <a:gd name="connsiteX33" fmla="*/ 2941 w 9974"/>
                <a:gd name="connsiteY33" fmla="*/ 5749 h 10003"/>
                <a:gd name="connsiteX34" fmla="*/ 3007 w 9974"/>
                <a:gd name="connsiteY34" fmla="*/ 5807 h 10003"/>
                <a:gd name="connsiteX35" fmla="*/ 3079 w 9974"/>
                <a:gd name="connsiteY35" fmla="*/ 5866 h 10003"/>
                <a:gd name="connsiteX36" fmla="*/ 3144 w 9974"/>
                <a:gd name="connsiteY36" fmla="*/ 5925 h 10003"/>
                <a:gd name="connsiteX37" fmla="*/ 3203 w 9974"/>
                <a:gd name="connsiteY37" fmla="*/ 5989 h 10003"/>
                <a:gd name="connsiteX38" fmla="*/ 3268 w 9974"/>
                <a:gd name="connsiteY38" fmla="*/ 6048 h 10003"/>
                <a:gd name="connsiteX39" fmla="*/ 3327 w 9974"/>
                <a:gd name="connsiteY39" fmla="*/ 6112 h 10003"/>
                <a:gd name="connsiteX40" fmla="*/ 3386 w 9974"/>
                <a:gd name="connsiteY40" fmla="*/ 6176 h 10003"/>
                <a:gd name="connsiteX41" fmla="*/ 3445 w 9974"/>
                <a:gd name="connsiteY41" fmla="*/ 6240 h 10003"/>
                <a:gd name="connsiteX42" fmla="*/ 3497 w 9974"/>
                <a:gd name="connsiteY42" fmla="*/ 6310 h 10003"/>
                <a:gd name="connsiteX43" fmla="*/ 3549 w 9974"/>
                <a:gd name="connsiteY43" fmla="*/ 6379 h 10003"/>
                <a:gd name="connsiteX44" fmla="*/ 3601 w 9974"/>
                <a:gd name="connsiteY44" fmla="*/ 6449 h 10003"/>
                <a:gd name="connsiteX45" fmla="*/ 3654 w 9974"/>
                <a:gd name="connsiteY45" fmla="*/ 6518 h 10003"/>
                <a:gd name="connsiteX46" fmla="*/ 3693 w 9974"/>
                <a:gd name="connsiteY46" fmla="*/ 6593 h 10003"/>
                <a:gd name="connsiteX47" fmla="*/ 3745 w 9974"/>
                <a:gd name="connsiteY47" fmla="*/ 6668 h 10003"/>
                <a:gd name="connsiteX48" fmla="*/ 3784 w 9974"/>
                <a:gd name="connsiteY48" fmla="*/ 6737 h 10003"/>
                <a:gd name="connsiteX49" fmla="*/ 3824 w 9974"/>
                <a:gd name="connsiteY49" fmla="*/ 6812 h 10003"/>
                <a:gd name="connsiteX50" fmla="*/ 3863 w 9974"/>
                <a:gd name="connsiteY50" fmla="*/ 6887 h 10003"/>
                <a:gd name="connsiteX51" fmla="*/ 3896 w 9974"/>
                <a:gd name="connsiteY51" fmla="*/ 6962 h 10003"/>
                <a:gd name="connsiteX52" fmla="*/ 3928 w 9974"/>
                <a:gd name="connsiteY52" fmla="*/ 7042 h 10003"/>
                <a:gd name="connsiteX53" fmla="*/ 3961 w 9974"/>
                <a:gd name="connsiteY53" fmla="*/ 7122 h 10003"/>
                <a:gd name="connsiteX54" fmla="*/ 3994 w 9974"/>
                <a:gd name="connsiteY54" fmla="*/ 7197 h 10003"/>
                <a:gd name="connsiteX55" fmla="*/ 4020 w 9974"/>
                <a:gd name="connsiteY55" fmla="*/ 7277 h 10003"/>
                <a:gd name="connsiteX56" fmla="*/ 4039 w 9974"/>
                <a:gd name="connsiteY56" fmla="*/ 7357 h 10003"/>
                <a:gd name="connsiteX57" fmla="*/ 4066 w 9974"/>
                <a:gd name="connsiteY57" fmla="*/ 7443 h 10003"/>
                <a:gd name="connsiteX58" fmla="*/ 4085 w 9974"/>
                <a:gd name="connsiteY58" fmla="*/ 7523 h 10003"/>
                <a:gd name="connsiteX59" fmla="*/ 4105 w 9974"/>
                <a:gd name="connsiteY59" fmla="*/ 7603 h 10003"/>
                <a:gd name="connsiteX60" fmla="*/ 4118 w 9974"/>
                <a:gd name="connsiteY60" fmla="*/ 7689 h 10003"/>
                <a:gd name="connsiteX61" fmla="*/ 4131 w 9974"/>
                <a:gd name="connsiteY61" fmla="*/ 7774 h 10003"/>
                <a:gd name="connsiteX62" fmla="*/ 4137 w 9974"/>
                <a:gd name="connsiteY62" fmla="*/ 7860 h 10003"/>
                <a:gd name="connsiteX63" fmla="*/ 4144 w 9974"/>
                <a:gd name="connsiteY63" fmla="*/ 7945 h 10003"/>
                <a:gd name="connsiteX64" fmla="*/ 4144 w 9974"/>
                <a:gd name="connsiteY64" fmla="*/ 8031 h 10003"/>
                <a:gd name="connsiteX65" fmla="*/ 4150 w 9974"/>
                <a:gd name="connsiteY65" fmla="*/ 8116 h 10003"/>
                <a:gd name="connsiteX66" fmla="*/ 4144 w 9974"/>
                <a:gd name="connsiteY66" fmla="*/ 8229 h 10003"/>
                <a:gd name="connsiteX67" fmla="*/ 4137 w 9974"/>
                <a:gd name="connsiteY67" fmla="*/ 8346 h 10003"/>
                <a:gd name="connsiteX68" fmla="*/ 4131 w 9974"/>
                <a:gd name="connsiteY68" fmla="*/ 8453 h 10003"/>
                <a:gd name="connsiteX69" fmla="*/ 4111 w 9974"/>
                <a:gd name="connsiteY69" fmla="*/ 8565 h 10003"/>
                <a:gd name="connsiteX70" fmla="*/ 6713 w 9974"/>
                <a:gd name="connsiteY70" fmla="*/ 10003 h 10003"/>
                <a:gd name="connsiteX71" fmla="*/ 9824 w 9974"/>
                <a:gd name="connsiteY71" fmla="*/ 9501 h 10003"/>
                <a:gd name="connsiteX72" fmla="*/ 9863 w 9974"/>
                <a:gd name="connsiteY72" fmla="*/ 9335 h 10003"/>
                <a:gd name="connsiteX73" fmla="*/ 9889 w 9974"/>
                <a:gd name="connsiteY73" fmla="*/ 9164 h 10003"/>
                <a:gd name="connsiteX74" fmla="*/ 9915 w 9974"/>
                <a:gd name="connsiteY74" fmla="*/ 8993 h 10003"/>
                <a:gd name="connsiteX75" fmla="*/ 9935 w 9974"/>
                <a:gd name="connsiteY75" fmla="*/ 8816 h 10003"/>
                <a:gd name="connsiteX76" fmla="*/ 9948 w 9974"/>
                <a:gd name="connsiteY76" fmla="*/ 8640 h 10003"/>
                <a:gd name="connsiteX77" fmla="*/ 9961 w 9974"/>
                <a:gd name="connsiteY77" fmla="*/ 8469 h 10003"/>
                <a:gd name="connsiteX78" fmla="*/ 9967 w 9974"/>
                <a:gd name="connsiteY78" fmla="*/ 8293 h 10003"/>
                <a:gd name="connsiteX79" fmla="*/ 9974 w 9974"/>
                <a:gd name="connsiteY79" fmla="*/ 8116 h 10003"/>
                <a:gd name="connsiteX80" fmla="*/ 9967 w 9974"/>
                <a:gd name="connsiteY80" fmla="*/ 7903 h 10003"/>
                <a:gd name="connsiteX81" fmla="*/ 9961 w 9974"/>
                <a:gd name="connsiteY81" fmla="*/ 7699 h 10003"/>
                <a:gd name="connsiteX82" fmla="*/ 9941 w 9974"/>
                <a:gd name="connsiteY82" fmla="*/ 7491 h 10003"/>
                <a:gd name="connsiteX83" fmla="*/ 9922 w 9974"/>
                <a:gd name="connsiteY83" fmla="*/ 7288 h 10003"/>
                <a:gd name="connsiteX84" fmla="*/ 9889 w 9974"/>
                <a:gd name="connsiteY84" fmla="*/ 7079 h 10003"/>
                <a:gd name="connsiteX85" fmla="*/ 9856 w 9974"/>
                <a:gd name="connsiteY85" fmla="*/ 6882 h 10003"/>
                <a:gd name="connsiteX86" fmla="*/ 9817 w 9974"/>
                <a:gd name="connsiteY86" fmla="*/ 6679 h 10003"/>
                <a:gd name="connsiteX87" fmla="*/ 9771 w 9974"/>
                <a:gd name="connsiteY87" fmla="*/ 6481 h 10003"/>
                <a:gd name="connsiteX88" fmla="*/ 9719 w 9974"/>
                <a:gd name="connsiteY88" fmla="*/ 6283 h 10003"/>
                <a:gd name="connsiteX89" fmla="*/ 9660 w 9974"/>
                <a:gd name="connsiteY89" fmla="*/ 6091 h 10003"/>
                <a:gd name="connsiteX90" fmla="*/ 9595 w 9974"/>
                <a:gd name="connsiteY90" fmla="*/ 5893 h 10003"/>
                <a:gd name="connsiteX91" fmla="*/ 9530 w 9974"/>
                <a:gd name="connsiteY91" fmla="*/ 5700 h 10003"/>
                <a:gd name="connsiteX92" fmla="*/ 9451 w 9974"/>
                <a:gd name="connsiteY92" fmla="*/ 5513 h 10003"/>
                <a:gd name="connsiteX93" fmla="*/ 9373 w 9974"/>
                <a:gd name="connsiteY93" fmla="*/ 5326 h 10003"/>
                <a:gd name="connsiteX94" fmla="*/ 9281 w 9974"/>
                <a:gd name="connsiteY94" fmla="*/ 5139 h 10003"/>
                <a:gd name="connsiteX95" fmla="*/ 9190 w 9974"/>
                <a:gd name="connsiteY95" fmla="*/ 4958 h 10003"/>
                <a:gd name="connsiteX96" fmla="*/ 9098 w 9974"/>
                <a:gd name="connsiteY96" fmla="*/ 4776 h 10003"/>
                <a:gd name="connsiteX97" fmla="*/ 8994 w 9974"/>
                <a:gd name="connsiteY97" fmla="*/ 4599 h 10003"/>
                <a:gd name="connsiteX98" fmla="*/ 8889 w 9974"/>
                <a:gd name="connsiteY98" fmla="*/ 4423 h 10003"/>
                <a:gd name="connsiteX99" fmla="*/ 8778 w 9974"/>
                <a:gd name="connsiteY99" fmla="*/ 4247 h 10003"/>
                <a:gd name="connsiteX100" fmla="*/ 8660 w 9974"/>
                <a:gd name="connsiteY100" fmla="*/ 4076 h 10003"/>
                <a:gd name="connsiteX101" fmla="*/ 8536 w 9974"/>
                <a:gd name="connsiteY101" fmla="*/ 3910 h 10003"/>
                <a:gd name="connsiteX102" fmla="*/ 8412 w 9974"/>
                <a:gd name="connsiteY102" fmla="*/ 3744 h 10003"/>
                <a:gd name="connsiteX103" fmla="*/ 8281 w 9974"/>
                <a:gd name="connsiteY103" fmla="*/ 3579 h 10003"/>
                <a:gd name="connsiteX104" fmla="*/ 8144 w 9974"/>
                <a:gd name="connsiteY104" fmla="*/ 3418 h 10003"/>
                <a:gd name="connsiteX105" fmla="*/ 8000 w 9974"/>
                <a:gd name="connsiteY105" fmla="*/ 3263 h 10003"/>
                <a:gd name="connsiteX106" fmla="*/ 7856 w 9974"/>
                <a:gd name="connsiteY106" fmla="*/ 3108 h 10003"/>
                <a:gd name="connsiteX107" fmla="*/ 7706 w 9974"/>
                <a:gd name="connsiteY107" fmla="*/ 2953 h 10003"/>
                <a:gd name="connsiteX108" fmla="*/ 7556 w 9974"/>
                <a:gd name="connsiteY108" fmla="*/ 2809 h 10003"/>
                <a:gd name="connsiteX109" fmla="*/ 7392 w 9974"/>
                <a:gd name="connsiteY109" fmla="*/ 2665 h 10003"/>
                <a:gd name="connsiteX110" fmla="*/ 7235 w 9974"/>
                <a:gd name="connsiteY110" fmla="*/ 2520 h 10003"/>
                <a:gd name="connsiteX111" fmla="*/ 7066 w 9974"/>
                <a:gd name="connsiteY111" fmla="*/ 2376 h 10003"/>
                <a:gd name="connsiteX112" fmla="*/ 6896 w 9974"/>
                <a:gd name="connsiteY112" fmla="*/ 2242 h 10003"/>
                <a:gd name="connsiteX113" fmla="*/ 6726 w 9974"/>
                <a:gd name="connsiteY113" fmla="*/ 2109 h 10003"/>
                <a:gd name="connsiteX114" fmla="*/ 6543 w 9974"/>
                <a:gd name="connsiteY114" fmla="*/ 1981 h 10003"/>
                <a:gd name="connsiteX115" fmla="*/ 6360 w 9974"/>
                <a:gd name="connsiteY115" fmla="*/ 1858 h 10003"/>
                <a:gd name="connsiteX116" fmla="*/ 6177 w 9974"/>
                <a:gd name="connsiteY116" fmla="*/ 1735 h 10003"/>
                <a:gd name="connsiteX117" fmla="*/ 5987 w 9974"/>
                <a:gd name="connsiteY117" fmla="*/ 1617 h 10003"/>
                <a:gd name="connsiteX118" fmla="*/ 5791 w 9974"/>
                <a:gd name="connsiteY118" fmla="*/ 1500 h 10003"/>
                <a:gd name="connsiteX119" fmla="*/ 5595 w 9974"/>
                <a:gd name="connsiteY119" fmla="*/ 1387 h 10003"/>
                <a:gd name="connsiteX120" fmla="*/ 5399 w 9974"/>
                <a:gd name="connsiteY120" fmla="*/ 1280 h 10003"/>
                <a:gd name="connsiteX121" fmla="*/ 5196 w 9974"/>
                <a:gd name="connsiteY121" fmla="*/ 1179 h 10003"/>
                <a:gd name="connsiteX122" fmla="*/ 4994 w 9974"/>
                <a:gd name="connsiteY122" fmla="*/ 1077 h 10003"/>
                <a:gd name="connsiteX123" fmla="*/ 4778 w 9974"/>
                <a:gd name="connsiteY123" fmla="*/ 981 h 10003"/>
                <a:gd name="connsiteX124" fmla="*/ 4569 w 9974"/>
                <a:gd name="connsiteY124" fmla="*/ 890 h 10003"/>
                <a:gd name="connsiteX125" fmla="*/ 4353 w 9974"/>
                <a:gd name="connsiteY125" fmla="*/ 805 h 10003"/>
                <a:gd name="connsiteX126" fmla="*/ 4131 w 9974"/>
                <a:gd name="connsiteY126" fmla="*/ 719 h 10003"/>
                <a:gd name="connsiteX127" fmla="*/ 3915 w 9974"/>
                <a:gd name="connsiteY127" fmla="*/ 639 h 10003"/>
                <a:gd name="connsiteX128" fmla="*/ 3693 w 9974"/>
                <a:gd name="connsiteY128" fmla="*/ 570 h 10003"/>
                <a:gd name="connsiteX129" fmla="*/ 3464 w 9974"/>
                <a:gd name="connsiteY129" fmla="*/ 495 h 10003"/>
                <a:gd name="connsiteX130" fmla="*/ 3235 w 9974"/>
                <a:gd name="connsiteY130" fmla="*/ 431 h 10003"/>
                <a:gd name="connsiteX131" fmla="*/ 3000 w 9974"/>
                <a:gd name="connsiteY131" fmla="*/ 366 h 10003"/>
                <a:gd name="connsiteX132" fmla="*/ 2771 w 9974"/>
                <a:gd name="connsiteY132" fmla="*/ 313 h 10003"/>
                <a:gd name="connsiteX133" fmla="*/ 2530 w 9974"/>
                <a:gd name="connsiteY133" fmla="*/ 260 h 10003"/>
                <a:gd name="connsiteX134" fmla="*/ 2288 w 9974"/>
                <a:gd name="connsiteY134" fmla="*/ 211 h 10003"/>
                <a:gd name="connsiteX135" fmla="*/ 2052 w 9974"/>
                <a:gd name="connsiteY135" fmla="*/ 169 h 10003"/>
                <a:gd name="connsiteX136" fmla="*/ 1811 w 9974"/>
                <a:gd name="connsiteY136" fmla="*/ 131 h 10003"/>
                <a:gd name="connsiteX137" fmla="*/ 1562 w 9974"/>
                <a:gd name="connsiteY137" fmla="*/ 94 h 10003"/>
                <a:gd name="connsiteX138" fmla="*/ 1314 w 9974"/>
                <a:gd name="connsiteY138" fmla="*/ 67 h 10003"/>
                <a:gd name="connsiteX139" fmla="*/ 1066 w 9974"/>
                <a:gd name="connsiteY139" fmla="*/ 46 h 10003"/>
                <a:gd name="connsiteX140" fmla="*/ 817 w 9974"/>
                <a:gd name="connsiteY140" fmla="*/ 30 h 10003"/>
                <a:gd name="connsiteX141" fmla="*/ 562 w 9974"/>
                <a:gd name="connsiteY141" fmla="*/ 14 h 10003"/>
                <a:gd name="connsiteX142" fmla="*/ 307 w 9974"/>
                <a:gd name="connsiteY142" fmla="*/ 8 h 10003"/>
                <a:gd name="connsiteX143" fmla="*/ 52 w 9974"/>
                <a:gd name="connsiteY143" fmla="*/ 3 h 10003"/>
                <a:gd name="connsiteX144" fmla="*/ 13 w 9974"/>
                <a:gd name="connsiteY144" fmla="*/ 0 h 10003"/>
                <a:gd name="connsiteX145" fmla="*/ 1219 w 9974"/>
                <a:gd name="connsiteY145" fmla="*/ 2446 h 10003"/>
                <a:gd name="connsiteX146" fmla="*/ 0 w 9974"/>
                <a:gd name="connsiteY146" fmla="*/ 4771 h 10003"/>
                <a:gd name="connsiteX0" fmla="*/ 0 w 9990"/>
                <a:gd name="connsiteY0" fmla="*/ 4770 h 10000"/>
                <a:gd name="connsiteX1" fmla="*/ 23 w 9990"/>
                <a:gd name="connsiteY1" fmla="*/ 4764 h 10000"/>
                <a:gd name="connsiteX2" fmla="*/ 127 w 9990"/>
                <a:gd name="connsiteY2" fmla="*/ 4764 h 10000"/>
                <a:gd name="connsiteX3" fmla="*/ 233 w 9990"/>
                <a:gd name="connsiteY3" fmla="*/ 4770 h 10000"/>
                <a:gd name="connsiteX4" fmla="*/ 338 w 9990"/>
                <a:gd name="connsiteY4" fmla="*/ 4775 h 10000"/>
                <a:gd name="connsiteX5" fmla="*/ 442 w 9990"/>
                <a:gd name="connsiteY5" fmla="*/ 4780 h 10000"/>
                <a:gd name="connsiteX6" fmla="*/ 547 w 9990"/>
                <a:gd name="connsiteY6" fmla="*/ 4796 h 10000"/>
                <a:gd name="connsiteX7" fmla="*/ 652 w 9990"/>
                <a:gd name="connsiteY7" fmla="*/ 4807 h 10000"/>
                <a:gd name="connsiteX8" fmla="*/ 750 w 9990"/>
                <a:gd name="connsiteY8" fmla="*/ 4818 h 10000"/>
                <a:gd name="connsiteX9" fmla="*/ 848 w 9990"/>
                <a:gd name="connsiteY9" fmla="*/ 4834 h 10000"/>
                <a:gd name="connsiteX10" fmla="*/ 954 w 9990"/>
                <a:gd name="connsiteY10" fmla="*/ 4850 h 10000"/>
                <a:gd name="connsiteX11" fmla="*/ 1052 w 9990"/>
                <a:gd name="connsiteY11" fmla="*/ 4871 h 10000"/>
                <a:gd name="connsiteX12" fmla="*/ 1150 w 9990"/>
                <a:gd name="connsiteY12" fmla="*/ 4892 h 10000"/>
                <a:gd name="connsiteX13" fmla="*/ 1248 w 9990"/>
                <a:gd name="connsiteY13" fmla="*/ 4914 h 10000"/>
                <a:gd name="connsiteX14" fmla="*/ 1341 w 9990"/>
                <a:gd name="connsiteY14" fmla="*/ 4941 h 10000"/>
                <a:gd name="connsiteX15" fmla="*/ 1439 w 9990"/>
                <a:gd name="connsiteY15" fmla="*/ 4967 h 10000"/>
                <a:gd name="connsiteX16" fmla="*/ 1530 w 9990"/>
                <a:gd name="connsiteY16" fmla="*/ 4999 h 10000"/>
                <a:gd name="connsiteX17" fmla="*/ 1622 w 9990"/>
                <a:gd name="connsiteY17" fmla="*/ 5030 h 10000"/>
                <a:gd name="connsiteX18" fmla="*/ 1713 w 9990"/>
                <a:gd name="connsiteY18" fmla="*/ 5062 h 10000"/>
                <a:gd name="connsiteX19" fmla="*/ 1806 w 9990"/>
                <a:gd name="connsiteY19" fmla="*/ 5095 h 10000"/>
                <a:gd name="connsiteX20" fmla="*/ 1897 w 9990"/>
                <a:gd name="connsiteY20" fmla="*/ 5132 h 10000"/>
                <a:gd name="connsiteX21" fmla="*/ 1989 w 9990"/>
                <a:gd name="connsiteY21" fmla="*/ 5169 h 10000"/>
                <a:gd name="connsiteX22" fmla="*/ 2074 w 9990"/>
                <a:gd name="connsiteY22" fmla="*/ 5212 h 10000"/>
                <a:gd name="connsiteX23" fmla="*/ 2160 w 9990"/>
                <a:gd name="connsiteY23" fmla="*/ 5250 h 10000"/>
                <a:gd name="connsiteX24" fmla="*/ 2245 w 9990"/>
                <a:gd name="connsiteY24" fmla="*/ 5292 h 10000"/>
                <a:gd name="connsiteX25" fmla="*/ 2323 w 9990"/>
                <a:gd name="connsiteY25" fmla="*/ 5335 h 10000"/>
                <a:gd name="connsiteX26" fmla="*/ 2408 w 9990"/>
                <a:gd name="connsiteY26" fmla="*/ 5383 h 10000"/>
                <a:gd name="connsiteX27" fmla="*/ 2486 w 9990"/>
                <a:gd name="connsiteY27" fmla="*/ 5431 h 10000"/>
                <a:gd name="connsiteX28" fmla="*/ 2566 w 9990"/>
                <a:gd name="connsiteY28" fmla="*/ 5479 h 10000"/>
                <a:gd name="connsiteX29" fmla="*/ 2644 w 9990"/>
                <a:gd name="connsiteY29" fmla="*/ 5527 h 10000"/>
                <a:gd name="connsiteX30" fmla="*/ 2723 w 9990"/>
                <a:gd name="connsiteY30" fmla="*/ 5581 h 10000"/>
                <a:gd name="connsiteX31" fmla="*/ 2795 w 9990"/>
                <a:gd name="connsiteY31" fmla="*/ 5634 h 10000"/>
                <a:gd name="connsiteX32" fmla="*/ 2866 w 9990"/>
                <a:gd name="connsiteY32" fmla="*/ 5688 h 10000"/>
                <a:gd name="connsiteX33" fmla="*/ 2939 w 9990"/>
                <a:gd name="connsiteY33" fmla="*/ 5747 h 10000"/>
                <a:gd name="connsiteX34" fmla="*/ 3005 w 9990"/>
                <a:gd name="connsiteY34" fmla="*/ 5805 h 10000"/>
                <a:gd name="connsiteX35" fmla="*/ 3077 w 9990"/>
                <a:gd name="connsiteY35" fmla="*/ 5864 h 10000"/>
                <a:gd name="connsiteX36" fmla="*/ 3142 w 9990"/>
                <a:gd name="connsiteY36" fmla="*/ 5923 h 10000"/>
                <a:gd name="connsiteX37" fmla="*/ 3201 w 9990"/>
                <a:gd name="connsiteY37" fmla="*/ 5987 h 10000"/>
                <a:gd name="connsiteX38" fmla="*/ 3267 w 9990"/>
                <a:gd name="connsiteY38" fmla="*/ 6046 h 10000"/>
                <a:gd name="connsiteX39" fmla="*/ 3326 w 9990"/>
                <a:gd name="connsiteY39" fmla="*/ 6110 h 10000"/>
                <a:gd name="connsiteX40" fmla="*/ 3385 w 9990"/>
                <a:gd name="connsiteY40" fmla="*/ 6174 h 10000"/>
                <a:gd name="connsiteX41" fmla="*/ 3444 w 9990"/>
                <a:gd name="connsiteY41" fmla="*/ 6238 h 10000"/>
                <a:gd name="connsiteX42" fmla="*/ 3496 w 9990"/>
                <a:gd name="connsiteY42" fmla="*/ 6308 h 10000"/>
                <a:gd name="connsiteX43" fmla="*/ 3548 w 9990"/>
                <a:gd name="connsiteY43" fmla="*/ 6377 h 10000"/>
                <a:gd name="connsiteX44" fmla="*/ 3600 w 9990"/>
                <a:gd name="connsiteY44" fmla="*/ 6447 h 10000"/>
                <a:gd name="connsiteX45" fmla="*/ 3654 w 9990"/>
                <a:gd name="connsiteY45" fmla="*/ 6516 h 10000"/>
                <a:gd name="connsiteX46" fmla="*/ 3693 w 9990"/>
                <a:gd name="connsiteY46" fmla="*/ 6591 h 10000"/>
                <a:gd name="connsiteX47" fmla="*/ 3745 w 9990"/>
                <a:gd name="connsiteY47" fmla="*/ 6666 h 10000"/>
                <a:gd name="connsiteX48" fmla="*/ 3784 w 9990"/>
                <a:gd name="connsiteY48" fmla="*/ 6735 h 10000"/>
                <a:gd name="connsiteX49" fmla="*/ 3824 w 9990"/>
                <a:gd name="connsiteY49" fmla="*/ 6810 h 10000"/>
                <a:gd name="connsiteX50" fmla="*/ 3863 w 9990"/>
                <a:gd name="connsiteY50" fmla="*/ 6885 h 10000"/>
                <a:gd name="connsiteX51" fmla="*/ 3896 w 9990"/>
                <a:gd name="connsiteY51" fmla="*/ 6960 h 10000"/>
                <a:gd name="connsiteX52" fmla="*/ 3928 w 9990"/>
                <a:gd name="connsiteY52" fmla="*/ 7040 h 10000"/>
                <a:gd name="connsiteX53" fmla="*/ 3961 w 9990"/>
                <a:gd name="connsiteY53" fmla="*/ 7120 h 10000"/>
                <a:gd name="connsiteX54" fmla="*/ 3994 w 9990"/>
                <a:gd name="connsiteY54" fmla="*/ 7195 h 10000"/>
                <a:gd name="connsiteX55" fmla="*/ 4020 w 9990"/>
                <a:gd name="connsiteY55" fmla="*/ 7275 h 10000"/>
                <a:gd name="connsiteX56" fmla="*/ 4040 w 9990"/>
                <a:gd name="connsiteY56" fmla="*/ 7355 h 10000"/>
                <a:gd name="connsiteX57" fmla="*/ 4067 w 9990"/>
                <a:gd name="connsiteY57" fmla="*/ 7441 h 10000"/>
                <a:gd name="connsiteX58" fmla="*/ 4086 w 9990"/>
                <a:gd name="connsiteY58" fmla="*/ 7521 h 10000"/>
                <a:gd name="connsiteX59" fmla="*/ 4106 w 9990"/>
                <a:gd name="connsiteY59" fmla="*/ 7601 h 10000"/>
                <a:gd name="connsiteX60" fmla="*/ 4119 w 9990"/>
                <a:gd name="connsiteY60" fmla="*/ 7687 h 10000"/>
                <a:gd name="connsiteX61" fmla="*/ 4132 w 9990"/>
                <a:gd name="connsiteY61" fmla="*/ 7772 h 10000"/>
                <a:gd name="connsiteX62" fmla="*/ 4138 w 9990"/>
                <a:gd name="connsiteY62" fmla="*/ 7858 h 10000"/>
                <a:gd name="connsiteX63" fmla="*/ 4145 w 9990"/>
                <a:gd name="connsiteY63" fmla="*/ 7943 h 10000"/>
                <a:gd name="connsiteX64" fmla="*/ 4145 w 9990"/>
                <a:gd name="connsiteY64" fmla="*/ 8029 h 10000"/>
                <a:gd name="connsiteX65" fmla="*/ 4151 w 9990"/>
                <a:gd name="connsiteY65" fmla="*/ 8114 h 10000"/>
                <a:gd name="connsiteX66" fmla="*/ 4145 w 9990"/>
                <a:gd name="connsiteY66" fmla="*/ 8227 h 10000"/>
                <a:gd name="connsiteX67" fmla="*/ 4138 w 9990"/>
                <a:gd name="connsiteY67" fmla="*/ 8343 h 10000"/>
                <a:gd name="connsiteX68" fmla="*/ 4132 w 9990"/>
                <a:gd name="connsiteY68" fmla="*/ 8450 h 10000"/>
                <a:gd name="connsiteX69" fmla="*/ 4112 w 9990"/>
                <a:gd name="connsiteY69" fmla="*/ 8562 h 10000"/>
                <a:gd name="connsiteX70" fmla="*/ 6720 w 9990"/>
                <a:gd name="connsiteY70" fmla="*/ 10000 h 10000"/>
                <a:gd name="connsiteX71" fmla="*/ 9840 w 9990"/>
                <a:gd name="connsiteY71" fmla="*/ 9498 h 10000"/>
                <a:gd name="connsiteX72" fmla="*/ 9879 w 9990"/>
                <a:gd name="connsiteY72" fmla="*/ 9332 h 10000"/>
                <a:gd name="connsiteX73" fmla="*/ 9905 w 9990"/>
                <a:gd name="connsiteY73" fmla="*/ 9161 h 10000"/>
                <a:gd name="connsiteX74" fmla="*/ 9931 w 9990"/>
                <a:gd name="connsiteY74" fmla="*/ 8990 h 10000"/>
                <a:gd name="connsiteX75" fmla="*/ 9951 w 9990"/>
                <a:gd name="connsiteY75" fmla="*/ 8813 h 10000"/>
                <a:gd name="connsiteX76" fmla="*/ 9964 w 9990"/>
                <a:gd name="connsiteY76" fmla="*/ 8637 h 10000"/>
                <a:gd name="connsiteX77" fmla="*/ 9977 w 9990"/>
                <a:gd name="connsiteY77" fmla="*/ 8466 h 10000"/>
                <a:gd name="connsiteX78" fmla="*/ 9983 w 9990"/>
                <a:gd name="connsiteY78" fmla="*/ 8291 h 10000"/>
                <a:gd name="connsiteX79" fmla="*/ 9990 w 9990"/>
                <a:gd name="connsiteY79" fmla="*/ 8114 h 10000"/>
                <a:gd name="connsiteX80" fmla="*/ 9983 w 9990"/>
                <a:gd name="connsiteY80" fmla="*/ 7901 h 10000"/>
                <a:gd name="connsiteX81" fmla="*/ 9977 w 9990"/>
                <a:gd name="connsiteY81" fmla="*/ 7697 h 10000"/>
                <a:gd name="connsiteX82" fmla="*/ 9957 w 9990"/>
                <a:gd name="connsiteY82" fmla="*/ 7489 h 10000"/>
                <a:gd name="connsiteX83" fmla="*/ 9938 w 9990"/>
                <a:gd name="connsiteY83" fmla="*/ 7286 h 10000"/>
                <a:gd name="connsiteX84" fmla="*/ 9905 w 9990"/>
                <a:gd name="connsiteY84" fmla="*/ 7077 h 10000"/>
                <a:gd name="connsiteX85" fmla="*/ 9872 w 9990"/>
                <a:gd name="connsiteY85" fmla="*/ 6880 h 10000"/>
                <a:gd name="connsiteX86" fmla="*/ 9833 w 9990"/>
                <a:gd name="connsiteY86" fmla="*/ 6677 h 10000"/>
                <a:gd name="connsiteX87" fmla="*/ 9786 w 9990"/>
                <a:gd name="connsiteY87" fmla="*/ 6479 h 10000"/>
                <a:gd name="connsiteX88" fmla="*/ 9734 w 9990"/>
                <a:gd name="connsiteY88" fmla="*/ 6281 h 10000"/>
                <a:gd name="connsiteX89" fmla="*/ 9675 w 9990"/>
                <a:gd name="connsiteY89" fmla="*/ 6089 h 10000"/>
                <a:gd name="connsiteX90" fmla="*/ 9610 w 9990"/>
                <a:gd name="connsiteY90" fmla="*/ 5891 h 10000"/>
                <a:gd name="connsiteX91" fmla="*/ 9545 w 9990"/>
                <a:gd name="connsiteY91" fmla="*/ 5698 h 10000"/>
                <a:gd name="connsiteX92" fmla="*/ 9466 w 9990"/>
                <a:gd name="connsiteY92" fmla="*/ 5511 h 10000"/>
                <a:gd name="connsiteX93" fmla="*/ 9387 w 9990"/>
                <a:gd name="connsiteY93" fmla="*/ 5324 h 10000"/>
                <a:gd name="connsiteX94" fmla="*/ 9295 w 9990"/>
                <a:gd name="connsiteY94" fmla="*/ 5137 h 10000"/>
                <a:gd name="connsiteX95" fmla="*/ 9204 w 9990"/>
                <a:gd name="connsiteY95" fmla="*/ 4957 h 10000"/>
                <a:gd name="connsiteX96" fmla="*/ 9112 w 9990"/>
                <a:gd name="connsiteY96" fmla="*/ 4775 h 10000"/>
                <a:gd name="connsiteX97" fmla="*/ 9007 w 9990"/>
                <a:gd name="connsiteY97" fmla="*/ 4598 h 10000"/>
                <a:gd name="connsiteX98" fmla="*/ 8902 w 9990"/>
                <a:gd name="connsiteY98" fmla="*/ 4422 h 10000"/>
                <a:gd name="connsiteX99" fmla="*/ 8791 w 9990"/>
                <a:gd name="connsiteY99" fmla="*/ 4246 h 10000"/>
                <a:gd name="connsiteX100" fmla="*/ 8673 w 9990"/>
                <a:gd name="connsiteY100" fmla="*/ 4075 h 10000"/>
                <a:gd name="connsiteX101" fmla="*/ 8548 w 9990"/>
                <a:gd name="connsiteY101" fmla="*/ 3909 h 10000"/>
                <a:gd name="connsiteX102" fmla="*/ 8424 w 9990"/>
                <a:gd name="connsiteY102" fmla="*/ 3743 h 10000"/>
                <a:gd name="connsiteX103" fmla="*/ 8293 w 9990"/>
                <a:gd name="connsiteY103" fmla="*/ 3578 h 10000"/>
                <a:gd name="connsiteX104" fmla="*/ 8155 w 9990"/>
                <a:gd name="connsiteY104" fmla="*/ 3417 h 10000"/>
                <a:gd name="connsiteX105" fmla="*/ 8011 w 9990"/>
                <a:gd name="connsiteY105" fmla="*/ 3262 h 10000"/>
                <a:gd name="connsiteX106" fmla="*/ 7866 w 9990"/>
                <a:gd name="connsiteY106" fmla="*/ 3107 h 10000"/>
                <a:gd name="connsiteX107" fmla="*/ 7716 w 9990"/>
                <a:gd name="connsiteY107" fmla="*/ 2952 h 10000"/>
                <a:gd name="connsiteX108" fmla="*/ 7566 w 9990"/>
                <a:gd name="connsiteY108" fmla="*/ 2808 h 10000"/>
                <a:gd name="connsiteX109" fmla="*/ 7401 w 9990"/>
                <a:gd name="connsiteY109" fmla="*/ 2664 h 10000"/>
                <a:gd name="connsiteX110" fmla="*/ 7244 w 9990"/>
                <a:gd name="connsiteY110" fmla="*/ 2519 h 10000"/>
                <a:gd name="connsiteX111" fmla="*/ 7074 w 9990"/>
                <a:gd name="connsiteY111" fmla="*/ 2375 h 10000"/>
                <a:gd name="connsiteX112" fmla="*/ 6904 w 9990"/>
                <a:gd name="connsiteY112" fmla="*/ 2241 h 10000"/>
                <a:gd name="connsiteX113" fmla="*/ 6734 w 9990"/>
                <a:gd name="connsiteY113" fmla="*/ 2108 h 10000"/>
                <a:gd name="connsiteX114" fmla="*/ 6550 w 9990"/>
                <a:gd name="connsiteY114" fmla="*/ 1980 h 10000"/>
                <a:gd name="connsiteX115" fmla="*/ 6367 w 9990"/>
                <a:gd name="connsiteY115" fmla="*/ 1857 h 10000"/>
                <a:gd name="connsiteX116" fmla="*/ 6183 w 9990"/>
                <a:gd name="connsiteY116" fmla="*/ 1734 h 10000"/>
                <a:gd name="connsiteX117" fmla="*/ 5993 w 9990"/>
                <a:gd name="connsiteY117" fmla="*/ 1617 h 10000"/>
                <a:gd name="connsiteX118" fmla="*/ 5796 w 9990"/>
                <a:gd name="connsiteY118" fmla="*/ 1500 h 10000"/>
                <a:gd name="connsiteX119" fmla="*/ 5600 w 9990"/>
                <a:gd name="connsiteY119" fmla="*/ 1387 h 10000"/>
                <a:gd name="connsiteX120" fmla="*/ 5403 w 9990"/>
                <a:gd name="connsiteY120" fmla="*/ 1280 h 10000"/>
                <a:gd name="connsiteX121" fmla="*/ 5200 w 9990"/>
                <a:gd name="connsiteY121" fmla="*/ 1179 h 10000"/>
                <a:gd name="connsiteX122" fmla="*/ 4997 w 9990"/>
                <a:gd name="connsiteY122" fmla="*/ 1077 h 10000"/>
                <a:gd name="connsiteX123" fmla="*/ 4780 w 9990"/>
                <a:gd name="connsiteY123" fmla="*/ 981 h 10000"/>
                <a:gd name="connsiteX124" fmla="*/ 4571 w 9990"/>
                <a:gd name="connsiteY124" fmla="*/ 890 h 10000"/>
                <a:gd name="connsiteX125" fmla="*/ 4354 w 9990"/>
                <a:gd name="connsiteY125" fmla="*/ 805 h 10000"/>
                <a:gd name="connsiteX126" fmla="*/ 4132 w 9990"/>
                <a:gd name="connsiteY126" fmla="*/ 719 h 10000"/>
                <a:gd name="connsiteX127" fmla="*/ 3915 w 9990"/>
                <a:gd name="connsiteY127" fmla="*/ 639 h 10000"/>
                <a:gd name="connsiteX128" fmla="*/ 3693 w 9990"/>
                <a:gd name="connsiteY128" fmla="*/ 570 h 10000"/>
                <a:gd name="connsiteX129" fmla="*/ 3463 w 9990"/>
                <a:gd name="connsiteY129" fmla="*/ 495 h 10000"/>
                <a:gd name="connsiteX130" fmla="*/ 3233 w 9990"/>
                <a:gd name="connsiteY130" fmla="*/ 431 h 10000"/>
                <a:gd name="connsiteX131" fmla="*/ 2998 w 9990"/>
                <a:gd name="connsiteY131" fmla="*/ 366 h 10000"/>
                <a:gd name="connsiteX132" fmla="*/ 2768 w 9990"/>
                <a:gd name="connsiteY132" fmla="*/ 313 h 10000"/>
                <a:gd name="connsiteX133" fmla="*/ 2527 w 9990"/>
                <a:gd name="connsiteY133" fmla="*/ 260 h 10000"/>
                <a:gd name="connsiteX134" fmla="*/ 2284 w 9990"/>
                <a:gd name="connsiteY134" fmla="*/ 211 h 10000"/>
                <a:gd name="connsiteX135" fmla="*/ 2047 w 9990"/>
                <a:gd name="connsiteY135" fmla="*/ 169 h 10000"/>
                <a:gd name="connsiteX136" fmla="*/ 1806 w 9990"/>
                <a:gd name="connsiteY136" fmla="*/ 131 h 10000"/>
                <a:gd name="connsiteX137" fmla="*/ 1556 w 9990"/>
                <a:gd name="connsiteY137" fmla="*/ 94 h 10000"/>
                <a:gd name="connsiteX138" fmla="*/ 1307 w 9990"/>
                <a:gd name="connsiteY138" fmla="*/ 67 h 10000"/>
                <a:gd name="connsiteX139" fmla="*/ 1059 w 9990"/>
                <a:gd name="connsiteY139" fmla="*/ 46 h 10000"/>
                <a:gd name="connsiteX140" fmla="*/ 809 w 9990"/>
                <a:gd name="connsiteY140" fmla="*/ 30 h 10000"/>
                <a:gd name="connsiteX141" fmla="*/ 553 w 9990"/>
                <a:gd name="connsiteY141" fmla="*/ 14 h 10000"/>
                <a:gd name="connsiteX142" fmla="*/ 298 w 9990"/>
                <a:gd name="connsiteY142" fmla="*/ 8 h 10000"/>
                <a:gd name="connsiteX143" fmla="*/ 42 w 9990"/>
                <a:gd name="connsiteY143" fmla="*/ 3 h 10000"/>
                <a:gd name="connsiteX144" fmla="*/ 3 w 9990"/>
                <a:gd name="connsiteY144" fmla="*/ 0 h 10000"/>
                <a:gd name="connsiteX145" fmla="*/ 1212 w 9990"/>
                <a:gd name="connsiteY145" fmla="*/ 2445 h 10000"/>
                <a:gd name="connsiteX146" fmla="*/ 0 w 9990"/>
                <a:gd name="connsiteY146" fmla="*/ 4770 h 10000"/>
                <a:gd name="connsiteX0" fmla="*/ 7 w 9997"/>
                <a:gd name="connsiteY0" fmla="*/ 4770 h 10000"/>
                <a:gd name="connsiteX1" fmla="*/ 20 w 9997"/>
                <a:gd name="connsiteY1" fmla="*/ 4764 h 10000"/>
                <a:gd name="connsiteX2" fmla="*/ 124 w 9997"/>
                <a:gd name="connsiteY2" fmla="*/ 4764 h 10000"/>
                <a:gd name="connsiteX3" fmla="*/ 230 w 9997"/>
                <a:gd name="connsiteY3" fmla="*/ 4770 h 10000"/>
                <a:gd name="connsiteX4" fmla="*/ 335 w 9997"/>
                <a:gd name="connsiteY4" fmla="*/ 4775 h 10000"/>
                <a:gd name="connsiteX5" fmla="*/ 439 w 9997"/>
                <a:gd name="connsiteY5" fmla="*/ 4780 h 10000"/>
                <a:gd name="connsiteX6" fmla="*/ 545 w 9997"/>
                <a:gd name="connsiteY6" fmla="*/ 4796 h 10000"/>
                <a:gd name="connsiteX7" fmla="*/ 650 w 9997"/>
                <a:gd name="connsiteY7" fmla="*/ 4807 h 10000"/>
                <a:gd name="connsiteX8" fmla="*/ 748 w 9997"/>
                <a:gd name="connsiteY8" fmla="*/ 4818 h 10000"/>
                <a:gd name="connsiteX9" fmla="*/ 846 w 9997"/>
                <a:gd name="connsiteY9" fmla="*/ 4834 h 10000"/>
                <a:gd name="connsiteX10" fmla="*/ 952 w 9997"/>
                <a:gd name="connsiteY10" fmla="*/ 4850 h 10000"/>
                <a:gd name="connsiteX11" fmla="*/ 1050 w 9997"/>
                <a:gd name="connsiteY11" fmla="*/ 4871 h 10000"/>
                <a:gd name="connsiteX12" fmla="*/ 1148 w 9997"/>
                <a:gd name="connsiteY12" fmla="*/ 4892 h 10000"/>
                <a:gd name="connsiteX13" fmla="*/ 1246 w 9997"/>
                <a:gd name="connsiteY13" fmla="*/ 4914 h 10000"/>
                <a:gd name="connsiteX14" fmla="*/ 1339 w 9997"/>
                <a:gd name="connsiteY14" fmla="*/ 4941 h 10000"/>
                <a:gd name="connsiteX15" fmla="*/ 1437 w 9997"/>
                <a:gd name="connsiteY15" fmla="*/ 4967 h 10000"/>
                <a:gd name="connsiteX16" fmla="*/ 1529 w 9997"/>
                <a:gd name="connsiteY16" fmla="*/ 4999 h 10000"/>
                <a:gd name="connsiteX17" fmla="*/ 1621 w 9997"/>
                <a:gd name="connsiteY17" fmla="*/ 5030 h 10000"/>
                <a:gd name="connsiteX18" fmla="*/ 1712 w 9997"/>
                <a:gd name="connsiteY18" fmla="*/ 5062 h 10000"/>
                <a:gd name="connsiteX19" fmla="*/ 1805 w 9997"/>
                <a:gd name="connsiteY19" fmla="*/ 5095 h 10000"/>
                <a:gd name="connsiteX20" fmla="*/ 1896 w 9997"/>
                <a:gd name="connsiteY20" fmla="*/ 5132 h 10000"/>
                <a:gd name="connsiteX21" fmla="*/ 1988 w 9997"/>
                <a:gd name="connsiteY21" fmla="*/ 5169 h 10000"/>
                <a:gd name="connsiteX22" fmla="*/ 2073 w 9997"/>
                <a:gd name="connsiteY22" fmla="*/ 5212 h 10000"/>
                <a:gd name="connsiteX23" fmla="*/ 2159 w 9997"/>
                <a:gd name="connsiteY23" fmla="*/ 5250 h 10000"/>
                <a:gd name="connsiteX24" fmla="*/ 2244 w 9997"/>
                <a:gd name="connsiteY24" fmla="*/ 5292 h 10000"/>
                <a:gd name="connsiteX25" fmla="*/ 2322 w 9997"/>
                <a:gd name="connsiteY25" fmla="*/ 5335 h 10000"/>
                <a:gd name="connsiteX26" fmla="*/ 2407 w 9997"/>
                <a:gd name="connsiteY26" fmla="*/ 5383 h 10000"/>
                <a:gd name="connsiteX27" fmla="*/ 2485 w 9997"/>
                <a:gd name="connsiteY27" fmla="*/ 5431 h 10000"/>
                <a:gd name="connsiteX28" fmla="*/ 2566 w 9997"/>
                <a:gd name="connsiteY28" fmla="*/ 5479 h 10000"/>
                <a:gd name="connsiteX29" fmla="*/ 2644 w 9997"/>
                <a:gd name="connsiteY29" fmla="*/ 5527 h 10000"/>
                <a:gd name="connsiteX30" fmla="*/ 2723 w 9997"/>
                <a:gd name="connsiteY30" fmla="*/ 5581 h 10000"/>
                <a:gd name="connsiteX31" fmla="*/ 2795 w 9997"/>
                <a:gd name="connsiteY31" fmla="*/ 5634 h 10000"/>
                <a:gd name="connsiteX32" fmla="*/ 2866 w 9997"/>
                <a:gd name="connsiteY32" fmla="*/ 5688 h 10000"/>
                <a:gd name="connsiteX33" fmla="*/ 2939 w 9997"/>
                <a:gd name="connsiteY33" fmla="*/ 5747 h 10000"/>
                <a:gd name="connsiteX34" fmla="*/ 3005 w 9997"/>
                <a:gd name="connsiteY34" fmla="*/ 5805 h 10000"/>
                <a:gd name="connsiteX35" fmla="*/ 3077 w 9997"/>
                <a:gd name="connsiteY35" fmla="*/ 5864 h 10000"/>
                <a:gd name="connsiteX36" fmla="*/ 3142 w 9997"/>
                <a:gd name="connsiteY36" fmla="*/ 5923 h 10000"/>
                <a:gd name="connsiteX37" fmla="*/ 3201 w 9997"/>
                <a:gd name="connsiteY37" fmla="*/ 5987 h 10000"/>
                <a:gd name="connsiteX38" fmla="*/ 3267 w 9997"/>
                <a:gd name="connsiteY38" fmla="*/ 6046 h 10000"/>
                <a:gd name="connsiteX39" fmla="*/ 3326 w 9997"/>
                <a:gd name="connsiteY39" fmla="*/ 6110 h 10000"/>
                <a:gd name="connsiteX40" fmla="*/ 3385 w 9997"/>
                <a:gd name="connsiteY40" fmla="*/ 6174 h 10000"/>
                <a:gd name="connsiteX41" fmla="*/ 3444 w 9997"/>
                <a:gd name="connsiteY41" fmla="*/ 6238 h 10000"/>
                <a:gd name="connsiteX42" fmla="*/ 3496 w 9997"/>
                <a:gd name="connsiteY42" fmla="*/ 6308 h 10000"/>
                <a:gd name="connsiteX43" fmla="*/ 3549 w 9997"/>
                <a:gd name="connsiteY43" fmla="*/ 6377 h 10000"/>
                <a:gd name="connsiteX44" fmla="*/ 3601 w 9997"/>
                <a:gd name="connsiteY44" fmla="*/ 6447 h 10000"/>
                <a:gd name="connsiteX45" fmla="*/ 3655 w 9997"/>
                <a:gd name="connsiteY45" fmla="*/ 6516 h 10000"/>
                <a:gd name="connsiteX46" fmla="*/ 3694 w 9997"/>
                <a:gd name="connsiteY46" fmla="*/ 6591 h 10000"/>
                <a:gd name="connsiteX47" fmla="*/ 3746 w 9997"/>
                <a:gd name="connsiteY47" fmla="*/ 6666 h 10000"/>
                <a:gd name="connsiteX48" fmla="*/ 3785 w 9997"/>
                <a:gd name="connsiteY48" fmla="*/ 6735 h 10000"/>
                <a:gd name="connsiteX49" fmla="*/ 3825 w 9997"/>
                <a:gd name="connsiteY49" fmla="*/ 6810 h 10000"/>
                <a:gd name="connsiteX50" fmla="*/ 3864 w 9997"/>
                <a:gd name="connsiteY50" fmla="*/ 6885 h 10000"/>
                <a:gd name="connsiteX51" fmla="*/ 3897 w 9997"/>
                <a:gd name="connsiteY51" fmla="*/ 6960 h 10000"/>
                <a:gd name="connsiteX52" fmla="*/ 3929 w 9997"/>
                <a:gd name="connsiteY52" fmla="*/ 7040 h 10000"/>
                <a:gd name="connsiteX53" fmla="*/ 3962 w 9997"/>
                <a:gd name="connsiteY53" fmla="*/ 7120 h 10000"/>
                <a:gd name="connsiteX54" fmla="*/ 3995 w 9997"/>
                <a:gd name="connsiteY54" fmla="*/ 7195 h 10000"/>
                <a:gd name="connsiteX55" fmla="*/ 4021 w 9997"/>
                <a:gd name="connsiteY55" fmla="*/ 7275 h 10000"/>
                <a:gd name="connsiteX56" fmla="*/ 4041 w 9997"/>
                <a:gd name="connsiteY56" fmla="*/ 7355 h 10000"/>
                <a:gd name="connsiteX57" fmla="*/ 4068 w 9997"/>
                <a:gd name="connsiteY57" fmla="*/ 7441 h 10000"/>
                <a:gd name="connsiteX58" fmla="*/ 4087 w 9997"/>
                <a:gd name="connsiteY58" fmla="*/ 7521 h 10000"/>
                <a:gd name="connsiteX59" fmla="*/ 4107 w 9997"/>
                <a:gd name="connsiteY59" fmla="*/ 7601 h 10000"/>
                <a:gd name="connsiteX60" fmla="*/ 4120 w 9997"/>
                <a:gd name="connsiteY60" fmla="*/ 7687 h 10000"/>
                <a:gd name="connsiteX61" fmla="*/ 4133 w 9997"/>
                <a:gd name="connsiteY61" fmla="*/ 7772 h 10000"/>
                <a:gd name="connsiteX62" fmla="*/ 4139 w 9997"/>
                <a:gd name="connsiteY62" fmla="*/ 7858 h 10000"/>
                <a:gd name="connsiteX63" fmla="*/ 4146 w 9997"/>
                <a:gd name="connsiteY63" fmla="*/ 7943 h 10000"/>
                <a:gd name="connsiteX64" fmla="*/ 4146 w 9997"/>
                <a:gd name="connsiteY64" fmla="*/ 8029 h 10000"/>
                <a:gd name="connsiteX65" fmla="*/ 4152 w 9997"/>
                <a:gd name="connsiteY65" fmla="*/ 8114 h 10000"/>
                <a:gd name="connsiteX66" fmla="*/ 4146 w 9997"/>
                <a:gd name="connsiteY66" fmla="*/ 8227 h 10000"/>
                <a:gd name="connsiteX67" fmla="*/ 4139 w 9997"/>
                <a:gd name="connsiteY67" fmla="*/ 8343 h 10000"/>
                <a:gd name="connsiteX68" fmla="*/ 4133 w 9997"/>
                <a:gd name="connsiteY68" fmla="*/ 8450 h 10000"/>
                <a:gd name="connsiteX69" fmla="*/ 4113 w 9997"/>
                <a:gd name="connsiteY69" fmla="*/ 8562 h 10000"/>
                <a:gd name="connsiteX70" fmla="*/ 6724 w 9997"/>
                <a:gd name="connsiteY70" fmla="*/ 10000 h 10000"/>
                <a:gd name="connsiteX71" fmla="*/ 9847 w 9997"/>
                <a:gd name="connsiteY71" fmla="*/ 9498 h 10000"/>
                <a:gd name="connsiteX72" fmla="*/ 9886 w 9997"/>
                <a:gd name="connsiteY72" fmla="*/ 9332 h 10000"/>
                <a:gd name="connsiteX73" fmla="*/ 9912 w 9997"/>
                <a:gd name="connsiteY73" fmla="*/ 9161 h 10000"/>
                <a:gd name="connsiteX74" fmla="*/ 9938 w 9997"/>
                <a:gd name="connsiteY74" fmla="*/ 8990 h 10000"/>
                <a:gd name="connsiteX75" fmla="*/ 9958 w 9997"/>
                <a:gd name="connsiteY75" fmla="*/ 8813 h 10000"/>
                <a:gd name="connsiteX76" fmla="*/ 9971 w 9997"/>
                <a:gd name="connsiteY76" fmla="*/ 8637 h 10000"/>
                <a:gd name="connsiteX77" fmla="*/ 9984 w 9997"/>
                <a:gd name="connsiteY77" fmla="*/ 8466 h 10000"/>
                <a:gd name="connsiteX78" fmla="*/ 9990 w 9997"/>
                <a:gd name="connsiteY78" fmla="*/ 8291 h 10000"/>
                <a:gd name="connsiteX79" fmla="*/ 9997 w 9997"/>
                <a:gd name="connsiteY79" fmla="*/ 8114 h 10000"/>
                <a:gd name="connsiteX80" fmla="*/ 9990 w 9997"/>
                <a:gd name="connsiteY80" fmla="*/ 7901 h 10000"/>
                <a:gd name="connsiteX81" fmla="*/ 9984 w 9997"/>
                <a:gd name="connsiteY81" fmla="*/ 7697 h 10000"/>
                <a:gd name="connsiteX82" fmla="*/ 9964 w 9997"/>
                <a:gd name="connsiteY82" fmla="*/ 7489 h 10000"/>
                <a:gd name="connsiteX83" fmla="*/ 9945 w 9997"/>
                <a:gd name="connsiteY83" fmla="*/ 7286 h 10000"/>
                <a:gd name="connsiteX84" fmla="*/ 9912 w 9997"/>
                <a:gd name="connsiteY84" fmla="*/ 7077 h 10000"/>
                <a:gd name="connsiteX85" fmla="*/ 9879 w 9997"/>
                <a:gd name="connsiteY85" fmla="*/ 6880 h 10000"/>
                <a:gd name="connsiteX86" fmla="*/ 9840 w 9997"/>
                <a:gd name="connsiteY86" fmla="*/ 6677 h 10000"/>
                <a:gd name="connsiteX87" fmla="*/ 9793 w 9997"/>
                <a:gd name="connsiteY87" fmla="*/ 6479 h 10000"/>
                <a:gd name="connsiteX88" fmla="*/ 9741 w 9997"/>
                <a:gd name="connsiteY88" fmla="*/ 6281 h 10000"/>
                <a:gd name="connsiteX89" fmla="*/ 9682 w 9997"/>
                <a:gd name="connsiteY89" fmla="*/ 6089 h 10000"/>
                <a:gd name="connsiteX90" fmla="*/ 9617 w 9997"/>
                <a:gd name="connsiteY90" fmla="*/ 5891 h 10000"/>
                <a:gd name="connsiteX91" fmla="*/ 9552 w 9997"/>
                <a:gd name="connsiteY91" fmla="*/ 5698 h 10000"/>
                <a:gd name="connsiteX92" fmla="*/ 9472 w 9997"/>
                <a:gd name="connsiteY92" fmla="*/ 5511 h 10000"/>
                <a:gd name="connsiteX93" fmla="*/ 9393 w 9997"/>
                <a:gd name="connsiteY93" fmla="*/ 5324 h 10000"/>
                <a:gd name="connsiteX94" fmla="*/ 9301 w 9997"/>
                <a:gd name="connsiteY94" fmla="*/ 5137 h 10000"/>
                <a:gd name="connsiteX95" fmla="*/ 9210 w 9997"/>
                <a:gd name="connsiteY95" fmla="*/ 4957 h 10000"/>
                <a:gd name="connsiteX96" fmla="*/ 9118 w 9997"/>
                <a:gd name="connsiteY96" fmla="*/ 4775 h 10000"/>
                <a:gd name="connsiteX97" fmla="*/ 9013 w 9997"/>
                <a:gd name="connsiteY97" fmla="*/ 4598 h 10000"/>
                <a:gd name="connsiteX98" fmla="*/ 8908 w 9997"/>
                <a:gd name="connsiteY98" fmla="*/ 4422 h 10000"/>
                <a:gd name="connsiteX99" fmla="*/ 8797 w 9997"/>
                <a:gd name="connsiteY99" fmla="*/ 4246 h 10000"/>
                <a:gd name="connsiteX100" fmla="*/ 8679 w 9997"/>
                <a:gd name="connsiteY100" fmla="*/ 4075 h 10000"/>
                <a:gd name="connsiteX101" fmla="*/ 8554 w 9997"/>
                <a:gd name="connsiteY101" fmla="*/ 3909 h 10000"/>
                <a:gd name="connsiteX102" fmla="*/ 8429 w 9997"/>
                <a:gd name="connsiteY102" fmla="*/ 3743 h 10000"/>
                <a:gd name="connsiteX103" fmla="*/ 8298 w 9997"/>
                <a:gd name="connsiteY103" fmla="*/ 3578 h 10000"/>
                <a:gd name="connsiteX104" fmla="*/ 8160 w 9997"/>
                <a:gd name="connsiteY104" fmla="*/ 3417 h 10000"/>
                <a:gd name="connsiteX105" fmla="*/ 8016 w 9997"/>
                <a:gd name="connsiteY105" fmla="*/ 3262 h 10000"/>
                <a:gd name="connsiteX106" fmla="*/ 7871 w 9997"/>
                <a:gd name="connsiteY106" fmla="*/ 3107 h 10000"/>
                <a:gd name="connsiteX107" fmla="*/ 7721 w 9997"/>
                <a:gd name="connsiteY107" fmla="*/ 2952 h 10000"/>
                <a:gd name="connsiteX108" fmla="*/ 7571 w 9997"/>
                <a:gd name="connsiteY108" fmla="*/ 2808 h 10000"/>
                <a:gd name="connsiteX109" fmla="*/ 7405 w 9997"/>
                <a:gd name="connsiteY109" fmla="*/ 2664 h 10000"/>
                <a:gd name="connsiteX110" fmla="*/ 7248 w 9997"/>
                <a:gd name="connsiteY110" fmla="*/ 2519 h 10000"/>
                <a:gd name="connsiteX111" fmla="*/ 7078 w 9997"/>
                <a:gd name="connsiteY111" fmla="*/ 2375 h 10000"/>
                <a:gd name="connsiteX112" fmla="*/ 6908 w 9997"/>
                <a:gd name="connsiteY112" fmla="*/ 2241 h 10000"/>
                <a:gd name="connsiteX113" fmla="*/ 6738 w 9997"/>
                <a:gd name="connsiteY113" fmla="*/ 2108 h 10000"/>
                <a:gd name="connsiteX114" fmla="*/ 6554 w 9997"/>
                <a:gd name="connsiteY114" fmla="*/ 1980 h 10000"/>
                <a:gd name="connsiteX115" fmla="*/ 6370 w 9997"/>
                <a:gd name="connsiteY115" fmla="*/ 1857 h 10000"/>
                <a:gd name="connsiteX116" fmla="*/ 6186 w 9997"/>
                <a:gd name="connsiteY116" fmla="*/ 1734 h 10000"/>
                <a:gd name="connsiteX117" fmla="*/ 5996 w 9997"/>
                <a:gd name="connsiteY117" fmla="*/ 1617 h 10000"/>
                <a:gd name="connsiteX118" fmla="*/ 5799 w 9997"/>
                <a:gd name="connsiteY118" fmla="*/ 1500 h 10000"/>
                <a:gd name="connsiteX119" fmla="*/ 5603 w 9997"/>
                <a:gd name="connsiteY119" fmla="*/ 1387 h 10000"/>
                <a:gd name="connsiteX120" fmla="*/ 5405 w 9997"/>
                <a:gd name="connsiteY120" fmla="*/ 1280 h 10000"/>
                <a:gd name="connsiteX121" fmla="*/ 5202 w 9997"/>
                <a:gd name="connsiteY121" fmla="*/ 1179 h 10000"/>
                <a:gd name="connsiteX122" fmla="*/ 4999 w 9997"/>
                <a:gd name="connsiteY122" fmla="*/ 1077 h 10000"/>
                <a:gd name="connsiteX123" fmla="*/ 4782 w 9997"/>
                <a:gd name="connsiteY123" fmla="*/ 981 h 10000"/>
                <a:gd name="connsiteX124" fmla="*/ 4573 w 9997"/>
                <a:gd name="connsiteY124" fmla="*/ 890 h 10000"/>
                <a:gd name="connsiteX125" fmla="*/ 4355 w 9997"/>
                <a:gd name="connsiteY125" fmla="*/ 805 h 10000"/>
                <a:gd name="connsiteX126" fmla="*/ 4133 w 9997"/>
                <a:gd name="connsiteY126" fmla="*/ 719 h 10000"/>
                <a:gd name="connsiteX127" fmla="*/ 3916 w 9997"/>
                <a:gd name="connsiteY127" fmla="*/ 639 h 10000"/>
                <a:gd name="connsiteX128" fmla="*/ 3694 w 9997"/>
                <a:gd name="connsiteY128" fmla="*/ 570 h 10000"/>
                <a:gd name="connsiteX129" fmla="*/ 3463 w 9997"/>
                <a:gd name="connsiteY129" fmla="*/ 495 h 10000"/>
                <a:gd name="connsiteX130" fmla="*/ 3233 w 9997"/>
                <a:gd name="connsiteY130" fmla="*/ 431 h 10000"/>
                <a:gd name="connsiteX131" fmla="*/ 2998 w 9997"/>
                <a:gd name="connsiteY131" fmla="*/ 366 h 10000"/>
                <a:gd name="connsiteX132" fmla="*/ 2768 w 9997"/>
                <a:gd name="connsiteY132" fmla="*/ 313 h 10000"/>
                <a:gd name="connsiteX133" fmla="*/ 2527 w 9997"/>
                <a:gd name="connsiteY133" fmla="*/ 260 h 10000"/>
                <a:gd name="connsiteX134" fmla="*/ 2283 w 9997"/>
                <a:gd name="connsiteY134" fmla="*/ 211 h 10000"/>
                <a:gd name="connsiteX135" fmla="*/ 2046 w 9997"/>
                <a:gd name="connsiteY135" fmla="*/ 169 h 10000"/>
                <a:gd name="connsiteX136" fmla="*/ 1805 w 9997"/>
                <a:gd name="connsiteY136" fmla="*/ 131 h 10000"/>
                <a:gd name="connsiteX137" fmla="*/ 1555 w 9997"/>
                <a:gd name="connsiteY137" fmla="*/ 94 h 10000"/>
                <a:gd name="connsiteX138" fmla="*/ 1305 w 9997"/>
                <a:gd name="connsiteY138" fmla="*/ 67 h 10000"/>
                <a:gd name="connsiteX139" fmla="*/ 1057 w 9997"/>
                <a:gd name="connsiteY139" fmla="*/ 46 h 10000"/>
                <a:gd name="connsiteX140" fmla="*/ 807 w 9997"/>
                <a:gd name="connsiteY140" fmla="*/ 30 h 10000"/>
                <a:gd name="connsiteX141" fmla="*/ 551 w 9997"/>
                <a:gd name="connsiteY141" fmla="*/ 14 h 10000"/>
                <a:gd name="connsiteX142" fmla="*/ 295 w 9997"/>
                <a:gd name="connsiteY142" fmla="*/ 8 h 10000"/>
                <a:gd name="connsiteX143" fmla="*/ 39 w 9997"/>
                <a:gd name="connsiteY143" fmla="*/ 3 h 10000"/>
                <a:gd name="connsiteX144" fmla="*/ 0 w 9997"/>
                <a:gd name="connsiteY144" fmla="*/ 0 h 10000"/>
                <a:gd name="connsiteX145" fmla="*/ 1210 w 9997"/>
                <a:gd name="connsiteY145" fmla="*/ 2445 h 10000"/>
                <a:gd name="connsiteX146" fmla="*/ 7 w 9997"/>
                <a:gd name="connsiteY146" fmla="*/ 477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</a:cxnLst>
              <a:rect l="l" t="t" r="r" b="b"/>
              <a:pathLst>
                <a:path w="9997" h="10000">
                  <a:moveTo>
                    <a:pt x="7" y="4770"/>
                  </a:moveTo>
                  <a:cubicBezTo>
                    <a:pt x="15" y="4768"/>
                    <a:pt x="12" y="4766"/>
                    <a:pt x="20" y="4764"/>
                  </a:cubicBezTo>
                  <a:lnTo>
                    <a:pt x="124" y="4764"/>
                  </a:lnTo>
                  <a:lnTo>
                    <a:pt x="230" y="4770"/>
                  </a:lnTo>
                  <a:lnTo>
                    <a:pt x="335" y="4775"/>
                  </a:lnTo>
                  <a:lnTo>
                    <a:pt x="439" y="4780"/>
                  </a:lnTo>
                  <a:lnTo>
                    <a:pt x="545" y="4796"/>
                  </a:lnTo>
                  <a:lnTo>
                    <a:pt x="650" y="4807"/>
                  </a:lnTo>
                  <a:lnTo>
                    <a:pt x="748" y="4818"/>
                  </a:lnTo>
                  <a:cubicBezTo>
                    <a:pt x="781" y="4823"/>
                    <a:pt x="813" y="4829"/>
                    <a:pt x="846" y="4834"/>
                  </a:cubicBezTo>
                  <a:lnTo>
                    <a:pt x="952" y="4850"/>
                  </a:lnTo>
                  <a:lnTo>
                    <a:pt x="1050" y="4871"/>
                  </a:lnTo>
                  <a:lnTo>
                    <a:pt x="1148" y="4892"/>
                  </a:lnTo>
                  <a:cubicBezTo>
                    <a:pt x="1181" y="4899"/>
                    <a:pt x="1213" y="4907"/>
                    <a:pt x="1246" y="4914"/>
                  </a:cubicBezTo>
                  <a:lnTo>
                    <a:pt x="1339" y="4941"/>
                  </a:lnTo>
                  <a:lnTo>
                    <a:pt x="1437" y="4967"/>
                  </a:lnTo>
                  <a:cubicBezTo>
                    <a:pt x="1467" y="4978"/>
                    <a:pt x="1499" y="4988"/>
                    <a:pt x="1529" y="4999"/>
                  </a:cubicBezTo>
                  <a:cubicBezTo>
                    <a:pt x="1560" y="5009"/>
                    <a:pt x="1590" y="5020"/>
                    <a:pt x="1621" y="5030"/>
                  </a:cubicBezTo>
                  <a:cubicBezTo>
                    <a:pt x="1651" y="5041"/>
                    <a:pt x="1682" y="5051"/>
                    <a:pt x="1712" y="5062"/>
                  </a:cubicBezTo>
                  <a:lnTo>
                    <a:pt x="1805" y="5095"/>
                  </a:lnTo>
                  <a:lnTo>
                    <a:pt x="1896" y="5132"/>
                  </a:lnTo>
                  <a:cubicBezTo>
                    <a:pt x="1927" y="5144"/>
                    <a:pt x="1957" y="5157"/>
                    <a:pt x="1988" y="5169"/>
                  </a:cubicBezTo>
                  <a:lnTo>
                    <a:pt x="2073" y="5212"/>
                  </a:lnTo>
                  <a:cubicBezTo>
                    <a:pt x="2101" y="5225"/>
                    <a:pt x="2131" y="5237"/>
                    <a:pt x="2159" y="5250"/>
                  </a:cubicBezTo>
                  <a:lnTo>
                    <a:pt x="2244" y="5292"/>
                  </a:lnTo>
                  <a:cubicBezTo>
                    <a:pt x="2270" y="5306"/>
                    <a:pt x="2296" y="5321"/>
                    <a:pt x="2322" y="5335"/>
                  </a:cubicBezTo>
                  <a:lnTo>
                    <a:pt x="2407" y="5383"/>
                  </a:lnTo>
                  <a:lnTo>
                    <a:pt x="2485" y="5431"/>
                  </a:lnTo>
                  <a:lnTo>
                    <a:pt x="2566" y="5479"/>
                  </a:lnTo>
                  <a:lnTo>
                    <a:pt x="2644" y="5527"/>
                  </a:lnTo>
                  <a:lnTo>
                    <a:pt x="2723" y="5581"/>
                  </a:lnTo>
                  <a:cubicBezTo>
                    <a:pt x="2747" y="5599"/>
                    <a:pt x="2771" y="5616"/>
                    <a:pt x="2795" y="5634"/>
                  </a:cubicBezTo>
                  <a:cubicBezTo>
                    <a:pt x="2819" y="5652"/>
                    <a:pt x="2842" y="5670"/>
                    <a:pt x="2866" y="5688"/>
                  </a:cubicBezTo>
                  <a:cubicBezTo>
                    <a:pt x="2891" y="5708"/>
                    <a:pt x="2915" y="5727"/>
                    <a:pt x="2939" y="5747"/>
                  </a:cubicBezTo>
                  <a:cubicBezTo>
                    <a:pt x="2961" y="5766"/>
                    <a:pt x="2983" y="5786"/>
                    <a:pt x="3005" y="5805"/>
                  </a:cubicBezTo>
                  <a:cubicBezTo>
                    <a:pt x="3029" y="5825"/>
                    <a:pt x="3053" y="5844"/>
                    <a:pt x="3077" y="5864"/>
                  </a:cubicBezTo>
                  <a:lnTo>
                    <a:pt x="3142" y="5923"/>
                  </a:lnTo>
                  <a:cubicBezTo>
                    <a:pt x="3162" y="5944"/>
                    <a:pt x="3181" y="5966"/>
                    <a:pt x="3201" y="5987"/>
                  </a:cubicBezTo>
                  <a:cubicBezTo>
                    <a:pt x="3223" y="6007"/>
                    <a:pt x="3245" y="6026"/>
                    <a:pt x="3267" y="6046"/>
                  </a:cubicBezTo>
                  <a:cubicBezTo>
                    <a:pt x="3287" y="6067"/>
                    <a:pt x="3306" y="6089"/>
                    <a:pt x="3326" y="6110"/>
                  </a:cubicBezTo>
                  <a:cubicBezTo>
                    <a:pt x="3346" y="6131"/>
                    <a:pt x="3365" y="6153"/>
                    <a:pt x="3385" y="6174"/>
                  </a:cubicBezTo>
                  <a:cubicBezTo>
                    <a:pt x="3405" y="6195"/>
                    <a:pt x="3424" y="6217"/>
                    <a:pt x="3444" y="6238"/>
                  </a:cubicBezTo>
                  <a:lnTo>
                    <a:pt x="3496" y="6308"/>
                  </a:lnTo>
                  <a:cubicBezTo>
                    <a:pt x="3514" y="6331"/>
                    <a:pt x="3532" y="6354"/>
                    <a:pt x="3549" y="6377"/>
                  </a:cubicBezTo>
                  <a:lnTo>
                    <a:pt x="3601" y="6447"/>
                  </a:lnTo>
                  <a:cubicBezTo>
                    <a:pt x="3619" y="6470"/>
                    <a:pt x="3636" y="6493"/>
                    <a:pt x="3655" y="6516"/>
                  </a:cubicBezTo>
                  <a:lnTo>
                    <a:pt x="3694" y="6591"/>
                  </a:lnTo>
                  <a:cubicBezTo>
                    <a:pt x="3711" y="6616"/>
                    <a:pt x="3729" y="6641"/>
                    <a:pt x="3746" y="6666"/>
                  </a:cubicBezTo>
                  <a:lnTo>
                    <a:pt x="3785" y="6735"/>
                  </a:lnTo>
                  <a:cubicBezTo>
                    <a:pt x="3798" y="6760"/>
                    <a:pt x="3812" y="6785"/>
                    <a:pt x="3825" y="6810"/>
                  </a:cubicBezTo>
                  <a:lnTo>
                    <a:pt x="3864" y="6885"/>
                  </a:lnTo>
                  <a:lnTo>
                    <a:pt x="3897" y="6960"/>
                  </a:lnTo>
                  <a:cubicBezTo>
                    <a:pt x="3908" y="6987"/>
                    <a:pt x="3918" y="7013"/>
                    <a:pt x="3929" y="7040"/>
                  </a:cubicBezTo>
                  <a:cubicBezTo>
                    <a:pt x="3940" y="7067"/>
                    <a:pt x="3951" y="7093"/>
                    <a:pt x="3962" y="7120"/>
                  </a:cubicBezTo>
                  <a:lnTo>
                    <a:pt x="3995" y="7195"/>
                  </a:lnTo>
                  <a:cubicBezTo>
                    <a:pt x="4004" y="7222"/>
                    <a:pt x="4012" y="7248"/>
                    <a:pt x="4021" y="7275"/>
                  </a:cubicBezTo>
                  <a:cubicBezTo>
                    <a:pt x="4027" y="7302"/>
                    <a:pt x="4035" y="7328"/>
                    <a:pt x="4041" y="7355"/>
                  </a:cubicBezTo>
                  <a:cubicBezTo>
                    <a:pt x="4050" y="7384"/>
                    <a:pt x="4059" y="7412"/>
                    <a:pt x="4068" y="7441"/>
                  </a:cubicBezTo>
                  <a:cubicBezTo>
                    <a:pt x="4074" y="7468"/>
                    <a:pt x="4081" y="7494"/>
                    <a:pt x="4087" y="7521"/>
                  </a:cubicBezTo>
                  <a:cubicBezTo>
                    <a:pt x="4094" y="7548"/>
                    <a:pt x="4100" y="7574"/>
                    <a:pt x="4107" y="7601"/>
                  </a:cubicBezTo>
                  <a:cubicBezTo>
                    <a:pt x="4111" y="7630"/>
                    <a:pt x="4116" y="7658"/>
                    <a:pt x="4120" y="7687"/>
                  </a:cubicBezTo>
                  <a:cubicBezTo>
                    <a:pt x="4124" y="7715"/>
                    <a:pt x="4129" y="7744"/>
                    <a:pt x="4133" y="7772"/>
                  </a:cubicBezTo>
                  <a:cubicBezTo>
                    <a:pt x="4135" y="7801"/>
                    <a:pt x="4137" y="7829"/>
                    <a:pt x="4139" y="7858"/>
                  </a:cubicBezTo>
                  <a:cubicBezTo>
                    <a:pt x="4141" y="7886"/>
                    <a:pt x="4144" y="7915"/>
                    <a:pt x="4146" y="7943"/>
                  </a:cubicBezTo>
                  <a:lnTo>
                    <a:pt x="4146" y="8029"/>
                  </a:lnTo>
                  <a:cubicBezTo>
                    <a:pt x="4148" y="8057"/>
                    <a:pt x="4150" y="8086"/>
                    <a:pt x="4152" y="8114"/>
                  </a:cubicBezTo>
                  <a:cubicBezTo>
                    <a:pt x="4150" y="8152"/>
                    <a:pt x="4148" y="8189"/>
                    <a:pt x="4146" y="8227"/>
                  </a:cubicBezTo>
                  <a:cubicBezTo>
                    <a:pt x="4144" y="8266"/>
                    <a:pt x="4141" y="8305"/>
                    <a:pt x="4139" y="8343"/>
                  </a:cubicBezTo>
                  <a:cubicBezTo>
                    <a:pt x="4137" y="8379"/>
                    <a:pt x="4135" y="8414"/>
                    <a:pt x="4133" y="8450"/>
                  </a:cubicBezTo>
                  <a:cubicBezTo>
                    <a:pt x="4126" y="8487"/>
                    <a:pt x="4120" y="8525"/>
                    <a:pt x="4113" y="8562"/>
                  </a:cubicBezTo>
                  <a:lnTo>
                    <a:pt x="6724" y="10000"/>
                  </a:lnTo>
                  <a:lnTo>
                    <a:pt x="9847" y="9498"/>
                  </a:lnTo>
                  <a:cubicBezTo>
                    <a:pt x="9860" y="9443"/>
                    <a:pt x="9873" y="9387"/>
                    <a:pt x="9886" y="9332"/>
                  </a:cubicBezTo>
                  <a:cubicBezTo>
                    <a:pt x="9895" y="9275"/>
                    <a:pt x="9903" y="9218"/>
                    <a:pt x="9912" y="9161"/>
                  </a:cubicBezTo>
                  <a:cubicBezTo>
                    <a:pt x="9921" y="9104"/>
                    <a:pt x="9929" y="9047"/>
                    <a:pt x="9938" y="8990"/>
                  </a:cubicBezTo>
                  <a:cubicBezTo>
                    <a:pt x="9945" y="8931"/>
                    <a:pt x="9951" y="8872"/>
                    <a:pt x="9958" y="8813"/>
                  </a:cubicBezTo>
                  <a:cubicBezTo>
                    <a:pt x="9962" y="8754"/>
                    <a:pt x="9967" y="8696"/>
                    <a:pt x="9971" y="8637"/>
                  </a:cubicBezTo>
                  <a:cubicBezTo>
                    <a:pt x="9975" y="8580"/>
                    <a:pt x="9980" y="8523"/>
                    <a:pt x="9984" y="8466"/>
                  </a:cubicBezTo>
                  <a:cubicBezTo>
                    <a:pt x="9986" y="8407"/>
                    <a:pt x="9988" y="8349"/>
                    <a:pt x="9990" y="8291"/>
                  </a:cubicBezTo>
                  <a:cubicBezTo>
                    <a:pt x="9992" y="8232"/>
                    <a:pt x="9995" y="8173"/>
                    <a:pt x="9997" y="8114"/>
                  </a:cubicBezTo>
                  <a:cubicBezTo>
                    <a:pt x="9995" y="8043"/>
                    <a:pt x="9992" y="7972"/>
                    <a:pt x="9990" y="7901"/>
                  </a:cubicBezTo>
                  <a:lnTo>
                    <a:pt x="9984" y="7697"/>
                  </a:lnTo>
                  <a:cubicBezTo>
                    <a:pt x="9977" y="7628"/>
                    <a:pt x="9971" y="7558"/>
                    <a:pt x="9964" y="7489"/>
                  </a:cubicBezTo>
                  <a:cubicBezTo>
                    <a:pt x="9958" y="7421"/>
                    <a:pt x="9951" y="7354"/>
                    <a:pt x="9945" y="7286"/>
                  </a:cubicBezTo>
                  <a:cubicBezTo>
                    <a:pt x="9934" y="7216"/>
                    <a:pt x="9923" y="7147"/>
                    <a:pt x="9912" y="7077"/>
                  </a:cubicBezTo>
                  <a:cubicBezTo>
                    <a:pt x="9901" y="7011"/>
                    <a:pt x="9890" y="6946"/>
                    <a:pt x="9879" y="6880"/>
                  </a:cubicBezTo>
                  <a:cubicBezTo>
                    <a:pt x="9866" y="6812"/>
                    <a:pt x="9853" y="6745"/>
                    <a:pt x="9840" y="6677"/>
                  </a:cubicBezTo>
                  <a:cubicBezTo>
                    <a:pt x="9825" y="6611"/>
                    <a:pt x="9809" y="6545"/>
                    <a:pt x="9793" y="6479"/>
                  </a:cubicBezTo>
                  <a:cubicBezTo>
                    <a:pt x="9776" y="6413"/>
                    <a:pt x="9758" y="6347"/>
                    <a:pt x="9741" y="6281"/>
                  </a:cubicBezTo>
                  <a:cubicBezTo>
                    <a:pt x="9721" y="6217"/>
                    <a:pt x="9702" y="6153"/>
                    <a:pt x="9682" y="6089"/>
                  </a:cubicBezTo>
                  <a:cubicBezTo>
                    <a:pt x="9660" y="6023"/>
                    <a:pt x="9639" y="5957"/>
                    <a:pt x="9617" y="5891"/>
                  </a:cubicBezTo>
                  <a:cubicBezTo>
                    <a:pt x="9595" y="5827"/>
                    <a:pt x="9574" y="5762"/>
                    <a:pt x="9552" y="5698"/>
                  </a:cubicBezTo>
                  <a:cubicBezTo>
                    <a:pt x="9526" y="5636"/>
                    <a:pt x="9499" y="5573"/>
                    <a:pt x="9472" y="5511"/>
                  </a:cubicBezTo>
                  <a:cubicBezTo>
                    <a:pt x="9446" y="5449"/>
                    <a:pt x="9420" y="5386"/>
                    <a:pt x="9393" y="5324"/>
                  </a:cubicBezTo>
                  <a:cubicBezTo>
                    <a:pt x="9362" y="5262"/>
                    <a:pt x="9332" y="5199"/>
                    <a:pt x="9301" y="5137"/>
                  </a:cubicBezTo>
                  <a:cubicBezTo>
                    <a:pt x="9271" y="5077"/>
                    <a:pt x="9240" y="5016"/>
                    <a:pt x="9210" y="4957"/>
                  </a:cubicBezTo>
                  <a:cubicBezTo>
                    <a:pt x="9179" y="4896"/>
                    <a:pt x="9149" y="4836"/>
                    <a:pt x="9118" y="4775"/>
                  </a:cubicBezTo>
                  <a:cubicBezTo>
                    <a:pt x="9083" y="4716"/>
                    <a:pt x="9049" y="4657"/>
                    <a:pt x="9013" y="4598"/>
                  </a:cubicBezTo>
                  <a:lnTo>
                    <a:pt x="8908" y="4422"/>
                  </a:lnTo>
                  <a:lnTo>
                    <a:pt x="8797" y="4246"/>
                  </a:lnTo>
                  <a:cubicBezTo>
                    <a:pt x="8758" y="4189"/>
                    <a:pt x="8718" y="4132"/>
                    <a:pt x="8679" y="4075"/>
                  </a:cubicBezTo>
                  <a:cubicBezTo>
                    <a:pt x="8637" y="4020"/>
                    <a:pt x="8596" y="3964"/>
                    <a:pt x="8554" y="3909"/>
                  </a:cubicBezTo>
                  <a:cubicBezTo>
                    <a:pt x="8512" y="3854"/>
                    <a:pt x="8471" y="3798"/>
                    <a:pt x="8429" y="3743"/>
                  </a:cubicBezTo>
                  <a:lnTo>
                    <a:pt x="8298" y="3578"/>
                  </a:lnTo>
                  <a:lnTo>
                    <a:pt x="8160" y="3417"/>
                  </a:lnTo>
                  <a:lnTo>
                    <a:pt x="8016" y="3262"/>
                  </a:lnTo>
                  <a:cubicBezTo>
                    <a:pt x="7968" y="3210"/>
                    <a:pt x="7919" y="3159"/>
                    <a:pt x="7871" y="3107"/>
                  </a:cubicBezTo>
                  <a:lnTo>
                    <a:pt x="7721" y="2952"/>
                  </a:lnTo>
                  <a:lnTo>
                    <a:pt x="7571" y="2808"/>
                  </a:lnTo>
                  <a:lnTo>
                    <a:pt x="7405" y="2664"/>
                  </a:lnTo>
                  <a:lnTo>
                    <a:pt x="7248" y="2519"/>
                  </a:lnTo>
                  <a:lnTo>
                    <a:pt x="7078" y="2375"/>
                  </a:lnTo>
                  <a:lnTo>
                    <a:pt x="6908" y="2241"/>
                  </a:lnTo>
                  <a:cubicBezTo>
                    <a:pt x="6851" y="2197"/>
                    <a:pt x="6795" y="2152"/>
                    <a:pt x="6738" y="2108"/>
                  </a:cubicBezTo>
                  <a:lnTo>
                    <a:pt x="6554" y="1980"/>
                  </a:lnTo>
                  <a:lnTo>
                    <a:pt x="6370" y="1857"/>
                  </a:lnTo>
                  <a:lnTo>
                    <a:pt x="6186" y="1734"/>
                  </a:lnTo>
                  <a:lnTo>
                    <a:pt x="5996" y="1617"/>
                  </a:lnTo>
                  <a:lnTo>
                    <a:pt x="5799" y="1500"/>
                  </a:lnTo>
                  <a:lnTo>
                    <a:pt x="5603" y="1387"/>
                  </a:lnTo>
                  <a:lnTo>
                    <a:pt x="5405" y="1280"/>
                  </a:lnTo>
                  <a:lnTo>
                    <a:pt x="5202" y="1179"/>
                  </a:lnTo>
                  <a:lnTo>
                    <a:pt x="4999" y="1077"/>
                  </a:lnTo>
                  <a:lnTo>
                    <a:pt x="4782" y="981"/>
                  </a:lnTo>
                  <a:lnTo>
                    <a:pt x="4573" y="890"/>
                  </a:lnTo>
                  <a:lnTo>
                    <a:pt x="4355" y="805"/>
                  </a:lnTo>
                  <a:lnTo>
                    <a:pt x="4133" y="719"/>
                  </a:lnTo>
                  <a:lnTo>
                    <a:pt x="3916" y="639"/>
                  </a:lnTo>
                  <a:lnTo>
                    <a:pt x="3694" y="570"/>
                  </a:lnTo>
                  <a:lnTo>
                    <a:pt x="3463" y="495"/>
                  </a:lnTo>
                  <a:lnTo>
                    <a:pt x="3233" y="431"/>
                  </a:lnTo>
                  <a:lnTo>
                    <a:pt x="2998" y="366"/>
                  </a:lnTo>
                  <a:lnTo>
                    <a:pt x="2768" y="313"/>
                  </a:lnTo>
                  <a:lnTo>
                    <a:pt x="2527" y="260"/>
                  </a:lnTo>
                  <a:lnTo>
                    <a:pt x="2283" y="211"/>
                  </a:lnTo>
                  <a:lnTo>
                    <a:pt x="2046" y="169"/>
                  </a:lnTo>
                  <a:lnTo>
                    <a:pt x="1805" y="131"/>
                  </a:lnTo>
                  <a:lnTo>
                    <a:pt x="1555" y="94"/>
                  </a:lnTo>
                  <a:lnTo>
                    <a:pt x="1305" y="67"/>
                  </a:lnTo>
                  <a:lnTo>
                    <a:pt x="1057" y="46"/>
                  </a:lnTo>
                  <a:lnTo>
                    <a:pt x="807" y="30"/>
                  </a:lnTo>
                  <a:lnTo>
                    <a:pt x="551" y="14"/>
                  </a:lnTo>
                  <a:lnTo>
                    <a:pt x="295" y="8"/>
                  </a:lnTo>
                  <a:lnTo>
                    <a:pt x="39" y="3"/>
                  </a:lnTo>
                  <a:cubicBezTo>
                    <a:pt x="13" y="5"/>
                    <a:pt x="26" y="-2"/>
                    <a:pt x="0" y="0"/>
                  </a:cubicBezTo>
                  <a:lnTo>
                    <a:pt x="1210" y="2445"/>
                  </a:lnTo>
                  <a:lnTo>
                    <a:pt x="7" y="477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/>
            </a:p>
          </p:txBody>
        </p:sp>
        <p:sp>
          <p:nvSpPr>
            <p:cNvPr id="65" name="Freeform 4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-84370714" y="-26265662"/>
              <a:ext cx="41346518" cy="66837563"/>
            </a:xfrm>
            <a:custGeom>
              <a:avLst/>
              <a:gdLst>
                <a:gd name="T0" fmla="*/ 2147483647 w 1349"/>
                <a:gd name="T1" fmla="*/ 2147483647 h 2182"/>
                <a:gd name="T2" fmla="*/ 2147483647 w 1349"/>
                <a:gd name="T3" fmla="*/ 2147483647 h 2182"/>
                <a:gd name="T4" fmla="*/ 2147483647 w 1349"/>
                <a:gd name="T5" fmla="*/ 2147483647 h 2182"/>
                <a:gd name="T6" fmla="*/ 2147483647 w 1349"/>
                <a:gd name="T7" fmla="*/ 2147483647 h 2182"/>
                <a:gd name="T8" fmla="*/ 2147483647 w 1349"/>
                <a:gd name="T9" fmla="*/ 2147483647 h 2182"/>
                <a:gd name="T10" fmla="*/ 2147483647 w 1349"/>
                <a:gd name="T11" fmla="*/ 2147483647 h 2182"/>
                <a:gd name="T12" fmla="*/ 2147483647 w 1349"/>
                <a:gd name="T13" fmla="*/ 2147483647 h 2182"/>
                <a:gd name="T14" fmla="*/ 2147483647 w 1349"/>
                <a:gd name="T15" fmla="*/ 2147483647 h 2182"/>
                <a:gd name="T16" fmla="*/ 2147483647 w 1349"/>
                <a:gd name="T17" fmla="*/ 2147483647 h 2182"/>
                <a:gd name="T18" fmla="*/ 2147483647 w 1349"/>
                <a:gd name="T19" fmla="*/ 2147483647 h 2182"/>
                <a:gd name="T20" fmla="*/ 2147483647 w 1349"/>
                <a:gd name="T21" fmla="*/ 2147483647 h 2182"/>
                <a:gd name="T22" fmla="*/ 2147483647 w 1349"/>
                <a:gd name="T23" fmla="*/ 2147483647 h 2182"/>
                <a:gd name="T24" fmla="*/ 2147483647 w 1349"/>
                <a:gd name="T25" fmla="*/ 2147483647 h 2182"/>
                <a:gd name="T26" fmla="*/ 2147483647 w 1349"/>
                <a:gd name="T27" fmla="*/ 2147483647 h 2182"/>
                <a:gd name="T28" fmla="*/ 2147483647 w 1349"/>
                <a:gd name="T29" fmla="*/ 2147483647 h 2182"/>
                <a:gd name="T30" fmla="*/ 2147483647 w 1349"/>
                <a:gd name="T31" fmla="*/ 2147483647 h 2182"/>
                <a:gd name="T32" fmla="*/ 2147483647 w 1349"/>
                <a:gd name="T33" fmla="*/ 2147483647 h 2182"/>
                <a:gd name="T34" fmla="*/ 2147483647 w 1349"/>
                <a:gd name="T35" fmla="*/ 2147483647 h 2182"/>
                <a:gd name="T36" fmla="*/ 2147483647 w 1349"/>
                <a:gd name="T37" fmla="*/ 2147483647 h 2182"/>
                <a:gd name="T38" fmla="*/ 2147483647 w 1349"/>
                <a:gd name="T39" fmla="*/ 2147483647 h 2182"/>
                <a:gd name="T40" fmla="*/ 2147483647 w 1349"/>
                <a:gd name="T41" fmla="*/ 2147483647 h 2182"/>
                <a:gd name="T42" fmla="*/ 2147483647 w 1349"/>
                <a:gd name="T43" fmla="*/ 2147483647 h 2182"/>
                <a:gd name="T44" fmla="*/ 2147483647 w 1349"/>
                <a:gd name="T45" fmla="*/ 2147483647 h 2182"/>
                <a:gd name="T46" fmla="*/ 2147483647 w 1349"/>
                <a:gd name="T47" fmla="*/ 2147483647 h 2182"/>
                <a:gd name="T48" fmla="*/ 2147483647 w 1349"/>
                <a:gd name="T49" fmla="*/ 2147483647 h 2182"/>
                <a:gd name="T50" fmla="*/ 2147483647 w 1349"/>
                <a:gd name="T51" fmla="*/ 2147483647 h 2182"/>
                <a:gd name="T52" fmla="*/ 2147483647 w 1349"/>
                <a:gd name="T53" fmla="*/ 2147483647 h 2182"/>
                <a:gd name="T54" fmla="*/ 2147483647 w 1349"/>
                <a:gd name="T55" fmla="*/ 2147483647 h 2182"/>
                <a:gd name="T56" fmla="*/ 2147483647 w 1349"/>
                <a:gd name="T57" fmla="*/ 2147483647 h 2182"/>
                <a:gd name="T58" fmla="*/ 2147483647 w 1349"/>
                <a:gd name="T59" fmla="*/ 2147483647 h 2182"/>
                <a:gd name="T60" fmla="*/ 2147483647 w 1349"/>
                <a:gd name="T61" fmla="*/ 2147483647 h 2182"/>
                <a:gd name="T62" fmla="*/ 2147483647 w 1349"/>
                <a:gd name="T63" fmla="*/ 2147483647 h 2182"/>
                <a:gd name="T64" fmla="*/ 2147483647 w 1349"/>
                <a:gd name="T65" fmla="*/ 2147483647 h 2182"/>
                <a:gd name="T66" fmla="*/ 2147483647 w 1349"/>
                <a:gd name="T67" fmla="*/ 2147483647 h 2182"/>
                <a:gd name="T68" fmla="*/ 2147483647 w 1349"/>
                <a:gd name="T69" fmla="*/ 2147483647 h 2182"/>
                <a:gd name="T70" fmla="*/ 2147483647 w 1349"/>
                <a:gd name="T71" fmla="*/ 2147483647 h 2182"/>
                <a:gd name="T72" fmla="*/ 2147483647 w 1349"/>
                <a:gd name="T73" fmla="*/ 2147483647 h 2182"/>
                <a:gd name="T74" fmla="*/ 0 w 1349"/>
                <a:gd name="T75" fmla="*/ 2147483647 h 2182"/>
                <a:gd name="T76" fmla="*/ 2147483647 w 1349"/>
                <a:gd name="T77" fmla="*/ 2147483647 h 2182"/>
                <a:gd name="T78" fmla="*/ 2147483647 w 1349"/>
                <a:gd name="T79" fmla="*/ 2147483647 h 2182"/>
                <a:gd name="T80" fmla="*/ 2147483647 w 1349"/>
                <a:gd name="T81" fmla="*/ 2147483647 h 2182"/>
                <a:gd name="T82" fmla="*/ 2147483647 w 1349"/>
                <a:gd name="T83" fmla="*/ 2147483647 h 2182"/>
                <a:gd name="T84" fmla="*/ 2147483647 w 1349"/>
                <a:gd name="T85" fmla="*/ 2147483647 h 2182"/>
                <a:gd name="T86" fmla="*/ 2147483647 w 1349"/>
                <a:gd name="T87" fmla="*/ 2147483647 h 2182"/>
                <a:gd name="T88" fmla="*/ 2147483647 w 1349"/>
                <a:gd name="T89" fmla="*/ 2147483647 h 2182"/>
                <a:gd name="T90" fmla="*/ 2147483647 w 1349"/>
                <a:gd name="T91" fmla="*/ 2147483647 h 2182"/>
                <a:gd name="T92" fmla="*/ 2147483647 w 1349"/>
                <a:gd name="T93" fmla="*/ 2147483647 h 2182"/>
                <a:gd name="T94" fmla="*/ 2147483647 w 1349"/>
                <a:gd name="T95" fmla="*/ 2147483647 h 2182"/>
                <a:gd name="T96" fmla="*/ 2147483647 w 1349"/>
                <a:gd name="T97" fmla="*/ 2147483647 h 2182"/>
                <a:gd name="T98" fmla="*/ 2147483647 w 1349"/>
                <a:gd name="T99" fmla="*/ 2147483647 h 2182"/>
                <a:gd name="T100" fmla="*/ 2147483647 w 1349"/>
                <a:gd name="T101" fmla="*/ 2147483647 h 2182"/>
                <a:gd name="T102" fmla="*/ 2147483647 w 1349"/>
                <a:gd name="T103" fmla="*/ 2147483647 h 2182"/>
                <a:gd name="T104" fmla="*/ 2147483647 w 1349"/>
                <a:gd name="T105" fmla="*/ 2147483647 h 2182"/>
                <a:gd name="T106" fmla="*/ 2147483647 w 1349"/>
                <a:gd name="T107" fmla="*/ 2147483647 h 2182"/>
                <a:gd name="T108" fmla="*/ 2147483647 w 1349"/>
                <a:gd name="T109" fmla="*/ 2147483647 h 2182"/>
                <a:gd name="T110" fmla="*/ 2147483647 w 1349"/>
                <a:gd name="T111" fmla="*/ 2147483647 h 2182"/>
                <a:gd name="T112" fmla="*/ 2147483647 w 1349"/>
                <a:gd name="T113" fmla="*/ 2147483647 h 2182"/>
                <a:gd name="T114" fmla="*/ 2147483647 w 1349"/>
                <a:gd name="T115" fmla="*/ 2147483647 h 2182"/>
                <a:gd name="T116" fmla="*/ 2147483647 w 1349"/>
                <a:gd name="T117" fmla="*/ 2147483647 h 2182"/>
                <a:gd name="T118" fmla="*/ 2147483647 w 1349"/>
                <a:gd name="T119" fmla="*/ 2147483647 h 218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49"/>
                <a:gd name="T181" fmla="*/ 0 h 2182"/>
                <a:gd name="T182" fmla="*/ 1349 w 1349"/>
                <a:gd name="T183" fmla="*/ 2182 h 2182"/>
                <a:gd name="connsiteX0" fmla="*/ 10000 w 10000"/>
                <a:gd name="connsiteY0" fmla="*/ 6141 h 10000"/>
                <a:gd name="connsiteX1" fmla="*/ 10000 w 10000"/>
                <a:gd name="connsiteY1" fmla="*/ 6141 h 10000"/>
                <a:gd name="connsiteX2" fmla="*/ 9911 w 10000"/>
                <a:gd name="connsiteY2" fmla="*/ 6127 h 10000"/>
                <a:gd name="connsiteX3" fmla="*/ 9815 w 10000"/>
                <a:gd name="connsiteY3" fmla="*/ 6109 h 10000"/>
                <a:gd name="connsiteX4" fmla="*/ 9726 w 10000"/>
                <a:gd name="connsiteY4" fmla="*/ 6091 h 10000"/>
                <a:gd name="connsiteX5" fmla="*/ 9637 w 10000"/>
                <a:gd name="connsiteY5" fmla="*/ 6068 h 10000"/>
                <a:gd name="connsiteX6" fmla="*/ 9548 w 10000"/>
                <a:gd name="connsiteY6" fmla="*/ 6049 h 10000"/>
                <a:gd name="connsiteX7" fmla="*/ 9466 w 10000"/>
                <a:gd name="connsiteY7" fmla="*/ 6027 h 10000"/>
                <a:gd name="connsiteX8" fmla="*/ 9377 w 10000"/>
                <a:gd name="connsiteY8" fmla="*/ 6004 h 10000"/>
                <a:gd name="connsiteX9" fmla="*/ 9288 w 10000"/>
                <a:gd name="connsiteY9" fmla="*/ 5981 h 10000"/>
                <a:gd name="connsiteX10" fmla="*/ 9118 w 10000"/>
                <a:gd name="connsiteY10" fmla="*/ 5930 h 10000"/>
                <a:gd name="connsiteX11" fmla="*/ 8955 w 10000"/>
                <a:gd name="connsiteY11" fmla="*/ 5875 h 10000"/>
                <a:gd name="connsiteX12" fmla="*/ 8792 w 10000"/>
                <a:gd name="connsiteY12" fmla="*/ 5816 h 10000"/>
                <a:gd name="connsiteX13" fmla="*/ 8636 w 10000"/>
                <a:gd name="connsiteY13" fmla="*/ 5752 h 10000"/>
                <a:gd name="connsiteX14" fmla="*/ 8480 w 10000"/>
                <a:gd name="connsiteY14" fmla="*/ 5687 h 10000"/>
                <a:gd name="connsiteX15" fmla="*/ 8340 w 10000"/>
                <a:gd name="connsiteY15" fmla="*/ 5619 h 10000"/>
                <a:gd name="connsiteX16" fmla="*/ 8199 w 10000"/>
                <a:gd name="connsiteY16" fmla="*/ 5545 h 10000"/>
                <a:gd name="connsiteX17" fmla="*/ 8058 w 10000"/>
                <a:gd name="connsiteY17" fmla="*/ 5467 h 10000"/>
                <a:gd name="connsiteX18" fmla="*/ 7924 w 10000"/>
                <a:gd name="connsiteY18" fmla="*/ 5385 h 10000"/>
                <a:gd name="connsiteX19" fmla="*/ 7798 w 10000"/>
                <a:gd name="connsiteY19" fmla="*/ 5302 h 10000"/>
                <a:gd name="connsiteX20" fmla="*/ 7672 w 10000"/>
                <a:gd name="connsiteY20" fmla="*/ 5215 h 10000"/>
                <a:gd name="connsiteX21" fmla="*/ 7554 w 10000"/>
                <a:gd name="connsiteY21" fmla="*/ 5128 h 10000"/>
                <a:gd name="connsiteX22" fmla="*/ 7450 w 10000"/>
                <a:gd name="connsiteY22" fmla="*/ 5032 h 10000"/>
                <a:gd name="connsiteX23" fmla="*/ 7346 w 10000"/>
                <a:gd name="connsiteY23" fmla="*/ 4936 h 10000"/>
                <a:gd name="connsiteX24" fmla="*/ 7250 w 10000"/>
                <a:gd name="connsiteY24" fmla="*/ 4840 h 10000"/>
                <a:gd name="connsiteX25" fmla="*/ 7161 w 10000"/>
                <a:gd name="connsiteY25" fmla="*/ 4739 h 10000"/>
                <a:gd name="connsiteX26" fmla="*/ 7072 w 10000"/>
                <a:gd name="connsiteY26" fmla="*/ 4638 h 10000"/>
                <a:gd name="connsiteX27" fmla="*/ 6990 w 10000"/>
                <a:gd name="connsiteY27" fmla="*/ 4528 h 10000"/>
                <a:gd name="connsiteX28" fmla="*/ 6953 w 10000"/>
                <a:gd name="connsiteY28" fmla="*/ 4478 h 10000"/>
                <a:gd name="connsiteX29" fmla="*/ 6916 w 10000"/>
                <a:gd name="connsiteY29" fmla="*/ 4423 h 10000"/>
                <a:gd name="connsiteX30" fmla="*/ 6887 w 10000"/>
                <a:gd name="connsiteY30" fmla="*/ 4368 h 10000"/>
                <a:gd name="connsiteX31" fmla="*/ 6850 w 10000"/>
                <a:gd name="connsiteY31" fmla="*/ 4313 h 10000"/>
                <a:gd name="connsiteX32" fmla="*/ 6820 w 10000"/>
                <a:gd name="connsiteY32" fmla="*/ 4258 h 10000"/>
                <a:gd name="connsiteX33" fmla="*/ 6790 w 10000"/>
                <a:gd name="connsiteY33" fmla="*/ 4203 h 10000"/>
                <a:gd name="connsiteX34" fmla="*/ 6768 w 10000"/>
                <a:gd name="connsiteY34" fmla="*/ 4143 h 10000"/>
                <a:gd name="connsiteX35" fmla="*/ 6738 w 10000"/>
                <a:gd name="connsiteY35" fmla="*/ 4088 h 10000"/>
                <a:gd name="connsiteX36" fmla="*/ 6723 w 10000"/>
                <a:gd name="connsiteY36" fmla="*/ 4028 h 10000"/>
                <a:gd name="connsiteX37" fmla="*/ 6694 w 10000"/>
                <a:gd name="connsiteY37" fmla="*/ 3973 h 10000"/>
                <a:gd name="connsiteX38" fmla="*/ 6679 w 10000"/>
                <a:gd name="connsiteY38" fmla="*/ 3914 h 10000"/>
                <a:gd name="connsiteX39" fmla="*/ 6664 w 10000"/>
                <a:gd name="connsiteY39" fmla="*/ 3854 h 10000"/>
                <a:gd name="connsiteX40" fmla="*/ 6649 w 10000"/>
                <a:gd name="connsiteY40" fmla="*/ 3795 h 10000"/>
                <a:gd name="connsiteX41" fmla="*/ 6635 w 10000"/>
                <a:gd name="connsiteY41" fmla="*/ 3740 h 10000"/>
                <a:gd name="connsiteX42" fmla="*/ 6620 w 10000"/>
                <a:gd name="connsiteY42" fmla="*/ 3680 h 10000"/>
                <a:gd name="connsiteX43" fmla="*/ 6612 w 10000"/>
                <a:gd name="connsiteY43" fmla="*/ 3621 h 10000"/>
                <a:gd name="connsiteX44" fmla="*/ 6605 w 10000"/>
                <a:gd name="connsiteY44" fmla="*/ 3561 h 10000"/>
                <a:gd name="connsiteX45" fmla="*/ 6597 w 10000"/>
                <a:gd name="connsiteY45" fmla="*/ 3497 h 10000"/>
                <a:gd name="connsiteX46" fmla="*/ 6597 w 10000"/>
                <a:gd name="connsiteY46" fmla="*/ 3437 h 10000"/>
                <a:gd name="connsiteX47" fmla="*/ 6590 w 10000"/>
                <a:gd name="connsiteY47" fmla="*/ 3373 h 10000"/>
                <a:gd name="connsiteX48" fmla="*/ 6597 w 10000"/>
                <a:gd name="connsiteY48" fmla="*/ 3313 h 10000"/>
                <a:gd name="connsiteX49" fmla="*/ 6605 w 10000"/>
                <a:gd name="connsiteY49" fmla="*/ 3245 h 10000"/>
                <a:gd name="connsiteX50" fmla="*/ 6605 w 10000"/>
                <a:gd name="connsiteY50" fmla="*/ 3181 h 10000"/>
                <a:gd name="connsiteX51" fmla="*/ 6612 w 10000"/>
                <a:gd name="connsiteY51" fmla="*/ 3116 h 10000"/>
                <a:gd name="connsiteX52" fmla="*/ 6620 w 10000"/>
                <a:gd name="connsiteY52" fmla="*/ 3052 h 10000"/>
                <a:gd name="connsiteX53" fmla="*/ 6635 w 10000"/>
                <a:gd name="connsiteY53" fmla="*/ 2993 h 10000"/>
                <a:gd name="connsiteX54" fmla="*/ 6649 w 10000"/>
                <a:gd name="connsiteY54" fmla="*/ 2929 h 10000"/>
                <a:gd name="connsiteX55" fmla="*/ 6664 w 10000"/>
                <a:gd name="connsiteY55" fmla="*/ 2869 h 10000"/>
                <a:gd name="connsiteX56" fmla="*/ 6686 w 10000"/>
                <a:gd name="connsiteY56" fmla="*/ 2805 h 10000"/>
                <a:gd name="connsiteX57" fmla="*/ 6709 w 10000"/>
                <a:gd name="connsiteY57" fmla="*/ 2745 h 10000"/>
                <a:gd name="connsiteX58" fmla="*/ 6731 w 10000"/>
                <a:gd name="connsiteY58" fmla="*/ 2686 h 10000"/>
                <a:gd name="connsiteX59" fmla="*/ 6753 w 10000"/>
                <a:gd name="connsiteY59" fmla="*/ 2621 h 10000"/>
                <a:gd name="connsiteX60" fmla="*/ 6783 w 10000"/>
                <a:gd name="connsiteY60" fmla="*/ 2566 h 10000"/>
                <a:gd name="connsiteX61" fmla="*/ 6812 w 10000"/>
                <a:gd name="connsiteY61" fmla="*/ 2507 h 10000"/>
                <a:gd name="connsiteX62" fmla="*/ 6842 w 10000"/>
                <a:gd name="connsiteY62" fmla="*/ 2447 h 10000"/>
                <a:gd name="connsiteX63" fmla="*/ 6879 w 10000"/>
                <a:gd name="connsiteY63" fmla="*/ 2388 h 10000"/>
                <a:gd name="connsiteX64" fmla="*/ 6909 w 10000"/>
                <a:gd name="connsiteY64" fmla="*/ 2333 h 10000"/>
                <a:gd name="connsiteX65" fmla="*/ 6946 w 10000"/>
                <a:gd name="connsiteY65" fmla="*/ 2273 h 10000"/>
                <a:gd name="connsiteX66" fmla="*/ 6990 w 10000"/>
                <a:gd name="connsiteY66" fmla="*/ 2218 h 10000"/>
                <a:gd name="connsiteX67" fmla="*/ 7027 w 10000"/>
                <a:gd name="connsiteY67" fmla="*/ 2163 h 10000"/>
                <a:gd name="connsiteX68" fmla="*/ 7072 w 10000"/>
                <a:gd name="connsiteY68" fmla="*/ 2108 h 10000"/>
                <a:gd name="connsiteX69" fmla="*/ 7109 w 10000"/>
                <a:gd name="connsiteY69" fmla="*/ 2053 h 10000"/>
                <a:gd name="connsiteX70" fmla="*/ 7161 w 10000"/>
                <a:gd name="connsiteY70" fmla="*/ 2003 h 10000"/>
                <a:gd name="connsiteX71" fmla="*/ 7213 w 10000"/>
                <a:gd name="connsiteY71" fmla="*/ 1948 h 10000"/>
                <a:gd name="connsiteX72" fmla="*/ 7257 w 10000"/>
                <a:gd name="connsiteY72" fmla="*/ 1893 h 10000"/>
                <a:gd name="connsiteX73" fmla="*/ 7309 w 10000"/>
                <a:gd name="connsiteY73" fmla="*/ 1842 h 10000"/>
                <a:gd name="connsiteX74" fmla="*/ 7361 w 10000"/>
                <a:gd name="connsiteY74" fmla="*/ 1792 h 10000"/>
                <a:gd name="connsiteX75" fmla="*/ 7413 w 10000"/>
                <a:gd name="connsiteY75" fmla="*/ 1742 h 10000"/>
                <a:gd name="connsiteX76" fmla="*/ 7472 w 10000"/>
                <a:gd name="connsiteY76" fmla="*/ 1691 h 10000"/>
                <a:gd name="connsiteX77" fmla="*/ 7524 w 10000"/>
                <a:gd name="connsiteY77" fmla="*/ 1645 h 10000"/>
                <a:gd name="connsiteX78" fmla="*/ 7583 w 10000"/>
                <a:gd name="connsiteY78" fmla="*/ 1599 h 10000"/>
                <a:gd name="connsiteX79" fmla="*/ 7643 w 10000"/>
                <a:gd name="connsiteY79" fmla="*/ 1549 h 10000"/>
                <a:gd name="connsiteX80" fmla="*/ 5456 w 10000"/>
                <a:gd name="connsiteY80" fmla="*/ 0 h 10000"/>
                <a:gd name="connsiteX81" fmla="*/ 1401 w 10000"/>
                <a:gd name="connsiteY81" fmla="*/ 0 h 10000"/>
                <a:gd name="connsiteX82" fmla="*/ 1305 w 10000"/>
                <a:gd name="connsiteY82" fmla="*/ 128 h 10000"/>
                <a:gd name="connsiteX83" fmla="*/ 1223 w 10000"/>
                <a:gd name="connsiteY83" fmla="*/ 220 h 10000"/>
                <a:gd name="connsiteX84" fmla="*/ 1149 w 10000"/>
                <a:gd name="connsiteY84" fmla="*/ 316 h 10000"/>
                <a:gd name="connsiteX85" fmla="*/ 1067 w 10000"/>
                <a:gd name="connsiteY85" fmla="*/ 412 h 10000"/>
                <a:gd name="connsiteX86" fmla="*/ 1001 w 10000"/>
                <a:gd name="connsiteY86" fmla="*/ 509 h 10000"/>
                <a:gd name="connsiteX87" fmla="*/ 927 w 10000"/>
                <a:gd name="connsiteY87" fmla="*/ 605 h 10000"/>
                <a:gd name="connsiteX88" fmla="*/ 860 w 10000"/>
                <a:gd name="connsiteY88" fmla="*/ 706 h 10000"/>
                <a:gd name="connsiteX89" fmla="*/ 793 w 10000"/>
                <a:gd name="connsiteY89" fmla="*/ 807 h 10000"/>
                <a:gd name="connsiteX90" fmla="*/ 734 w 10000"/>
                <a:gd name="connsiteY90" fmla="*/ 903 h 10000"/>
                <a:gd name="connsiteX91" fmla="*/ 675 w 10000"/>
                <a:gd name="connsiteY91" fmla="*/ 1004 h 10000"/>
                <a:gd name="connsiteX92" fmla="*/ 615 w 10000"/>
                <a:gd name="connsiteY92" fmla="*/ 1104 h 10000"/>
                <a:gd name="connsiteX93" fmla="*/ 556 w 10000"/>
                <a:gd name="connsiteY93" fmla="*/ 1210 h 10000"/>
                <a:gd name="connsiteX94" fmla="*/ 504 w 10000"/>
                <a:gd name="connsiteY94" fmla="*/ 1306 h 10000"/>
                <a:gd name="connsiteX95" fmla="*/ 452 w 10000"/>
                <a:gd name="connsiteY95" fmla="*/ 1412 h 10000"/>
                <a:gd name="connsiteX96" fmla="*/ 408 w 10000"/>
                <a:gd name="connsiteY96" fmla="*/ 1512 h 10000"/>
                <a:gd name="connsiteX97" fmla="*/ 363 w 10000"/>
                <a:gd name="connsiteY97" fmla="*/ 1618 h 10000"/>
                <a:gd name="connsiteX98" fmla="*/ 319 w 10000"/>
                <a:gd name="connsiteY98" fmla="*/ 1723 h 10000"/>
                <a:gd name="connsiteX99" fmla="*/ 282 w 10000"/>
                <a:gd name="connsiteY99" fmla="*/ 1829 h 10000"/>
                <a:gd name="connsiteX100" fmla="*/ 237 w 10000"/>
                <a:gd name="connsiteY100" fmla="*/ 1939 h 10000"/>
                <a:gd name="connsiteX101" fmla="*/ 208 w 10000"/>
                <a:gd name="connsiteY101" fmla="*/ 2044 h 10000"/>
                <a:gd name="connsiteX102" fmla="*/ 170 w 10000"/>
                <a:gd name="connsiteY102" fmla="*/ 2154 h 10000"/>
                <a:gd name="connsiteX103" fmla="*/ 148 w 10000"/>
                <a:gd name="connsiteY103" fmla="*/ 2264 h 10000"/>
                <a:gd name="connsiteX104" fmla="*/ 119 w 10000"/>
                <a:gd name="connsiteY104" fmla="*/ 2369 h 10000"/>
                <a:gd name="connsiteX105" fmla="*/ 96 w 10000"/>
                <a:gd name="connsiteY105" fmla="*/ 2479 h 10000"/>
                <a:gd name="connsiteX106" fmla="*/ 74 w 10000"/>
                <a:gd name="connsiteY106" fmla="*/ 2589 h 10000"/>
                <a:gd name="connsiteX107" fmla="*/ 52 w 10000"/>
                <a:gd name="connsiteY107" fmla="*/ 2704 h 10000"/>
                <a:gd name="connsiteX108" fmla="*/ 37 w 10000"/>
                <a:gd name="connsiteY108" fmla="*/ 2814 h 10000"/>
                <a:gd name="connsiteX109" fmla="*/ 22 w 10000"/>
                <a:gd name="connsiteY109" fmla="*/ 2924 h 10000"/>
                <a:gd name="connsiteX110" fmla="*/ 15 w 10000"/>
                <a:gd name="connsiteY110" fmla="*/ 3034 h 10000"/>
                <a:gd name="connsiteX111" fmla="*/ 7 w 10000"/>
                <a:gd name="connsiteY111" fmla="*/ 3148 h 10000"/>
                <a:gd name="connsiteX112" fmla="*/ 0 w 10000"/>
                <a:gd name="connsiteY112" fmla="*/ 3258 h 10000"/>
                <a:gd name="connsiteX113" fmla="*/ 0 w 10000"/>
                <a:gd name="connsiteY113" fmla="*/ 3373 h 10000"/>
                <a:gd name="connsiteX114" fmla="*/ 7 w 10000"/>
                <a:gd name="connsiteY114" fmla="*/ 3520 h 10000"/>
                <a:gd name="connsiteX115" fmla="*/ 7 w 10000"/>
                <a:gd name="connsiteY115" fmla="*/ 3666 h 10000"/>
                <a:gd name="connsiteX116" fmla="*/ 22 w 10000"/>
                <a:gd name="connsiteY116" fmla="*/ 3804 h 10000"/>
                <a:gd name="connsiteX117" fmla="*/ 37 w 10000"/>
                <a:gd name="connsiteY117" fmla="*/ 3946 h 10000"/>
                <a:gd name="connsiteX118" fmla="*/ 59 w 10000"/>
                <a:gd name="connsiteY118" fmla="*/ 4088 h 10000"/>
                <a:gd name="connsiteX119" fmla="*/ 89 w 10000"/>
                <a:gd name="connsiteY119" fmla="*/ 4230 h 10000"/>
                <a:gd name="connsiteX120" fmla="*/ 119 w 10000"/>
                <a:gd name="connsiteY120" fmla="*/ 4372 h 10000"/>
                <a:gd name="connsiteX121" fmla="*/ 148 w 10000"/>
                <a:gd name="connsiteY121" fmla="*/ 4514 h 10000"/>
                <a:gd name="connsiteX122" fmla="*/ 193 w 10000"/>
                <a:gd name="connsiteY122" fmla="*/ 4652 h 10000"/>
                <a:gd name="connsiteX123" fmla="*/ 237 w 10000"/>
                <a:gd name="connsiteY123" fmla="*/ 4789 h 10000"/>
                <a:gd name="connsiteX124" fmla="*/ 282 w 10000"/>
                <a:gd name="connsiteY124" fmla="*/ 4927 h 10000"/>
                <a:gd name="connsiteX125" fmla="*/ 334 w 10000"/>
                <a:gd name="connsiteY125" fmla="*/ 5064 h 10000"/>
                <a:gd name="connsiteX126" fmla="*/ 393 w 10000"/>
                <a:gd name="connsiteY126" fmla="*/ 5197 h 10000"/>
                <a:gd name="connsiteX127" fmla="*/ 452 w 10000"/>
                <a:gd name="connsiteY127" fmla="*/ 5330 h 10000"/>
                <a:gd name="connsiteX128" fmla="*/ 519 w 10000"/>
                <a:gd name="connsiteY128" fmla="*/ 5463 h 10000"/>
                <a:gd name="connsiteX129" fmla="*/ 586 w 10000"/>
                <a:gd name="connsiteY129" fmla="*/ 5596 h 10000"/>
                <a:gd name="connsiteX130" fmla="*/ 660 w 10000"/>
                <a:gd name="connsiteY130" fmla="*/ 5724 h 10000"/>
                <a:gd name="connsiteX131" fmla="*/ 741 w 10000"/>
                <a:gd name="connsiteY131" fmla="*/ 5852 h 10000"/>
                <a:gd name="connsiteX132" fmla="*/ 823 w 10000"/>
                <a:gd name="connsiteY132" fmla="*/ 5985 h 10000"/>
                <a:gd name="connsiteX133" fmla="*/ 904 w 10000"/>
                <a:gd name="connsiteY133" fmla="*/ 6109 h 10000"/>
                <a:gd name="connsiteX134" fmla="*/ 993 w 10000"/>
                <a:gd name="connsiteY134" fmla="*/ 6233 h 10000"/>
                <a:gd name="connsiteX135" fmla="*/ 1090 w 10000"/>
                <a:gd name="connsiteY135" fmla="*/ 6352 h 10000"/>
                <a:gd name="connsiteX136" fmla="*/ 1186 w 10000"/>
                <a:gd name="connsiteY136" fmla="*/ 6476 h 10000"/>
                <a:gd name="connsiteX137" fmla="*/ 1290 w 10000"/>
                <a:gd name="connsiteY137" fmla="*/ 6599 h 10000"/>
                <a:gd name="connsiteX138" fmla="*/ 1386 w 10000"/>
                <a:gd name="connsiteY138" fmla="*/ 6719 h 10000"/>
                <a:gd name="connsiteX139" fmla="*/ 1497 w 10000"/>
                <a:gd name="connsiteY139" fmla="*/ 6838 h 10000"/>
                <a:gd name="connsiteX140" fmla="*/ 1609 w 10000"/>
                <a:gd name="connsiteY140" fmla="*/ 6952 h 10000"/>
                <a:gd name="connsiteX141" fmla="*/ 1727 w 10000"/>
                <a:gd name="connsiteY141" fmla="*/ 7071 h 10000"/>
                <a:gd name="connsiteX142" fmla="*/ 1846 w 10000"/>
                <a:gd name="connsiteY142" fmla="*/ 7186 h 10000"/>
                <a:gd name="connsiteX143" fmla="*/ 1964 w 10000"/>
                <a:gd name="connsiteY143" fmla="*/ 7296 h 10000"/>
                <a:gd name="connsiteX144" fmla="*/ 2090 w 10000"/>
                <a:gd name="connsiteY144" fmla="*/ 7406 h 10000"/>
                <a:gd name="connsiteX145" fmla="*/ 2224 w 10000"/>
                <a:gd name="connsiteY145" fmla="*/ 7516 h 10000"/>
                <a:gd name="connsiteX146" fmla="*/ 2350 w 10000"/>
                <a:gd name="connsiteY146" fmla="*/ 7626 h 10000"/>
                <a:gd name="connsiteX147" fmla="*/ 2491 w 10000"/>
                <a:gd name="connsiteY147" fmla="*/ 7731 h 10000"/>
                <a:gd name="connsiteX148" fmla="*/ 2617 w 10000"/>
                <a:gd name="connsiteY148" fmla="*/ 7837 h 10000"/>
                <a:gd name="connsiteX149" fmla="*/ 2765 w 10000"/>
                <a:gd name="connsiteY149" fmla="*/ 7938 h 10000"/>
                <a:gd name="connsiteX150" fmla="*/ 2906 w 10000"/>
                <a:gd name="connsiteY150" fmla="*/ 8038 h 10000"/>
                <a:gd name="connsiteX151" fmla="*/ 3054 w 10000"/>
                <a:gd name="connsiteY151" fmla="*/ 8139 h 10000"/>
                <a:gd name="connsiteX152" fmla="*/ 3210 w 10000"/>
                <a:gd name="connsiteY152" fmla="*/ 8236 h 10000"/>
                <a:gd name="connsiteX153" fmla="*/ 3358 w 10000"/>
                <a:gd name="connsiteY153" fmla="*/ 8332 h 10000"/>
                <a:gd name="connsiteX154" fmla="*/ 3514 w 10000"/>
                <a:gd name="connsiteY154" fmla="*/ 8428 h 10000"/>
                <a:gd name="connsiteX155" fmla="*/ 3677 w 10000"/>
                <a:gd name="connsiteY155" fmla="*/ 8520 h 10000"/>
                <a:gd name="connsiteX156" fmla="*/ 3840 w 10000"/>
                <a:gd name="connsiteY156" fmla="*/ 8607 h 10000"/>
                <a:gd name="connsiteX157" fmla="*/ 4010 w 10000"/>
                <a:gd name="connsiteY157" fmla="*/ 8698 h 10000"/>
                <a:gd name="connsiteX158" fmla="*/ 4181 w 10000"/>
                <a:gd name="connsiteY158" fmla="*/ 8776 h 10000"/>
                <a:gd name="connsiteX159" fmla="*/ 4351 w 10000"/>
                <a:gd name="connsiteY159" fmla="*/ 8863 h 10000"/>
                <a:gd name="connsiteX160" fmla="*/ 4522 w 10000"/>
                <a:gd name="connsiteY160" fmla="*/ 8941 h 10000"/>
                <a:gd name="connsiteX161" fmla="*/ 4700 w 10000"/>
                <a:gd name="connsiteY161" fmla="*/ 9024 h 10000"/>
                <a:gd name="connsiteX162" fmla="*/ 4878 w 10000"/>
                <a:gd name="connsiteY162" fmla="*/ 9102 h 10000"/>
                <a:gd name="connsiteX163" fmla="*/ 5063 w 10000"/>
                <a:gd name="connsiteY163" fmla="*/ 9175 h 10000"/>
                <a:gd name="connsiteX164" fmla="*/ 5248 w 10000"/>
                <a:gd name="connsiteY164" fmla="*/ 9253 h 10000"/>
                <a:gd name="connsiteX165" fmla="*/ 5426 w 10000"/>
                <a:gd name="connsiteY165" fmla="*/ 9322 h 10000"/>
                <a:gd name="connsiteX166" fmla="*/ 5619 w 10000"/>
                <a:gd name="connsiteY166" fmla="*/ 9390 h 10000"/>
                <a:gd name="connsiteX167" fmla="*/ 5812 w 10000"/>
                <a:gd name="connsiteY167" fmla="*/ 9459 h 10000"/>
                <a:gd name="connsiteX168" fmla="*/ 6004 w 10000"/>
                <a:gd name="connsiteY168" fmla="*/ 9523 h 10000"/>
                <a:gd name="connsiteX169" fmla="*/ 6205 w 10000"/>
                <a:gd name="connsiteY169" fmla="*/ 9588 h 10000"/>
                <a:gd name="connsiteX170" fmla="*/ 6397 w 10000"/>
                <a:gd name="connsiteY170" fmla="*/ 9647 h 10000"/>
                <a:gd name="connsiteX171" fmla="*/ 6605 w 10000"/>
                <a:gd name="connsiteY171" fmla="*/ 9702 h 10000"/>
                <a:gd name="connsiteX172" fmla="*/ 6805 w 10000"/>
                <a:gd name="connsiteY172" fmla="*/ 9757 h 10000"/>
                <a:gd name="connsiteX173" fmla="*/ 7005 w 10000"/>
                <a:gd name="connsiteY173" fmla="*/ 9812 h 10000"/>
                <a:gd name="connsiteX174" fmla="*/ 7213 w 10000"/>
                <a:gd name="connsiteY174" fmla="*/ 9863 h 10000"/>
                <a:gd name="connsiteX175" fmla="*/ 7420 w 10000"/>
                <a:gd name="connsiteY175" fmla="*/ 9908 h 10000"/>
                <a:gd name="connsiteX176" fmla="*/ 7628 w 10000"/>
                <a:gd name="connsiteY176" fmla="*/ 9954 h 10000"/>
                <a:gd name="connsiteX177" fmla="*/ 7835 w 10000"/>
                <a:gd name="connsiteY177" fmla="*/ 10000 h 10000"/>
                <a:gd name="connsiteX178" fmla="*/ 7539 w 10000"/>
                <a:gd name="connsiteY178" fmla="*/ 7754 h 10000"/>
                <a:gd name="connsiteX179" fmla="*/ 10000 w 10000"/>
                <a:gd name="connsiteY179" fmla="*/ 6141 h 10000"/>
                <a:gd name="connsiteX0" fmla="*/ 10000 w 10000"/>
                <a:gd name="connsiteY0" fmla="*/ 6141 h 10000"/>
                <a:gd name="connsiteX1" fmla="*/ 10000 w 10000"/>
                <a:gd name="connsiteY1" fmla="*/ 6141 h 10000"/>
                <a:gd name="connsiteX2" fmla="*/ 9911 w 10000"/>
                <a:gd name="connsiteY2" fmla="*/ 6127 h 10000"/>
                <a:gd name="connsiteX3" fmla="*/ 9815 w 10000"/>
                <a:gd name="connsiteY3" fmla="*/ 6109 h 10000"/>
                <a:gd name="connsiteX4" fmla="*/ 9726 w 10000"/>
                <a:gd name="connsiteY4" fmla="*/ 6091 h 10000"/>
                <a:gd name="connsiteX5" fmla="*/ 9637 w 10000"/>
                <a:gd name="connsiteY5" fmla="*/ 6068 h 10000"/>
                <a:gd name="connsiteX6" fmla="*/ 9548 w 10000"/>
                <a:gd name="connsiteY6" fmla="*/ 6049 h 10000"/>
                <a:gd name="connsiteX7" fmla="*/ 9466 w 10000"/>
                <a:gd name="connsiteY7" fmla="*/ 6027 h 10000"/>
                <a:gd name="connsiteX8" fmla="*/ 9377 w 10000"/>
                <a:gd name="connsiteY8" fmla="*/ 6004 h 10000"/>
                <a:gd name="connsiteX9" fmla="*/ 9288 w 10000"/>
                <a:gd name="connsiteY9" fmla="*/ 5981 h 10000"/>
                <a:gd name="connsiteX10" fmla="*/ 9118 w 10000"/>
                <a:gd name="connsiteY10" fmla="*/ 5930 h 10000"/>
                <a:gd name="connsiteX11" fmla="*/ 8955 w 10000"/>
                <a:gd name="connsiteY11" fmla="*/ 5875 h 10000"/>
                <a:gd name="connsiteX12" fmla="*/ 8792 w 10000"/>
                <a:gd name="connsiteY12" fmla="*/ 5816 h 10000"/>
                <a:gd name="connsiteX13" fmla="*/ 8636 w 10000"/>
                <a:gd name="connsiteY13" fmla="*/ 5752 h 10000"/>
                <a:gd name="connsiteX14" fmla="*/ 8480 w 10000"/>
                <a:gd name="connsiteY14" fmla="*/ 5687 h 10000"/>
                <a:gd name="connsiteX15" fmla="*/ 8340 w 10000"/>
                <a:gd name="connsiteY15" fmla="*/ 5619 h 10000"/>
                <a:gd name="connsiteX16" fmla="*/ 8199 w 10000"/>
                <a:gd name="connsiteY16" fmla="*/ 5545 h 10000"/>
                <a:gd name="connsiteX17" fmla="*/ 8058 w 10000"/>
                <a:gd name="connsiteY17" fmla="*/ 5467 h 10000"/>
                <a:gd name="connsiteX18" fmla="*/ 7924 w 10000"/>
                <a:gd name="connsiteY18" fmla="*/ 5385 h 10000"/>
                <a:gd name="connsiteX19" fmla="*/ 7798 w 10000"/>
                <a:gd name="connsiteY19" fmla="*/ 5302 h 10000"/>
                <a:gd name="connsiteX20" fmla="*/ 7672 w 10000"/>
                <a:gd name="connsiteY20" fmla="*/ 5215 h 10000"/>
                <a:gd name="connsiteX21" fmla="*/ 7554 w 10000"/>
                <a:gd name="connsiteY21" fmla="*/ 5128 h 10000"/>
                <a:gd name="connsiteX22" fmla="*/ 7450 w 10000"/>
                <a:gd name="connsiteY22" fmla="*/ 5032 h 10000"/>
                <a:gd name="connsiteX23" fmla="*/ 7346 w 10000"/>
                <a:gd name="connsiteY23" fmla="*/ 4936 h 10000"/>
                <a:gd name="connsiteX24" fmla="*/ 7250 w 10000"/>
                <a:gd name="connsiteY24" fmla="*/ 4840 h 10000"/>
                <a:gd name="connsiteX25" fmla="*/ 7161 w 10000"/>
                <a:gd name="connsiteY25" fmla="*/ 4739 h 10000"/>
                <a:gd name="connsiteX26" fmla="*/ 7072 w 10000"/>
                <a:gd name="connsiteY26" fmla="*/ 4638 h 10000"/>
                <a:gd name="connsiteX27" fmla="*/ 6990 w 10000"/>
                <a:gd name="connsiteY27" fmla="*/ 4528 h 10000"/>
                <a:gd name="connsiteX28" fmla="*/ 6953 w 10000"/>
                <a:gd name="connsiteY28" fmla="*/ 4478 h 10000"/>
                <a:gd name="connsiteX29" fmla="*/ 6916 w 10000"/>
                <a:gd name="connsiteY29" fmla="*/ 4423 h 10000"/>
                <a:gd name="connsiteX30" fmla="*/ 6887 w 10000"/>
                <a:gd name="connsiteY30" fmla="*/ 4368 h 10000"/>
                <a:gd name="connsiteX31" fmla="*/ 6850 w 10000"/>
                <a:gd name="connsiteY31" fmla="*/ 4313 h 10000"/>
                <a:gd name="connsiteX32" fmla="*/ 6820 w 10000"/>
                <a:gd name="connsiteY32" fmla="*/ 4258 h 10000"/>
                <a:gd name="connsiteX33" fmla="*/ 6790 w 10000"/>
                <a:gd name="connsiteY33" fmla="*/ 4203 h 10000"/>
                <a:gd name="connsiteX34" fmla="*/ 6768 w 10000"/>
                <a:gd name="connsiteY34" fmla="*/ 4143 h 10000"/>
                <a:gd name="connsiteX35" fmla="*/ 6738 w 10000"/>
                <a:gd name="connsiteY35" fmla="*/ 4088 h 10000"/>
                <a:gd name="connsiteX36" fmla="*/ 6723 w 10000"/>
                <a:gd name="connsiteY36" fmla="*/ 4028 h 10000"/>
                <a:gd name="connsiteX37" fmla="*/ 6694 w 10000"/>
                <a:gd name="connsiteY37" fmla="*/ 3973 h 10000"/>
                <a:gd name="connsiteX38" fmla="*/ 6679 w 10000"/>
                <a:gd name="connsiteY38" fmla="*/ 3914 h 10000"/>
                <a:gd name="connsiteX39" fmla="*/ 6664 w 10000"/>
                <a:gd name="connsiteY39" fmla="*/ 3854 h 10000"/>
                <a:gd name="connsiteX40" fmla="*/ 6649 w 10000"/>
                <a:gd name="connsiteY40" fmla="*/ 3795 h 10000"/>
                <a:gd name="connsiteX41" fmla="*/ 6635 w 10000"/>
                <a:gd name="connsiteY41" fmla="*/ 3740 h 10000"/>
                <a:gd name="connsiteX42" fmla="*/ 6620 w 10000"/>
                <a:gd name="connsiteY42" fmla="*/ 3680 h 10000"/>
                <a:gd name="connsiteX43" fmla="*/ 6612 w 10000"/>
                <a:gd name="connsiteY43" fmla="*/ 3621 h 10000"/>
                <a:gd name="connsiteX44" fmla="*/ 6605 w 10000"/>
                <a:gd name="connsiteY44" fmla="*/ 3561 h 10000"/>
                <a:gd name="connsiteX45" fmla="*/ 6597 w 10000"/>
                <a:gd name="connsiteY45" fmla="*/ 3497 h 10000"/>
                <a:gd name="connsiteX46" fmla="*/ 6597 w 10000"/>
                <a:gd name="connsiteY46" fmla="*/ 3437 h 10000"/>
                <a:gd name="connsiteX47" fmla="*/ 6590 w 10000"/>
                <a:gd name="connsiteY47" fmla="*/ 3373 h 10000"/>
                <a:gd name="connsiteX48" fmla="*/ 6597 w 10000"/>
                <a:gd name="connsiteY48" fmla="*/ 3313 h 10000"/>
                <a:gd name="connsiteX49" fmla="*/ 6605 w 10000"/>
                <a:gd name="connsiteY49" fmla="*/ 3245 h 10000"/>
                <a:gd name="connsiteX50" fmla="*/ 6605 w 10000"/>
                <a:gd name="connsiteY50" fmla="*/ 3181 h 10000"/>
                <a:gd name="connsiteX51" fmla="*/ 6612 w 10000"/>
                <a:gd name="connsiteY51" fmla="*/ 3116 h 10000"/>
                <a:gd name="connsiteX52" fmla="*/ 6620 w 10000"/>
                <a:gd name="connsiteY52" fmla="*/ 3052 h 10000"/>
                <a:gd name="connsiteX53" fmla="*/ 6635 w 10000"/>
                <a:gd name="connsiteY53" fmla="*/ 2993 h 10000"/>
                <a:gd name="connsiteX54" fmla="*/ 6649 w 10000"/>
                <a:gd name="connsiteY54" fmla="*/ 2929 h 10000"/>
                <a:gd name="connsiteX55" fmla="*/ 6664 w 10000"/>
                <a:gd name="connsiteY55" fmla="*/ 2869 h 10000"/>
                <a:gd name="connsiteX56" fmla="*/ 6686 w 10000"/>
                <a:gd name="connsiteY56" fmla="*/ 2805 h 10000"/>
                <a:gd name="connsiteX57" fmla="*/ 6709 w 10000"/>
                <a:gd name="connsiteY57" fmla="*/ 2745 h 10000"/>
                <a:gd name="connsiteX58" fmla="*/ 6731 w 10000"/>
                <a:gd name="connsiteY58" fmla="*/ 2686 h 10000"/>
                <a:gd name="connsiteX59" fmla="*/ 6753 w 10000"/>
                <a:gd name="connsiteY59" fmla="*/ 2621 h 10000"/>
                <a:gd name="connsiteX60" fmla="*/ 6783 w 10000"/>
                <a:gd name="connsiteY60" fmla="*/ 2566 h 10000"/>
                <a:gd name="connsiteX61" fmla="*/ 6812 w 10000"/>
                <a:gd name="connsiteY61" fmla="*/ 2507 h 10000"/>
                <a:gd name="connsiteX62" fmla="*/ 6842 w 10000"/>
                <a:gd name="connsiteY62" fmla="*/ 2447 h 10000"/>
                <a:gd name="connsiteX63" fmla="*/ 6879 w 10000"/>
                <a:gd name="connsiteY63" fmla="*/ 2388 h 10000"/>
                <a:gd name="connsiteX64" fmla="*/ 6909 w 10000"/>
                <a:gd name="connsiteY64" fmla="*/ 2333 h 10000"/>
                <a:gd name="connsiteX65" fmla="*/ 6946 w 10000"/>
                <a:gd name="connsiteY65" fmla="*/ 2273 h 10000"/>
                <a:gd name="connsiteX66" fmla="*/ 6990 w 10000"/>
                <a:gd name="connsiteY66" fmla="*/ 2218 h 10000"/>
                <a:gd name="connsiteX67" fmla="*/ 7027 w 10000"/>
                <a:gd name="connsiteY67" fmla="*/ 2163 h 10000"/>
                <a:gd name="connsiteX68" fmla="*/ 7072 w 10000"/>
                <a:gd name="connsiteY68" fmla="*/ 2108 h 10000"/>
                <a:gd name="connsiteX69" fmla="*/ 7109 w 10000"/>
                <a:gd name="connsiteY69" fmla="*/ 2053 h 10000"/>
                <a:gd name="connsiteX70" fmla="*/ 7161 w 10000"/>
                <a:gd name="connsiteY70" fmla="*/ 2003 h 10000"/>
                <a:gd name="connsiteX71" fmla="*/ 7213 w 10000"/>
                <a:gd name="connsiteY71" fmla="*/ 1948 h 10000"/>
                <a:gd name="connsiteX72" fmla="*/ 7257 w 10000"/>
                <a:gd name="connsiteY72" fmla="*/ 1893 h 10000"/>
                <a:gd name="connsiteX73" fmla="*/ 7309 w 10000"/>
                <a:gd name="connsiteY73" fmla="*/ 1842 h 10000"/>
                <a:gd name="connsiteX74" fmla="*/ 7361 w 10000"/>
                <a:gd name="connsiteY74" fmla="*/ 1792 h 10000"/>
                <a:gd name="connsiteX75" fmla="*/ 7413 w 10000"/>
                <a:gd name="connsiteY75" fmla="*/ 1742 h 10000"/>
                <a:gd name="connsiteX76" fmla="*/ 7472 w 10000"/>
                <a:gd name="connsiteY76" fmla="*/ 1691 h 10000"/>
                <a:gd name="connsiteX77" fmla="*/ 7524 w 10000"/>
                <a:gd name="connsiteY77" fmla="*/ 1645 h 10000"/>
                <a:gd name="connsiteX78" fmla="*/ 7583 w 10000"/>
                <a:gd name="connsiteY78" fmla="*/ 1599 h 10000"/>
                <a:gd name="connsiteX79" fmla="*/ 7643 w 10000"/>
                <a:gd name="connsiteY79" fmla="*/ 1549 h 10000"/>
                <a:gd name="connsiteX80" fmla="*/ 5434 w 10000"/>
                <a:gd name="connsiteY80" fmla="*/ 0 h 10000"/>
                <a:gd name="connsiteX81" fmla="*/ 1401 w 10000"/>
                <a:gd name="connsiteY81" fmla="*/ 0 h 10000"/>
                <a:gd name="connsiteX82" fmla="*/ 1305 w 10000"/>
                <a:gd name="connsiteY82" fmla="*/ 128 h 10000"/>
                <a:gd name="connsiteX83" fmla="*/ 1223 w 10000"/>
                <a:gd name="connsiteY83" fmla="*/ 220 h 10000"/>
                <a:gd name="connsiteX84" fmla="*/ 1149 w 10000"/>
                <a:gd name="connsiteY84" fmla="*/ 316 h 10000"/>
                <a:gd name="connsiteX85" fmla="*/ 1067 w 10000"/>
                <a:gd name="connsiteY85" fmla="*/ 412 h 10000"/>
                <a:gd name="connsiteX86" fmla="*/ 1001 w 10000"/>
                <a:gd name="connsiteY86" fmla="*/ 509 h 10000"/>
                <a:gd name="connsiteX87" fmla="*/ 927 w 10000"/>
                <a:gd name="connsiteY87" fmla="*/ 605 h 10000"/>
                <a:gd name="connsiteX88" fmla="*/ 860 w 10000"/>
                <a:gd name="connsiteY88" fmla="*/ 706 h 10000"/>
                <a:gd name="connsiteX89" fmla="*/ 793 w 10000"/>
                <a:gd name="connsiteY89" fmla="*/ 807 h 10000"/>
                <a:gd name="connsiteX90" fmla="*/ 734 w 10000"/>
                <a:gd name="connsiteY90" fmla="*/ 903 h 10000"/>
                <a:gd name="connsiteX91" fmla="*/ 675 w 10000"/>
                <a:gd name="connsiteY91" fmla="*/ 1004 h 10000"/>
                <a:gd name="connsiteX92" fmla="*/ 615 w 10000"/>
                <a:gd name="connsiteY92" fmla="*/ 1104 h 10000"/>
                <a:gd name="connsiteX93" fmla="*/ 556 w 10000"/>
                <a:gd name="connsiteY93" fmla="*/ 1210 h 10000"/>
                <a:gd name="connsiteX94" fmla="*/ 504 w 10000"/>
                <a:gd name="connsiteY94" fmla="*/ 1306 h 10000"/>
                <a:gd name="connsiteX95" fmla="*/ 452 w 10000"/>
                <a:gd name="connsiteY95" fmla="*/ 1412 h 10000"/>
                <a:gd name="connsiteX96" fmla="*/ 408 w 10000"/>
                <a:gd name="connsiteY96" fmla="*/ 1512 h 10000"/>
                <a:gd name="connsiteX97" fmla="*/ 363 w 10000"/>
                <a:gd name="connsiteY97" fmla="*/ 1618 h 10000"/>
                <a:gd name="connsiteX98" fmla="*/ 319 w 10000"/>
                <a:gd name="connsiteY98" fmla="*/ 1723 h 10000"/>
                <a:gd name="connsiteX99" fmla="*/ 282 w 10000"/>
                <a:gd name="connsiteY99" fmla="*/ 1829 h 10000"/>
                <a:gd name="connsiteX100" fmla="*/ 237 w 10000"/>
                <a:gd name="connsiteY100" fmla="*/ 1939 h 10000"/>
                <a:gd name="connsiteX101" fmla="*/ 208 w 10000"/>
                <a:gd name="connsiteY101" fmla="*/ 2044 h 10000"/>
                <a:gd name="connsiteX102" fmla="*/ 170 w 10000"/>
                <a:gd name="connsiteY102" fmla="*/ 2154 h 10000"/>
                <a:gd name="connsiteX103" fmla="*/ 148 w 10000"/>
                <a:gd name="connsiteY103" fmla="*/ 2264 h 10000"/>
                <a:gd name="connsiteX104" fmla="*/ 119 w 10000"/>
                <a:gd name="connsiteY104" fmla="*/ 2369 h 10000"/>
                <a:gd name="connsiteX105" fmla="*/ 96 w 10000"/>
                <a:gd name="connsiteY105" fmla="*/ 2479 h 10000"/>
                <a:gd name="connsiteX106" fmla="*/ 74 w 10000"/>
                <a:gd name="connsiteY106" fmla="*/ 2589 h 10000"/>
                <a:gd name="connsiteX107" fmla="*/ 52 w 10000"/>
                <a:gd name="connsiteY107" fmla="*/ 2704 h 10000"/>
                <a:gd name="connsiteX108" fmla="*/ 37 w 10000"/>
                <a:gd name="connsiteY108" fmla="*/ 2814 h 10000"/>
                <a:gd name="connsiteX109" fmla="*/ 22 w 10000"/>
                <a:gd name="connsiteY109" fmla="*/ 2924 h 10000"/>
                <a:gd name="connsiteX110" fmla="*/ 15 w 10000"/>
                <a:gd name="connsiteY110" fmla="*/ 3034 h 10000"/>
                <a:gd name="connsiteX111" fmla="*/ 7 w 10000"/>
                <a:gd name="connsiteY111" fmla="*/ 3148 h 10000"/>
                <a:gd name="connsiteX112" fmla="*/ 0 w 10000"/>
                <a:gd name="connsiteY112" fmla="*/ 3258 h 10000"/>
                <a:gd name="connsiteX113" fmla="*/ 0 w 10000"/>
                <a:gd name="connsiteY113" fmla="*/ 3373 h 10000"/>
                <a:gd name="connsiteX114" fmla="*/ 7 w 10000"/>
                <a:gd name="connsiteY114" fmla="*/ 3520 h 10000"/>
                <a:gd name="connsiteX115" fmla="*/ 7 w 10000"/>
                <a:gd name="connsiteY115" fmla="*/ 3666 h 10000"/>
                <a:gd name="connsiteX116" fmla="*/ 22 w 10000"/>
                <a:gd name="connsiteY116" fmla="*/ 3804 h 10000"/>
                <a:gd name="connsiteX117" fmla="*/ 37 w 10000"/>
                <a:gd name="connsiteY117" fmla="*/ 3946 h 10000"/>
                <a:gd name="connsiteX118" fmla="*/ 59 w 10000"/>
                <a:gd name="connsiteY118" fmla="*/ 4088 h 10000"/>
                <a:gd name="connsiteX119" fmla="*/ 89 w 10000"/>
                <a:gd name="connsiteY119" fmla="*/ 4230 h 10000"/>
                <a:gd name="connsiteX120" fmla="*/ 119 w 10000"/>
                <a:gd name="connsiteY120" fmla="*/ 4372 h 10000"/>
                <a:gd name="connsiteX121" fmla="*/ 148 w 10000"/>
                <a:gd name="connsiteY121" fmla="*/ 4514 h 10000"/>
                <a:gd name="connsiteX122" fmla="*/ 193 w 10000"/>
                <a:gd name="connsiteY122" fmla="*/ 4652 h 10000"/>
                <a:gd name="connsiteX123" fmla="*/ 237 w 10000"/>
                <a:gd name="connsiteY123" fmla="*/ 4789 h 10000"/>
                <a:gd name="connsiteX124" fmla="*/ 282 w 10000"/>
                <a:gd name="connsiteY124" fmla="*/ 4927 h 10000"/>
                <a:gd name="connsiteX125" fmla="*/ 334 w 10000"/>
                <a:gd name="connsiteY125" fmla="*/ 5064 h 10000"/>
                <a:gd name="connsiteX126" fmla="*/ 393 w 10000"/>
                <a:gd name="connsiteY126" fmla="*/ 5197 h 10000"/>
                <a:gd name="connsiteX127" fmla="*/ 452 w 10000"/>
                <a:gd name="connsiteY127" fmla="*/ 5330 h 10000"/>
                <a:gd name="connsiteX128" fmla="*/ 519 w 10000"/>
                <a:gd name="connsiteY128" fmla="*/ 5463 h 10000"/>
                <a:gd name="connsiteX129" fmla="*/ 586 w 10000"/>
                <a:gd name="connsiteY129" fmla="*/ 5596 h 10000"/>
                <a:gd name="connsiteX130" fmla="*/ 660 w 10000"/>
                <a:gd name="connsiteY130" fmla="*/ 5724 h 10000"/>
                <a:gd name="connsiteX131" fmla="*/ 741 w 10000"/>
                <a:gd name="connsiteY131" fmla="*/ 5852 h 10000"/>
                <a:gd name="connsiteX132" fmla="*/ 823 w 10000"/>
                <a:gd name="connsiteY132" fmla="*/ 5985 h 10000"/>
                <a:gd name="connsiteX133" fmla="*/ 904 w 10000"/>
                <a:gd name="connsiteY133" fmla="*/ 6109 h 10000"/>
                <a:gd name="connsiteX134" fmla="*/ 993 w 10000"/>
                <a:gd name="connsiteY134" fmla="*/ 6233 h 10000"/>
                <a:gd name="connsiteX135" fmla="*/ 1090 w 10000"/>
                <a:gd name="connsiteY135" fmla="*/ 6352 h 10000"/>
                <a:gd name="connsiteX136" fmla="*/ 1186 w 10000"/>
                <a:gd name="connsiteY136" fmla="*/ 6476 h 10000"/>
                <a:gd name="connsiteX137" fmla="*/ 1290 w 10000"/>
                <a:gd name="connsiteY137" fmla="*/ 6599 h 10000"/>
                <a:gd name="connsiteX138" fmla="*/ 1386 w 10000"/>
                <a:gd name="connsiteY138" fmla="*/ 6719 h 10000"/>
                <a:gd name="connsiteX139" fmla="*/ 1497 w 10000"/>
                <a:gd name="connsiteY139" fmla="*/ 6838 h 10000"/>
                <a:gd name="connsiteX140" fmla="*/ 1609 w 10000"/>
                <a:gd name="connsiteY140" fmla="*/ 6952 h 10000"/>
                <a:gd name="connsiteX141" fmla="*/ 1727 w 10000"/>
                <a:gd name="connsiteY141" fmla="*/ 7071 h 10000"/>
                <a:gd name="connsiteX142" fmla="*/ 1846 w 10000"/>
                <a:gd name="connsiteY142" fmla="*/ 7186 h 10000"/>
                <a:gd name="connsiteX143" fmla="*/ 1964 w 10000"/>
                <a:gd name="connsiteY143" fmla="*/ 7296 h 10000"/>
                <a:gd name="connsiteX144" fmla="*/ 2090 w 10000"/>
                <a:gd name="connsiteY144" fmla="*/ 7406 h 10000"/>
                <a:gd name="connsiteX145" fmla="*/ 2224 w 10000"/>
                <a:gd name="connsiteY145" fmla="*/ 7516 h 10000"/>
                <a:gd name="connsiteX146" fmla="*/ 2350 w 10000"/>
                <a:gd name="connsiteY146" fmla="*/ 7626 h 10000"/>
                <a:gd name="connsiteX147" fmla="*/ 2491 w 10000"/>
                <a:gd name="connsiteY147" fmla="*/ 7731 h 10000"/>
                <a:gd name="connsiteX148" fmla="*/ 2617 w 10000"/>
                <a:gd name="connsiteY148" fmla="*/ 7837 h 10000"/>
                <a:gd name="connsiteX149" fmla="*/ 2765 w 10000"/>
                <a:gd name="connsiteY149" fmla="*/ 7938 h 10000"/>
                <a:gd name="connsiteX150" fmla="*/ 2906 w 10000"/>
                <a:gd name="connsiteY150" fmla="*/ 8038 h 10000"/>
                <a:gd name="connsiteX151" fmla="*/ 3054 w 10000"/>
                <a:gd name="connsiteY151" fmla="*/ 8139 h 10000"/>
                <a:gd name="connsiteX152" fmla="*/ 3210 w 10000"/>
                <a:gd name="connsiteY152" fmla="*/ 8236 h 10000"/>
                <a:gd name="connsiteX153" fmla="*/ 3358 w 10000"/>
                <a:gd name="connsiteY153" fmla="*/ 8332 h 10000"/>
                <a:gd name="connsiteX154" fmla="*/ 3514 w 10000"/>
                <a:gd name="connsiteY154" fmla="*/ 8428 h 10000"/>
                <a:gd name="connsiteX155" fmla="*/ 3677 w 10000"/>
                <a:gd name="connsiteY155" fmla="*/ 8520 h 10000"/>
                <a:gd name="connsiteX156" fmla="*/ 3840 w 10000"/>
                <a:gd name="connsiteY156" fmla="*/ 8607 h 10000"/>
                <a:gd name="connsiteX157" fmla="*/ 4010 w 10000"/>
                <a:gd name="connsiteY157" fmla="*/ 8698 h 10000"/>
                <a:gd name="connsiteX158" fmla="*/ 4181 w 10000"/>
                <a:gd name="connsiteY158" fmla="*/ 8776 h 10000"/>
                <a:gd name="connsiteX159" fmla="*/ 4351 w 10000"/>
                <a:gd name="connsiteY159" fmla="*/ 8863 h 10000"/>
                <a:gd name="connsiteX160" fmla="*/ 4522 w 10000"/>
                <a:gd name="connsiteY160" fmla="*/ 8941 h 10000"/>
                <a:gd name="connsiteX161" fmla="*/ 4700 w 10000"/>
                <a:gd name="connsiteY161" fmla="*/ 9024 h 10000"/>
                <a:gd name="connsiteX162" fmla="*/ 4878 w 10000"/>
                <a:gd name="connsiteY162" fmla="*/ 9102 h 10000"/>
                <a:gd name="connsiteX163" fmla="*/ 5063 w 10000"/>
                <a:gd name="connsiteY163" fmla="*/ 9175 h 10000"/>
                <a:gd name="connsiteX164" fmla="*/ 5248 w 10000"/>
                <a:gd name="connsiteY164" fmla="*/ 9253 h 10000"/>
                <a:gd name="connsiteX165" fmla="*/ 5426 w 10000"/>
                <a:gd name="connsiteY165" fmla="*/ 9322 h 10000"/>
                <a:gd name="connsiteX166" fmla="*/ 5619 w 10000"/>
                <a:gd name="connsiteY166" fmla="*/ 9390 h 10000"/>
                <a:gd name="connsiteX167" fmla="*/ 5812 w 10000"/>
                <a:gd name="connsiteY167" fmla="*/ 9459 h 10000"/>
                <a:gd name="connsiteX168" fmla="*/ 6004 w 10000"/>
                <a:gd name="connsiteY168" fmla="*/ 9523 h 10000"/>
                <a:gd name="connsiteX169" fmla="*/ 6205 w 10000"/>
                <a:gd name="connsiteY169" fmla="*/ 9588 h 10000"/>
                <a:gd name="connsiteX170" fmla="*/ 6397 w 10000"/>
                <a:gd name="connsiteY170" fmla="*/ 9647 h 10000"/>
                <a:gd name="connsiteX171" fmla="*/ 6605 w 10000"/>
                <a:gd name="connsiteY171" fmla="*/ 9702 h 10000"/>
                <a:gd name="connsiteX172" fmla="*/ 6805 w 10000"/>
                <a:gd name="connsiteY172" fmla="*/ 9757 h 10000"/>
                <a:gd name="connsiteX173" fmla="*/ 7005 w 10000"/>
                <a:gd name="connsiteY173" fmla="*/ 9812 h 10000"/>
                <a:gd name="connsiteX174" fmla="*/ 7213 w 10000"/>
                <a:gd name="connsiteY174" fmla="*/ 9863 h 10000"/>
                <a:gd name="connsiteX175" fmla="*/ 7420 w 10000"/>
                <a:gd name="connsiteY175" fmla="*/ 9908 h 10000"/>
                <a:gd name="connsiteX176" fmla="*/ 7628 w 10000"/>
                <a:gd name="connsiteY176" fmla="*/ 9954 h 10000"/>
                <a:gd name="connsiteX177" fmla="*/ 7835 w 10000"/>
                <a:gd name="connsiteY177" fmla="*/ 10000 h 10000"/>
                <a:gd name="connsiteX178" fmla="*/ 7539 w 10000"/>
                <a:gd name="connsiteY178" fmla="*/ 7754 h 10000"/>
                <a:gd name="connsiteX179" fmla="*/ 10000 w 10000"/>
                <a:gd name="connsiteY179" fmla="*/ 6141 h 10000"/>
                <a:gd name="connsiteX0" fmla="*/ 10000 w 10000"/>
                <a:gd name="connsiteY0" fmla="*/ 6162 h 10021"/>
                <a:gd name="connsiteX1" fmla="*/ 10000 w 10000"/>
                <a:gd name="connsiteY1" fmla="*/ 6162 h 10021"/>
                <a:gd name="connsiteX2" fmla="*/ 9911 w 10000"/>
                <a:gd name="connsiteY2" fmla="*/ 6148 h 10021"/>
                <a:gd name="connsiteX3" fmla="*/ 9815 w 10000"/>
                <a:gd name="connsiteY3" fmla="*/ 6130 h 10021"/>
                <a:gd name="connsiteX4" fmla="*/ 9726 w 10000"/>
                <a:gd name="connsiteY4" fmla="*/ 6112 h 10021"/>
                <a:gd name="connsiteX5" fmla="*/ 9637 w 10000"/>
                <a:gd name="connsiteY5" fmla="*/ 6089 h 10021"/>
                <a:gd name="connsiteX6" fmla="*/ 9548 w 10000"/>
                <a:gd name="connsiteY6" fmla="*/ 6070 h 10021"/>
                <a:gd name="connsiteX7" fmla="*/ 9466 w 10000"/>
                <a:gd name="connsiteY7" fmla="*/ 6048 h 10021"/>
                <a:gd name="connsiteX8" fmla="*/ 9377 w 10000"/>
                <a:gd name="connsiteY8" fmla="*/ 6025 h 10021"/>
                <a:gd name="connsiteX9" fmla="*/ 9288 w 10000"/>
                <a:gd name="connsiteY9" fmla="*/ 6002 h 10021"/>
                <a:gd name="connsiteX10" fmla="*/ 9118 w 10000"/>
                <a:gd name="connsiteY10" fmla="*/ 5951 h 10021"/>
                <a:gd name="connsiteX11" fmla="*/ 8955 w 10000"/>
                <a:gd name="connsiteY11" fmla="*/ 5896 h 10021"/>
                <a:gd name="connsiteX12" fmla="*/ 8792 w 10000"/>
                <a:gd name="connsiteY12" fmla="*/ 5837 h 10021"/>
                <a:gd name="connsiteX13" fmla="*/ 8636 w 10000"/>
                <a:gd name="connsiteY13" fmla="*/ 5773 h 10021"/>
                <a:gd name="connsiteX14" fmla="*/ 8480 w 10000"/>
                <a:gd name="connsiteY14" fmla="*/ 5708 h 10021"/>
                <a:gd name="connsiteX15" fmla="*/ 8340 w 10000"/>
                <a:gd name="connsiteY15" fmla="*/ 5640 h 10021"/>
                <a:gd name="connsiteX16" fmla="*/ 8199 w 10000"/>
                <a:gd name="connsiteY16" fmla="*/ 5566 h 10021"/>
                <a:gd name="connsiteX17" fmla="*/ 8058 w 10000"/>
                <a:gd name="connsiteY17" fmla="*/ 5488 h 10021"/>
                <a:gd name="connsiteX18" fmla="*/ 7924 w 10000"/>
                <a:gd name="connsiteY18" fmla="*/ 5406 h 10021"/>
                <a:gd name="connsiteX19" fmla="*/ 7798 w 10000"/>
                <a:gd name="connsiteY19" fmla="*/ 5323 h 10021"/>
                <a:gd name="connsiteX20" fmla="*/ 7672 w 10000"/>
                <a:gd name="connsiteY20" fmla="*/ 5236 h 10021"/>
                <a:gd name="connsiteX21" fmla="*/ 7554 w 10000"/>
                <a:gd name="connsiteY21" fmla="*/ 5149 h 10021"/>
                <a:gd name="connsiteX22" fmla="*/ 7450 w 10000"/>
                <a:gd name="connsiteY22" fmla="*/ 5053 h 10021"/>
                <a:gd name="connsiteX23" fmla="*/ 7346 w 10000"/>
                <a:gd name="connsiteY23" fmla="*/ 4957 h 10021"/>
                <a:gd name="connsiteX24" fmla="*/ 7250 w 10000"/>
                <a:gd name="connsiteY24" fmla="*/ 4861 h 10021"/>
                <a:gd name="connsiteX25" fmla="*/ 7161 w 10000"/>
                <a:gd name="connsiteY25" fmla="*/ 4760 h 10021"/>
                <a:gd name="connsiteX26" fmla="*/ 7072 w 10000"/>
                <a:gd name="connsiteY26" fmla="*/ 4659 h 10021"/>
                <a:gd name="connsiteX27" fmla="*/ 6990 w 10000"/>
                <a:gd name="connsiteY27" fmla="*/ 4549 h 10021"/>
                <a:gd name="connsiteX28" fmla="*/ 6953 w 10000"/>
                <a:gd name="connsiteY28" fmla="*/ 4499 h 10021"/>
                <a:gd name="connsiteX29" fmla="*/ 6916 w 10000"/>
                <a:gd name="connsiteY29" fmla="*/ 4444 h 10021"/>
                <a:gd name="connsiteX30" fmla="*/ 6887 w 10000"/>
                <a:gd name="connsiteY30" fmla="*/ 4389 h 10021"/>
                <a:gd name="connsiteX31" fmla="*/ 6850 w 10000"/>
                <a:gd name="connsiteY31" fmla="*/ 4334 h 10021"/>
                <a:gd name="connsiteX32" fmla="*/ 6820 w 10000"/>
                <a:gd name="connsiteY32" fmla="*/ 4279 h 10021"/>
                <a:gd name="connsiteX33" fmla="*/ 6790 w 10000"/>
                <a:gd name="connsiteY33" fmla="*/ 4224 h 10021"/>
                <a:gd name="connsiteX34" fmla="*/ 6768 w 10000"/>
                <a:gd name="connsiteY34" fmla="*/ 4164 h 10021"/>
                <a:gd name="connsiteX35" fmla="*/ 6738 w 10000"/>
                <a:gd name="connsiteY35" fmla="*/ 4109 h 10021"/>
                <a:gd name="connsiteX36" fmla="*/ 6723 w 10000"/>
                <a:gd name="connsiteY36" fmla="*/ 4049 h 10021"/>
                <a:gd name="connsiteX37" fmla="*/ 6694 w 10000"/>
                <a:gd name="connsiteY37" fmla="*/ 3994 h 10021"/>
                <a:gd name="connsiteX38" fmla="*/ 6679 w 10000"/>
                <a:gd name="connsiteY38" fmla="*/ 3935 h 10021"/>
                <a:gd name="connsiteX39" fmla="*/ 6664 w 10000"/>
                <a:gd name="connsiteY39" fmla="*/ 3875 h 10021"/>
                <a:gd name="connsiteX40" fmla="*/ 6649 w 10000"/>
                <a:gd name="connsiteY40" fmla="*/ 3816 h 10021"/>
                <a:gd name="connsiteX41" fmla="*/ 6635 w 10000"/>
                <a:gd name="connsiteY41" fmla="*/ 3761 h 10021"/>
                <a:gd name="connsiteX42" fmla="*/ 6620 w 10000"/>
                <a:gd name="connsiteY42" fmla="*/ 3701 h 10021"/>
                <a:gd name="connsiteX43" fmla="*/ 6612 w 10000"/>
                <a:gd name="connsiteY43" fmla="*/ 3642 h 10021"/>
                <a:gd name="connsiteX44" fmla="*/ 6605 w 10000"/>
                <a:gd name="connsiteY44" fmla="*/ 3582 h 10021"/>
                <a:gd name="connsiteX45" fmla="*/ 6597 w 10000"/>
                <a:gd name="connsiteY45" fmla="*/ 3518 h 10021"/>
                <a:gd name="connsiteX46" fmla="*/ 6597 w 10000"/>
                <a:gd name="connsiteY46" fmla="*/ 3458 h 10021"/>
                <a:gd name="connsiteX47" fmla="*/ 6590 w 10000"/>
                <a:gd name="connsiteY47" fmla="*/ 3394 h 10021"/>
                <a:gd name="connsiteX48" fmla="*/ 6597 w 10000"/>
                <a:gd name="connsiteY48" fmla="*/ 3334 h 10021"/>
                <a:gd name="connsiteX49" fmla="*/ 6605 w 10000"/>
                <a:gd name="connsiteY49" fmla="*/ 3266 h 10021"/>
                <a:gd name="connsiteX50" fmla="*/ 6605 w 10000"/>
                <a:gd name="connsiteY50" fmla="*/ 3202 h 10021"/>
                <a:gd name="connsiteX51" fmla="*/ 6612 w 10000"/>
                <a:gd name="connsiteY51" fmla="*/ 3137 h 10021"/>
                <a:gd name="connsiteX52" fmla="*/ 6620 w 10000"/>
                <a:gd name="connsiteY52" fmla="*/ 3073 h 10021"/>
                <a:gd name="connsiteX53" fmla="*/ 6635 w 10000"/>
                <a:gd name="connsiteY53" fmla="*/ 3014 h 10021"/>
                <a:gd name="connsiteX54" fmla="*/ 6649 w 10000"/>
                <a:gd name="connsiteY54" fmla="*/ 2950 h 10021"/>
                <a:gd name="connsiteX55" fmla="*/ 6664 w 10000"/>
                <a:gd name="connsiteY55" fmla="*/ 2890 h 10021"/>
                <a:gd name="connsiteX56" fmla="*/ 6686 w 10000"/>
                <a:gd name="connsiteY56" fmla="*/ 2826 h 10021"/>
                <a:gd name="connsiteX57" fmla="*/ 6709 w 10000"/>
                <a:gd name="connsiteY57" fmla="*/ 2766 h 10021"/>
                <a:gd name="connsiteX58" fmla="*/ 6731 w 10000"/>
                <a:gd name="connsiteY58" fmla="*/ 2707 h 10021"/>
                <a:gd name="connsiteX59" fmla="*/ 6753 w 10000"/>
                <a:gd name="connsiteY59" fmla="*/ 2642 h 10021"/>
                <a:gd name="connsiteX60" fmla="*/ 6783 w 10000"/>
                <a:gd name="connsiteY60" fmla="*/ 2587 h 10021"/>
                <a:gd name="connsiteX61" fmla="*/ 6812 w 10000"/>
                <a:gd name="connsiteY61" fmla="*/ 2528 h 10021"/>
                <a:gd name="connsiteX62" fmla="*/ 6842 w 10000"/>
                <a:gd name="connsiteY62" fmla="*/ 2468 h 10021"/>
                <a:gd name="connsiteX63" fmla="*/ 6879 w 10000"/>
                <a:gd name="connsiteY63" fmla="*/ 2409 h 10021"/>
                <a:gd name="connsiteX64" fmla="*/ 6909 w 10000"/>
                <a:gd name="connsiteY64" fmla="*/ 2354 h 10021"/>
                <a:gd name="connsiteX65" fmla="*/ 6946 w 10000"/>
                <a:gd name="connsiteY65" fmla="*/ 2294 h 10021"/>
                <a:gd name="connsiteX66" fmla="*/ 6990 w 10000"/>
                <a:gd name="connsiteY66" fmla="*/ 2239 h 10021"/>
                <a:gd name="connsiteX67" fmla="*/ 7027 w 10000"/>
                <a:gd name="connsiteY67" fmla="*/ 2184 h 10021"/>
                <a:gd name="connsiteX68" fmla="*/ 7072 w 10000"/>
                <a:gd name="connsiteY68" fmla="*/ 2129 h 10021"/>
                <a:gd name="connsiteX69" fmla="*/ 7109 w 10000"/>
                <a:gd name="connsiteY69" fmla="*/ 2074 h 10021"/>
                <a:gd name="connsiteX70" fmla="*/ 7161 w 10000"/>
                <a:gd name="connsiteY70" fmla="*/ 2024 h 10021"/>
                <a:gd name="connsiteX71" fmla="*/ 7213 w 10000"/>
                <a:gd name="connsiteY71" fmla="*/ 1969 h 10021"/>
                <a:gd name="connsiteX72" fmla="*/ 7257 w 10000"/>
                <a:gd name="connsiteY72" fmla="*/ 1914 h 10021"/>
                <a:gd name="connsiteX73" fmla="*/ 7309 w 10000"/>
                <a:gd name="connsiteY73" fmla="*/ 1863 h 10021"/>
                <a:gd name="connsiteX74" fmla="*/ 7361 w 10000"/>
                <a:gd name="connsiteY74" fmla="*/ 1813 h 10021"/>
                <a:gd name="connsiteX75" fmla="*/ 7413 w 10000"/>
                <a:gd name="connsiteY75" fmla="*/ 1763 h 10021"/>
                <a:gd name="connsiteX76" fmla="*/ 7472 w 10000"/>
                <a:gd name="connsiteY76" fmla="*/ 1712 h 10021"/>
                <a:gd name="connsiteX77" fmla="*/ 7524 w 10000"/>
                <a:gd name="connsiteY77" fmla="*/ 1666 h 10021"/>
                <a:gd name="connsiteX78" fmla="*/ 7583 w 10000"/>
                <a:gd name="connsiteY78" fmla="*/ 1620 h 10021"/>
                <a:gd name="connsiteX79" fmla="*/ 7643 w 10000"/>
                <a:gd name="connsiteY79" fmla="*/ 1570 h 10021"/>
                <a:gd name="connsiteX80" fmla="*/ 5434 w 10000"/>
                <a:gd name="connsiteY80" fmla="*/ 21 h 10021"/>
                <a:gd name="connsiteX81" fmla="*/ 1401 w 10000"/>
                <a:gd name="connsiteY81" fmla="*/ 0 h 10021"/>
                <a:gd name="connsiteX82" fmla="*/ 1305 w 10000"/>
                <a:gd name="connsiteY82" fmla="*/ 149 h 10021"/>
                <a:gd name="connsiteX83" fmla="*/ 1223 w 10000"/>
                <a:gd name="connsiteY83" fmla="*/ 241 h 10021"/>
                <a:gd name="connsiteX84" fmla="*/ 1149 w 10000"/>
                <a:gd name="connsiteY84" fmla="*/ 337 h 10021"/>
                <a:gd name="connsiteX85" fmla="*/ 1067 w 10000"/>
                <a:gd name="connsiteY85" fmla="*/ 433 h 10021"/>
                <a:gd name="connsiteX86" fmla="*/ 1001 w 10000"/>
                <a:gd name="connsiteY86" fmla="*/ 530 h 10021"/>
                <a:gd name="connsiteX87" fmla="*/ 927 w 10000"/>
                <a:gd name="connsiteY87" fmla="*/ 626 h 10021"/>
                <a:gd name="connsiteX88" fmla="*/ 860 w 10000"/>
                <a:gd name="connsiteY88" fmla="*/ 727 h 10021"/>
                <a:gd name="connsiteX89" fmla="*/ 793 w 10000"/>
                <a:gd name="connsiteY89" fmla="*/ 828 h 10021"/>
                <a:gd name="connsiteX90" fmla="*/ 734 w 10000"/>
                <a:gd name="connsiteY90" fmla="*/ 924 h 10021"/>
                <a:gd name="connsiteX91" fmla="*/ 675 w 10000"/>
                <a:gd name="connsiteY91" fmla="*/ 1025 h 10021"/>
                <a:gd name="connsiteX92" fmla="*/ 615 w 10000"/>
                <a:gd name="connsiteY92" fmla="*/ 1125 h 10021"/>
                <a:gd name="connsiteX93" fmla="*/ 556 w 10000"/>
                <a:gd name="connsiteY93" fmla="*/ 1231 h 10021"/>
                <a:gd name="connsiteX94" fmla="*/ 504 w 10000"/>
                <a:gd name="connsiteY94" fmla="*/ 1327 h 10021"/>
                <a:gd name="connsiteX95" fmla="*/ 452 w 10000"/>
                <a:gd name="connsiteY95" fmla="*/ 1433 h 10021"/>
                <a:gd name="connsiteX96" fmla="*/ 408 w 10000"/>
                <a:gd name="connsiteY96" fmla="*/ 1533 h 10021"/>
                <a:gd name="connsiteX97" fmla="*/ 363 w 10000"/>
                <a:gd name="connsiteY97" fmla="*/ 1639 h 10021"/>
                <a:gd name="connsiteX98" fmla="*/ 319 w 10000"/>
                <a:gd name="connsiteY98" fmla="*/ 1744 h 10021"/>
                <a:gd name="connsiteX99" fmla="*/ 282 w 10000"/>
                <a:gd name="connsiteY99" fmla="*/ 1850 h 10021"/>
                <a:gd name="connsiteX100" fmla="*/ 237 w 10000"/>
                <a:gd name="connsiteY100" fmla="*/ 1960 h 10021"/>
                <a:gd name="connsiteX101" fmla="*/ 208 w 10000"/>
                <a:gd name="connsiteY101" fmla="*/ 2065 h 10021"/>
                <a:gd name="connsiteX102" fmla="*/ 170 w 10000"/>
                <a:gd name="connsiteY102" fmla="*/ 2175 h 10021"/>
                <a:gd name="connsiteX103" fmla="*/ 148 w 10000"/>
                <a:gd name="connsiteY103" fmla="*/ 2285 h 10021"/>
                <a:gd name="connsiteX104" fmla="*/ 119 w 10000"/>
                <a:gd name="connsiteY104" fmla="*/ 2390 h 10021"/>
                <a:gd name="connsiteX105" fmla="*/ 96 w 10000"/>
                <a:gd name="connsiteY105" fmla="*/ 2500 h 10021"/>
                <a:gd name="connsiteX106" fmla="*/ 74 w 10000"/>
                <a:gd name="connsiteY106" fmla="*/ 2610 h 10021"/>
                <a:gd name="connsiteX107" fmla="*/ 52 w 10000"/>
                <a:gd name="connsiteY107" fmla="*/ 2725 h 10021"/>
                <a:gd name="connsiteX108" fmla="*/ 37 w 10000"/>
                <a:gd name="connsiteY108" fmla="*/ 2835 h 10021"/>
                <a:gd name="connsiteX109" fmla="*/ 22 w 10000"/>
                <a:gd name="connsiteY109" fmla="*/ 2945 h 10021"/>
                <a:gd name="connsiteX110" fmla="*/ 15 w 10000"/>
                <a:gd name="connsiteY110" fmla="*/ 3055 h 10021"/>
                <a:gd name="connsiteX111" fmla="*/ 7 w 10000"/>
                <a:gd name="connsiteY111" fmla="*/ 3169 h 10021"/>
                <a:gd name="connsiteX112" fmla="*/ 0 w 10000"/>
                <a:gd name="connsiteY112" fmla="*/ 3279 h 10021"/>
                <a:gd name="connsiteX113" fmla="*/ 0 w 10000"/>
                <a:gd name="connsiteY113" fmla="*/ 3394 h 10021"/>
                <a:gd name="connsiteX114" fmla="*/ 7 w 10000"/>
                <a:gd name="connsiteY114" fmla="*/ 3541 h 10021"/>
                <a:gd name="connsiteX115" fmla="*/ 7 w 10000"/>
                <a:gd name="connsiteY115" fmla="*/ 3687 h 10021"/>
                <a:gd name="connsiteX116" fmla="*/ 22 w 10000"/>
                <a:gd name="connsiteY116" fmla="*/ 3825 h 10021"/>
                <a:gd name="connsiteX117" fmla="*/ 37 w 10000"/>
                <a:gd name="connsiteY117" fmla="*/ 3967 h 10021"/>
                <a:gd name="connsiteX118" fmla="*/ 59 w 10000"/>
                <a:gd name="connsiteY118" fmla="*/ 4109 h 10021"/>
                <a:gd name="connsiteX119" fmla="*/ 89 w 10000"/>
                <a:gd name="connsiteY119" fmla="*/ 4251 h 10021"/>
                <a:gd name="connsiteX120" fmla="*/ 119 w 10000"/>
                <a:gd name="connsiteY120" fmla="*/ 4393 h 10021"/>
                <a:gd name="connsiteX121" fmla="*/ 148 w 10000"/>
                <a:gd name="connsiteY121" fmla="*/ 4535 h 10021"/>
                <a:gd name="connsiteX122" fmla="*/ 193 w 10000"/>
                <a:gd name="connsiteY122" fmla="*/ 4673 h 10021"/>
                <a:gd name="connsiteX123" fmla="*/ 237 w 10000"/>
                <a:gd name="connsiteY123" fmla="*/ 4810 h 10021"/>
                <a:gd name="connsiteX124" fmla="*/ 282 w 10000"/>
                <a:gd name="connsiteY124" fmla="*/ 4948 h 10021"/>
                <a:gd name="connsiteX125" fmla="*/ 334 w 10000"/>
                <a:gd name="connsiteY125" fmla="*/ 5085 h 10021"/>
                <a:gd name="connsiteX126" fmla="*/ 393 w 10000"/>
                <a:gd name="connsiteY126" fmla="*/ 5218 h 10021"/>
                <a:gd name="connsiteX127" fmla="*/ 452 w 10000"/>
                <a:gd name="connsiteY127" fmla="*/ 5351 h 10021"/>
                <a:gd name="connsiteX128" fmla="*/ 519 w 10000"/>
                <a:gd name="connsiteY128" fmla="*/ 5484 h 10021"/>
                <a:gd name="connsiteX129" fmla="*/ 586 w 10000"/>
                <a:gd name="connsiteY129" fmla="*/ 5617 h 10021"/>
                <a:gd name="connsiteX130" fmla="*/ 660 w 10000"/>
                <a:gd name="connsiteY130" fmla="*/ 5745 h 10021"/>
                <a:gd name="connsiteX131" fmla="*/ 741 w 10000"/>
                <a:gd name="connsiteY131" fmla="*/ 5873 h 10021"/>
                <a:gd name="connsiteX132" fmla="*/ 823 w 10000"/>
                <a:gd name="connsiteY132" fmla="*/ 6006 h 10021"/>
                <a:gd name="connsiteX133" fmla="*/ 904 w 10000"/>
                <a:gd name="connsiteY133" fmla="*/ 6130 h 10021"/>
                <a:gd name="connsiteX134" fmla="*/ 993 w 10000"/>
                <a:gd name="connsiteY134" fmla="*/ 6254 h 10021"/>
                <a:gd name="connsiteX135" fmla="*/ 1090 w 10000"/>
                <a:gd name="connsiteY135" fmla="*/ 6373 h 10021"/>
                <a:gd name="connsiteX136" fmla="*/ 1186 w 10000"/>
                <a:gd name="connsiteY136" fmla="*/ 6497 h 10021"/>
                <a:gd name="connsiteX137" fmla="*/ 1290 w 10000"/>
                <a:gd name="connsiteY137" fmla="*/ 6620 h 10021"/>
                <a:gd name="connsiteX138" fmla="*/ 1386 w 10000"/>
                <a:gd name="connsiteY138" fmla="*/ 6740 h 10021"/>
                <a:gd name="connsiteX139" fmla="*/ 1497 w 10000"/>
                <a:gd name="connsiteY139" fmla="*/ 6859 h 10021"/>
                <a:gd name="connsiteX140" fmla="*/ 1609 w 10000"/>
                <a:gd name="connsiteY140" fmla="*/ 6973 h 10021"/>
                <a:gd name="connsiteX141" fmla="*/ 1727 w 10000"/>
                <a:gd name="connsiteY141" fmla="*/ 7092 h 10021"/>
                <a:gd name="connsiteX142" fmla="*/ 1846 w 10000"/>
                <a:gd name="connsiteY142" fmla="*/ 7207 h 10021"/>
                <a:gd name="connsiteX143" fmla="*/ 1964 w 10000"/>
                <a:gd name="connsiteY143" fmla="*/ 7317 h 10021"/>
                <a:gd name="connsiteX144" fmla="*/ 2090 w 10000"/>
                <a:gd name="connsiteY144" fmla="*/ 7427 h 10021"/>
                <a:gd name="connsiteX145" fmla="*/ 2224 w 10000"/>
                <a:gd name="connsiteY145" fmla="*/ 7537 h 10021"/>
                <a:gd name="connsiteX146" fmla="*/ 2350 w 10000"/>
                <a:gd name="connsiteY146" fmla="*/ 7647 h 10021"/>
                <a:gd name="connsiteX147" fmla="*/ 2491 w 10000"/>
                <a:gd name="connsiteY147" fmla="*/ 7752 h 10021"/>
                <a:gd name="connsiteX148" fmla="*/ 2617 w 10000"/>
                <a:gd name="connsiteY148" fmla="*/ 7858 h 10021"/>
                <a:gd name="connsiteX149" fmla="*/ 2765 w 10000"/>
                <a:gd name="connsiteY149" fmla="*/ 7959 h 10021"/>
                <a:gd name="connsiteX150" fmla="*/ 2906 w 10000"/>
                <a:gd name="connsiteY150" fmla="*/ 8059 h 10021"/>
                <a:gd name="connsiteX151" fmla="*/ 3054 w 10000"/>
                <a:gd name="connsiteY151" fmla="*/ 8160 h 10021"/>
                <a:gd name="connsiteX152" fmla="*/ 3210 w 10000"/>
                <a:gd name="connsiteY152" fmla="*/ 8257 h 10021"/>
                <a:gd name="connsiteX153" fmla="*/ 3358 w 10000"/>
                <a:gd name="connsiteY153" fmla="*/ 8353 h 10021"/>
                <a:gd name="connsiteX154" fmla="*/ 3514 w 10000"/>
                <a:gd name="connsiteY154" fmla="*/ 8449 h 10021"/>
                <a:gd name="connsiteX155" fmla="*/ 3677 w 10000"/>
                <a:gd name="connsiteY155" fmla="*/ 8541 h 10021"/>
                <a:gd name="connsiteX156" fmla="*/ 3840 w 10000"/>
                <a:gd name="connsiteY156" fmla="*/ 8628 h 10021"/>
                <a:gd name="connsiteX157" fmla="*/ 4010 w 10000"/>
                <a:gd name="connsiteY157" fmla="*/ 8719 h 10021"/>
                <a:gd name="connsiteX158" fmla="*/ 4181 w 10000"/>
                <a:gd name="connsiteY158" fmla="*/ 8797 h 10021"/>
                <a:gd name="connsiteX159" fmla="*/ 4351 w 10000"/>
                <a:gd name="connsiteY159" fmla="*/ 8884 h 10021"/>
                <a:gd name="connsiteX160" fmla="*/ 4522 w 10000"/>
                <a:gd name="connsiteY160" fmla="*/ 8962 h 10021"/>
                <a:gd name="connsiteX161" fmla="*/ 4700 w 10000"/>
                <a:gd name="connsiteY161" fmla="*/ 9045 h 10021"/>
                <a:gd name="connsiteX162" fmla="*/ 4878 w 10000"/>
                <a:gd name="connsiteY162" fmla="*/ 9123 h 10021"/>
                <a:gd name="connsiteX163" fmla="*/ 5063 w 10000"/>
                <a:gd name="connsiteY163" fmla="*/ 9196 h 10021"/>
                <a:gd name="connsiteX164" fmla="*/ 5248 w 10000"/>
                <a:gd name="connsiteY164" fmla="*/ 9274 h 10021"/>
                <a:gd name="connsiteX165" fmla="*/ 5426 w 10000"/>
                <a:gd name="connsiteY165" fmla="*/ 9343 h 10021"/>
                <a:gd name="connsiteX166" fmla="*/ 5619 w 10000"/>
                <a:gd name="connsiteY166" fmla="*/ 9411 h 10021"/>
                <a:gd name="connsiteX167" fmla="*/ 5812 w 10000"/>
                <a:gd name="connsiteY167" fmla="*/ 9480 h 10021"/>
                <a:gd name="connsiteX168" fmla="*/ 6004 w 10000"/>
                <a:gd name="connsiteY168" fmla="*/ 9544 h 10021"/>
                <a:gd name="connsiteX169" fmla="*/ 6205 w 10000"/>
                <a:gd name="connsiteY169" fmla="*/ 9609 h 10021"/>
                <a:gd name="connsiteX170" fmla="*/ 6397 w 10000"/>
                <a:gd name="connsiteY170" fmla="*/ 9668 h 10021"/>
                <a:gd name="connsiteX171" fmla="*/ 6605 w 10000"/>
                <a:gd name="connsiteY171" fmla="*/ 9723 h 10021"/>
                <a:gd name="connsiteX172" fmla="*/ 6805 w 10000"/>
                <a:gd name="connsiteY172" fmla="*/ 9778 h 10021"/>
                <a:gd name="connsiteX173" fmla="*/ 7005 w 10000"/>
                <a:gd name="connsiteY173" fmla="*/ 9833 h 10021"/>
                <a:gd name="connsiteX174" fmla="*/ 7213 w 10000"/>
                <a:gd name="connsiteY174" fmla="*/ 9884 h 10021"/>
                <a:gd name="connsiteX175" fmla="*/ 7420 w 10000"/>
                <a:gd name="connsiteY175" fmla="*/ 9929 h 10021"/>
                <a:gd name="connsiteX176" fmla="*/ 7628 w 10000"/>
                <a:gd name="connsiteY176" fmla="*/ 9975 h 10021"/>
                <a:gd name="connsiteX177" fmla="*/ 7835 w 10000"/>
                <a:gd name="connsiteY177" fmla="*/ 10021 h 10021"/>
                <a:gd name="connsiteX178" fmla="*/ 7539 w 10000"/>
                <a:gd name="connsiteY178" fmla="*/ 7775 h 10021"/>
                <a:gd name="connsiteX179" fmla="*/ 10000 w 10000"/>
                <a:gd name="connsiteY179" fmla="*/ 6162 h 10021"/>
                <a:gd name="connsiteX0" fmla="*/ 10000 w 10000"/>
                <a:gd name="connsiteY0" fmla="*/ 6162 h 10021"/>
                <a:gd name="connsiteX1" fmla="*/ 10000 w 10000"/>
                <a:gd name="connsiteY1" fmla="*/ 6162 h 10021"/>
                <a:gd name="connsiteX2" fmla="*/ 9911 w 10000"/>
                <a:gd name="connsiteY2" fmla="*/ 6148 h 10021"/>
                <a:gd name="connsiteX3" fmla="*/ 9815 w 10000"/>
                <a:gd name="connsiteY3" fmla="*/ 6130 h 10021"/>
                <a:gd name="connsiteX4" fmla="*/ 9726 w 10000"/>
                <a:gd name="connsiteY4" fmla="*/ 6112 h 10021"/>
                <a:gd name="connsiteX5" fmla="*/ 9637 w 10000"/>
                <a:gd name="connsiteY5" fmla="*/ 6089 h 10021"/>
                <a:gd name="connsiteX6" fmla="*/ 9548 w 10000"/>
                <a:gd name="connsiteY6" fmla="*/ 6070 h 10021"/>
                <a:gd name="connsiteX7" fmla="*/ 9466 w 10000"/>
                <a:gd name="connsiteY7" fmla="*/ 6048 h 10021"/>
                <a:gd name="connsiteX8" fmla="*/ 9377 w 10000"/>
                <a:gd name="connsiteY8" fmla="*/ 6025 h 10021"/>
                <a:gd name="connsiteX9" fmla="*/ 9288 w 10000"/>
                <a:gd name="connsiteY9" fmla="*/ 6002 h 10021"/>
                <a:gd name="connsiteX10" fmla="*/ 9118 w 10000"/>
                <a:gd name="connsiteY10" fmla="*/ 5951 h 10021"/>
                <a:gd name="connsiteX11" fmla="*/ 8955 w 10000"/>
                <a:gd name="connsiteY11" fmla="*/ 5896 h 10021"/>
                <a:gd name="connsiteX12" fmla="*/ 8792 w 10000"/>
                <a:gd name="connsiteY12" fmla="*/ 5837 h 10021"/>
                <a:gd name="connsiteX13" fmla="*/ 8636 w 10000"/>
                <a:gd name="connsiteY13" fmla="*/ 5773 h 10021"/>
                <a:gd name="connsiteX14" fmla="*/ 8480 w 10000"/>
                <a:gd name="connsiteY14" fmla="*/ 5708 h 10021"/>
                <a:gd name="connsiteX15" fmla="*/ 8340 w 10000"/>
                <a:gd name="connsiteY15" fmla="*/ 5640 h 10021"/>
                <a:gd name="connsiteX16" fmla="*/ 8199 w 10000"/>
                <a:gd name="connsiteY16" fmla="*/ 5566 h 10021"/>
                <a:gd name="connsiteX17" fmla="*/ 8058 w 10000"/>
                <a:gd name="connsiteY17" fmla="*/ 5488 h 10021"/>
                <a:gd name="connsiteX18" fmla="*/ 7924 w 10000"/>
                <a:gd name="connsiteY18" fmla="*/ 5406 h 10021"/>
                <a:gd name="connsiteX19" fmla="*/ 7798 w 10000"/>
                <a:gd name="connsiteY19" fmla="*/ 5323 h 10021"/>
                <a:gd name="connsiteX20" fmla="*/ 7672 w 10000"/>
                <a:gd name="connsiteY20" fmla="*/ 5236 h 10021"/>
                <a:gd name="connsiteX21" fmla="*/ 7554 w 10000"/>
                <a:gd name="connsiteY21" fmla="*/ 5149 h 10021"/>
                <a:gd name="connsiteX22" fmla="*/ 7450 w 10000"/>
                <a:gd name="connsiteY22" fmla="*/ 5053 h 10021"/>
                <a:gd name="connsiteX23" fmla="*/ 7346 w 10000"/>
                <a:gd name="connsiteY23" fmla="*/ 4957 h 10021"/>
                <a:gd name="connsiteX24" fmla="*/ 7250 w 10000"/>
                <a:gd name="connsiteY24" fmla="*/ 4861 h 10021"/>
                <a:gd name="connsiteX25" fmla="*/ 7161 w 10000"/>
                <a:gd name="connsiteY25" fmla="*/ 4760 h 10021"/>
                <a:gd name="connsiteX26" fmla="*/ 7072 w 10000"/>
                <a:gd name="connsiteY26" fmla="*/ 4659 h 10021"/>
                <a:gd name="connsiteX27" fmla="*/ 6990 w 10000"/>
                <a:gd name="connsiteY27" fmla="*/ 4549 h 10021"/>
                <a:gd name="connsiteX28" fmla="*/ 6953 w 10000"/>
                <a:gd name="connsiteY28" fmla="*/ 4499 h 10021"/>
                <a:gd name="connsiteX29" fmla="*/ 6916 w 10000"/>
                <a:gd name="connsiteY29" fmla="*/ 4444 h 10021"/>
                <a:gd name="connsiteX30" fmla="*/ 6887 w 10000"/>
                <a:gd name="connsiteY30" fmla="*/ 4389 h 10021"/>
                <a:gd name="connsiteX31" fmla="*/ 6850 w 10000"/>
                <a:gd name="connsiteY31" fmla="*/ 4334 h 10021"/>
                <a:gd name="connsiteX32" fmla="*/ 6820 w 10000"/>
                <a:gd name="connsiteY32" fmla="*/ 4279 h 10021"/>
                <a:gd name="connsiteX33" fmla="*/ 6790 w 10000"/>
                <a:gd name="connsiteY33" fmla="*/ 4224 h 10021"/>
                <a:gd name="connsiteX34" fmla="*/ 6768 w 10000"/>
                <a:gd name="connsiteY34" fmla="*/ 4164 h 10021"/>
                <a:gd name="connsiteX35" fmla="*/ 6738 w 10000"/>
                <a:gd name="connsiteY35" fmla="*/ 4109 h 10021"/>
                <a:gd name="connsiteX36" fmla="*/ 6723 w 10000"/>
                <a:gd name="connsiteY36" fmla="*/ 4049 h 10021"/>
                <a:gd name="connsiteX37" fmla="*/ 6694 w 10000"/>
                <a:gd name="connsiteY37" fmla="*/ 3994 h 10021"/>
                <a:gd name="connsiteX38" fmla="*/ 6679 w 10000"/>
                <a:gd name="connsiteY38" fmla="*/ 3935 h 10021"/>
                <a:gd name="connsiteX39" fmla="*/ 6664 w 10000"/>
                <a:gd name="connsiteY39" fmla="*/ 3875 h 10021"/>
                <a:gd name="connsiteX40" fmla="*/ 6649 w 10000"/>
                <a:gd name="connsiteY40" fmla="*/ 3816 h 10021"/>
                <a:gd name="connsiteX41" fmla="*/ 6635 w 10000"/>
                <a:gd name="connsiteY41" fmla="*/ 3761 h 10021"/>
                <a:gd name="connsiteX42" fmla="*/ 6620 w 10000"/>
                <a:gd name="connsiteY42" fmla="*/ 3701 h 10021"/>
                <a:gd name="connsiteX43" fmla="*/ 6612 w 10000"/>
                <a:gd name="connsiteY43" fmla="*/ 3642 h 10021"/>
                <a:gd name="connsiteX44" fmla="*/ 6605 w 10000"/>
                <a:gd name="connsiteY44" fmla="*/ 3582 h 10021"/>
                <a:gd name="connsiteX45" fmla="*/ 6597 w 10000"/>
                <a:gd name="connsiteY45" fmla="*/ 3518 h 10021"/>
                <a:gd name="connsiteX46" fmla="*/ 6597 w 10000"/>
                <a:gd name="connsiteY46" fmla="*/ 3458 h 10021"/>
                <a:gd name="connsiteX47" fmla="*/ 6590 w 10000"/>
                <a:gd name="connsiteY47" fmla="*/ 3394 h 10021"/>
                <a:gd name="connsiteX48" fmla="*/ 6597 w 10000"/>
                <a:gd name="connsiteY48" fmla="*/ 3334 h 10021"/>
                <a:gd name="connsiteX49" fmla="*/ 6605 w 10000"/>
                <a:gd name="connsiteY49" fmla="*/ 3266 h 10021"/>
                <a:gd name="connsiteX50" fmla="*/ 6605 w 10000"/>
                <a:gd name="connsiteY50" fmla="*/ 3202 h 10021"/>
                <a:gd name="connsiteX51" fmla="*/ 6612 w 10000"/>
                <a:gd name="connsiteY51" fmla="*/ 3137 h 10021"/>
                <a:gd name="connsiteX52" fmla="*/ 6620 w 10000"/>
                <a:gd name="connsiteY52" fmla="*/ 3073 h 10021"/>
                <a:gd name="connsiteX53" fmla="*/ 6635 w 10000"/>
                <a:gd name="connsiteY53" fmla="*/ 3014 h 10021"/>
                <a:gd name="connsiteX54" fmla="*/ 6649 w 10000"/>
                <a:gd name="connsiteY54" fmla="*/ 2950 h 10021"/>
                <a:gd name="connsiteX55" fmla="*/ 6664 w 10000"/>
                <a:gd name="connsiteY55" fmla="*/ 2890 h 10021"/>
                <a:gd name="connsiteX56" fmla="*/ 6686 w 10000"/>
                <a:gd name="connsiteY56" fmla="*/ 2826 h 10021"/>
                <a:gd name="connsiteX57" fmla="*/ 6709 w 10000"/>
                <a:gd name="connsiteY57" fmla="*/ 2766 h 10021"/>
                <a:gd name="connsiteX58" fmla="*/ 6731 w 10000"/>
                <a:gd name="connsiteY58" fmla="*/ 2707 h 10021"/>
                <a:gd name="connsiteX59" fmla="*/ 6753 w 10000"/>
                <a:gd name="connsiteY59" fmla="*/ 2642 h 10021"/>
                <a:gd name="connsiteX60" fmla="*/ 6783 w 10000"/>
                <a:gd name="connsiteY60" fmla="*/ 2587 h 10021"/>
                <a:gd name="connsiteX61" fmla="*/ 6812 w 10000"/>
                <a:gd name="connsiteY61" fmla="*/ 2528 h 10021"/>
                <a:gd name="connsiteX62" fmla="*/ 6842 w 10000"/>
                <a:gd name="connsiteY62" fmla="*/ 2468 h 10021"/>
                <a:gd name="connsiteX63" fmla="*/ 6879 w 10000"/>
                <a:gd name="connsiteY63" fmla="*/ 2409 h 10021"/>
                <a:gd name="connsiteX64" fmla="*/ 6909 w 10000"/>
                <a:gd name="connsiteY64" fmla="*/ 2354 h 10021"/>
                <a:gd name="connsiteX65" fmla="*/ 6946 w 10000"/>
                <a:gd name="connsiteY65" fmla="*/ 2294 h 10021"/>
                <a:gd name="connsiteX66" fmla="*/ 6990 w 10000"/>
                <a:gd name="connsiteY66" fmla="*/ 2239 h 10021"/>
                <a:gd name="connsiteX67" fmla="*/ 7027 w 10000"/>
                <a:gd name="connsiteY67" fmla="*/ 2184 h 10021"/>
                <a:gd name="connsiteX68" fmla="*/ 7072 w 10000"/>
                <a:gd name="connsiteY68" fmla="*/ 2129 h 10021"/>
                <a:gd name="connsiteX69" fmla="*/ 7109 w 10000"/>
                <a:gd name="connsiteY69" fmla="*/ 2074 h 10021"/>
                <a:gd name="connsiteX70" fmla="*/ 7161 w 10000"/>
                <a:gd name="connsiteY70" fmla="*/ 2024 h 10021"/>
                <a:gd name="connsiteX71" fmla="*/ 7213 w 10000"/>
                <a:gd name="connsiteY71" fmla="*/ 1969 h 10021"/>
                <a:gd name="connsiteX72" fmla="*/ 7257 w 10000"/>
                <a:gd name="connsiteY72" fmla="*/ 1914 h 10021"/>
                <a:gd name="connsiteX73" fmla="*/ 7309 w 10000"/>
                <a:gd name="connsiteY73" fmla="*/ 1863 h 10021"/>
                <a:gd name="connsiteX74" fmla="*/ 7361 w 10000"/>
                <a:gd name="connsiteY74" fmla="*/ 1813 h 10021"/>
                <a:gd name="connsiteX75" fmla="*/ 7413 w 10000"/>
                <a:gd name="connsiteY75" fmla="*/ 1763 h 10021"/>
                <a:gd name="connsiteX76" fmla="*/ 7472 w 10000"/>
                <a:gd name="connsiteY76" fmla="*/ 1712 h 10021"/>
                <a:gd name="connsiteX77" fmla="*/ 7524 w 10000"/>
                <a:gd name="connsiteY77" fmla="*/ 1666 h 10021"/>
                <a:gd name="connsiteX78" fmla="*/ 7583 w 10000"/>
                <a:gd name="connsiteY78" fmla="*/ 1620 h 10021"/>
                <a:gd name="connsiteX79" fmla="*/ 7643 w 10000"/>
                <a:gd name="connsiteY79" fmla="*/ 1570 h 10021"/>
                <a:gd name="connsiteX80" fmla="*/ 5423 w 10000"/>
                <a:gd name="connsiteY80" fmla="*/ 28 h 10021"/>
                <a:gd name="connsiteX81" fmla="*/ 1401 w 10000"/>
                <a:gd name="connsiteY81" fmla="*/ 0 h 10021"/>
                <a:gd name="connsiteX82" fmla="*/ 1305 w 10000"/>
                <a:gd name="connsiteY82" fmla="*/ 149 h 10021"/>
                <a:gd name="connsiteX83" fmla="*/ 1223 w 10000"/>
                <a:gd name="connsiteY83" fmla="*/ 241 h 10021"/>
                <a:gd name="connsiteX84" fmla="*/ 1149 w 10000"/>
                <a:gd name="connsiteY84" fmla="*/ 337 h 10021"/>
                <a:gd name="connsiteX85" fmla="*/ 1067 w 10000"/>
                <a:gd name="connsiteY85" fmla="*/ 433 h 10021"/>
                <a:gd name="connsiteX86" fmla="*/ 1001 w 10000"/>
                <a:gd name="connsiteY86" fmla="*/ 530 h 10021"/>
                <a:gd name="connsiteX87" fmla="*/ 927 w 10000"/>
                <a:gd name="connsiteY87" fmla="*/ 626 h 10021"/>
                <a:gd name="connsiteX88" fmla="*/ 860 w 10000"/>
                <a:gd name="connsiteY88" fmla="*/ 727 h 10021"/>
                <a:gd name="connsiteX89" fmla="*/ 793 w 10000"/>
                <a:gd name="connsiteY89" fmla="*/ 828 h 10021"/>
                <a:gd name="connsiteX90" fmla="*/ 734 w 10000"/>
                <a:gd name="connsiteY90" fmla="*/ 924 h 10021"/>
                <a:gd name="connsiteX91" fmla="*/ 675 w 10000"/>
                <a:gd name="connsiteY91" fmla="*/ 1025 h 10021"/>
                <a:gd name="connsiteX92" fmla="*/ 615 w 10000"/>
                <a:gd name="connsiteY92" fmla="*/ 1125 h 10021"/>
                <a:gd name="connsiteX93" fmla="*/ 556 w 10000"/>
                <a:gd name="connsiteY93" fmla="*/ 1231 h 10021"/>
                <a:gd name="connsiteX94" fmla="*/ 504 w 10000"/>
                <a:gd name="connsiteY94" fmla="*/ 1327 h 10021"/>
                <a:gd name="connsiteX95" fmla="*/ 452 w 10000"/>
                <a:gd name="connsiteY95" fmla="*/ 1433 h 10021"/>
                <a:gd name="connsiteX96" fmla="*/ 408 w 10000"/>
                <a:gd name="connsiteY96" fmla="*/ 1533 h 10021"/>
                <a:gd name="connsiteX97" fmla="*/ 363 w 10000"/>
                <a:gd name="connsiteY97" fmla="*/ 1639 h 10021"/>
                <a:gd name="connsiteX98" fmla="*/ 319 w 10000"/>
                <a:gd name="connsiteY98" fmla="*/ 1744 h 10021"/>
                <a:gd name="connsiteX99" fmla="*/ 282 w 10000"/>
                <a:gd name="connsiteY99" fmla="*/ 1850 h 10021"/>
                <a:gd name="connsiteX100" fmla="*/ 237 w 10000"/>
                <a:gd name="connsiteY100" fmla="*/ 1960 h 10021"/>
                <a:gd name="connsiteX101" fmla="*/ 208 w 10000"/>
                <a:gd name="connsiteY101" fmla="*/ 2065 h 10021"/>
                <a:gd name="connsiteX102" fmla="*/ 170 w 10000"/>
                <a:gd name="connsiteY102" fmla="*/ 2175 h 10021"/>
                <a:gd name="connsiteX103" fmla="*/ 148 w 10000"/>
                <a:gd name="connsiteY103" fmla="*/ 2285 h 10021"/>
                <a:gd name="connsiteX104" fmla="*/ 119 w 10000"/>
                <a:gd name="connsiteY104" fmla="*/ 2390 h 10021"/>
                <a:gd name="connsiteX105" fmla="*/ 96 w 10000"/>
                <a:gd name="connsiteY105" fmla="*/ 2500 h 10021"/>
                <a:gd name="connsiteX106" fmla="*/ 74 w 10000"/>
                <a:gd name="connsiteY106" fmla="*/ 2610 h 10021"/>
                <a:gd name="connsiteX107" fmla="*/ 52 w 10000"/>
                <a:gd name="connsiteY107" fmla="*/ 2725 h 10021"/>
                <a:gd name="connsiteX108" fmla="*/ 37 w 10000"/>
                <a:gd name="connsiteY108" fmla="*/ 2835 h 10021"/>
                <a:gd name="connsiteX109" fmla="*/ 22 w 10000"/>
                <a:gd name="connsiteY109" fmla="*/ 2945 h 10021"/>
                <a:gd name="connsiteX110" fmla="*/ 15 w 10000"/>
                <a:gd name="connsiteY110" fmla="*/ 3055 h 10021"/>
                <a:gd name="connsiteX111" fmla="*/ 7 w 10000"/>
                <a:gd name="connsiteY111" fmla="*/ 3169 h 10021"/>
                <a:gd name="connsiteX112" fmla="*/ 0 w 10000"/>
                <a:gd name="connsiteY112" fmla="*/ 3279 h 10021"/>
                <a:gd name="connsiteX113" fmla="*/ 0 w 10000"/>
                <a:gd name="connsiteY113" fmla="*/ 3394 h 10021"/>
                <a:gd name="connsiteX114" fmla="*/ 7 w 10000"/>
                <a:gd name="connsiteY114" fmla="*/ 3541 h 10021"/>
                <a:gd name="connsiteX115" fmla="*/ 7 w 10000"/>
                <a:gd name="connsiteY115" fmla="*/ 3687 h 10021"/>
                <a:gd name="connsiteX116" fmla="*/ 22 w 10000"/>
                <a:gd name="connsiteY116" fmla="*/ 3825 h 10021"/>
                <a:gd name="connsiteX117" fmla="*/ 37 w 10000"/>
                <a:gd name="connsiteY117" fmla="*/ 3967 h 10021"/>
                <a:gd name="connsiteX118" fmla="*/ 59 w 10000"/>
                <a:gd name="connsiteY118" fmla="*/ 4109 h 10021"/>
                <a:gd name="connsiteX119" fmla="*/ 89 w 10000"/>
                <a:gd name="connsiteY119" fmla="*/ 4251 h 10021"/>
                <a:gd name="connsiteX120" fmla="*/ 119 w 10000"/>
                <a:gd name="connsiteY120" fmla="*/ 4393 h 10021"/>
                <a:gd name="connsiteX121" fmla="*/ 148 w 10000"/>
                <a:gd name="connsiteY121" fmla="*/ 4535 h 10021"/>
                <a:gd name="connsiteX122" fmla="*/ 193 w 10000"/>
                <a:gd name="connsiteY122" fmla="*/ 4673 h 10021"/>
                <a:gd name="connsiteX123" fmla="*/ 237 w 10000"/>
                <a:gd name="connsiteY123" fmla="*/ 4810 h 10021"/>
                <a:gd name="connsiteX124" fmla="*/ 282 w 10000"/>
                <a:gd name="connsiteY124" fmla="*/ 4948 h 10021"/>
                <a:gd name="connsiteX125" fmla="*/ 334 w 10000"/>
                <a:gd name="connsiteY125" fmla="*/ 5085 h 10021"/>
                <a:gd name="connsiteX126" fmla="*/ 393 w 10000"/>
                <a:gd name="connsiteY126" fmla="*/ 5218 h 10021"/>
                <a:gd name="connsiteX127" fmla="*/ 452 w 10000"/>
                <a:gd name="connsiteY127" fmla="*/ 5351 h 10021"/>
                <a:gd name="connsiteX128" fmla="*/ 519 w 10000"/>
                <a:gd name="connsiteY128" fmla="*/ 5484 h 10021"/>
                <a:gd name="connsiteX129" fmla="*/ 586 w 10000"/>
                <a:gd name="connsiteY129" fmla="*/ 5617 h 10021"/>
                <a:gd name="connsiteX130" fmla="*/ 660 w 10000"/>
                <a:gd name="connsiteY130" fmla="*/ 5745 h 10021"/>
                <a:gd name="connsiteX131" fmla="*/ 741 w 10000"/>
                <a:gd name="connsiteY131" fmla="*/ 5873 h 10021"/>
                <a:gd name="connsiteX132" fmla="*/ 823 w 10000"/>
                <a:gd name="connsiteY132" fmla="*/ 6006 h 10021"/>
                <a:gd name="connsiteX133" fmla="*/ 904 w 10000"/>
                <a:gd name="connsiteY133" fmla="*/ 6130 h 10021"/>
                <a:gd name="connsiteX134" fmla="*/ 993 w 10000"/>
                <a:gd name="connsiteY134" fmla="*/ 6254 h 10021"/>
                <a:gd name="connsiteX135" fmla="*/ 1090 w 10000"/>
                <a:gd name="connsiteY135" fmla="*/ 6373 h 10021"/>
                <a:gd name="connsiteX136" fmla="*/ 1186 w 10000"/>
                <a:gd name="connsiteY136" fmla="*/ 6497 h 10021"/>
                <a:gd name="connsiteX137" fmla="*/ 1290 w 10000"/>
                <a:gd name="connsiteY137" fmla="*/ 6620 h 10021"/>
                <a:gd name="connsiteX138" fmla="*/ 1386 w 10000"/>
                <a:gd name="connsiteY138" fmla="*/ 6740 h 10021"/>
                <a:gd name="connsiteX139" fmla="*/ 1497 w 10000"/>
                <a:gd name="connsiteY139" fmla="*/ 6859 h 10021"/>
                <a:gd name="connsiteX140" fmla="*/ 1609 w 10000"/>
                <a:gd name="connsiteY140" fmla="*/ 6973 h 10021"/>
                <a:gd name="connsiteX141" fmla="*/ 1727 w 10000"/>
                <a:gd name="connsiteY141" fmla="*/ 7092 h 10021"/>
                <a:gd name="connsiteX142" fmla="*/ 1846 w 10000"/>
                <a:gd name="connsiteY142" fmla="*/ 7207 h 10021"/>
                <a:gd name="connsiteX143" fmla="*/ 1964 w 10000"/>
                <a:gd name="connsiteY143" fmla="*/ 7317 h 10021"/>
                <a:gd name="connsiteX144" fmla="*/ 2090 w 10000"/>
                <a:gd name="connsiteY144" fmla="*/ 7427 h 10021"/>
                <a:gd name="connsiteX145" fmla="*/ 2224 w 10000"/>
                <a:gd name="connsiteY145" fmla="*/ 7537 h 10021"/>
                <a:gd name="connsiteX146" fmla="*/ 2350 w 10000"/>
                <a:gd name="connsiteY146" fmla="*/ 7647 h 10021"/>
                <a:gd name="connsiteX147" fmla="*/ 2491 w 10000"/>
                <a:gd name="connsiteY147" fmla="*/ 7752 h 10021"/>
                <a:gd name="connsiteX148" fmla="*/ 2617 w 10000"/>
                <a:gd name="connsiteY148" fmla="*/ 7858 h 10021"/>
                <a:gd name="connsiteX149" fmla="*/ 2765 w 10000"/>
                <a:gd name="connsiteY149" fmla="*/ 7959 h 10021"/>
                <a:gd name="connsiteX150" fmla="*/ 2906 w 10000"/>
                <a:gd name="connsiteY150" fmla="*/ 8059 h 10021"/>
                <a:gd name="connsiteX151" fmla="*/ 3054 w 10000"/>
                <a:gd name="connsiteY151" fmla="*/ 8160 h 10021"/>
                <a:gd name="connsiteX152" fmla="*/ 3210 w 10000"/>
                <a:gd name="connsiteY152" fmla="*/ 8257 h 10021"/>
                <a:gd name="connsiteX153" fmla="*/ 3358 w 10000"/>
                <a:gd name="connsiteY153" fmla="*/ 8353 h 10021"/>
                <a:gd name="connsiteX154" fmla="*/ 3514 w 10000"/>
                <a:gd name="connsiteY154" fmla="*/ 8449 h 10021"/>
                <a:gd name="connsiteX155" fmla="*/ 3677 w 10000"/>
                <a:gd name="connsiteY155" fmla="*/ 8541 h 10021"/>
                <a:gd name="connsiteX156" fmla="*/ 3840 w 10000"/>
                <a:gd name="connsiteY156" fmla="*/ 8628 h 10021"/>
                <a:gd name="connsiteX157" fmla="*/ 4010 w 10000"/>
                <a:gd name="connsiteY157" fmla="*/ 8719 h 10021"/>
                <a:gd name="connsiteX158" fmla="*/ 4181 w 10000"/>
                <a:gd name="connsiteY158" fmla="*/ 8797 h 10021"/>
                <a:gd name="connsiteX159" fmla="*/ 4351 w 10000"/>
                <a:gd name="connsiteY159" fmla="*/ 8884 h 10021"/>
                <a:gd name="connsiteX160" fmla="*/ 4522 w 10000"/>
                <a:gd name="connsiteY160" fmla="*/ 8962 h 10021"/>
                <a:gd name="connsiteX161" fmla="*/ 4700 w 10000"/>
                <a:gd name="connsiteY161" fmla="*/ 9045 h 10021"/>
                <a:gd name="connsiteX162" fmla="*/ 4878 w 10000"/>
                <a:gd name="connsiteY162" fmla="*/ 9123 h 10021"/>
                <a:gd name="connsiteX163" fmla="*/ 5063 w 10000"/>
                <a:gd name="connsiteY163" fmla="*/ 9196 h 10021"/>
                <a:gd name="connsiteX164" fmla="*/ 5248 w 10000"/>
                <a:gd name="connsiteY164" fmla="*/ 9274 h 10021"/>
                <a:gd name="connsiteX165" fmla="*/ 5426 w 10000"/>
                <a:gd name="connsiteY165" fmla="*/ 9343 h 10021"/>
                <a:gd name="connsiteX166" fmla="*/ 5619 w 10000"/>
                <a:gd name="connsiteY166" fmla="*/ 9411 h 10021"/>
                <a:gd name="connsiteX167" fmla="*/ 5812 w 10000"/>
                <a:gd name="connsiteY167" fmla="*/ 9480 h 10021"/>
                <a:gd name="connsiteX168" fmla="*/ 6004 w 10000"/>
                <a:gd name="connsiteY168" fmla="*/ 9544 h 10021"/>
                <a:gd name="connsiteX169" fmla="*/ 6205 w 10000"/>
                <a:gd name="connsiteY169" fmla="*/ 9609 h 10021"/>
                <a:gd name="connsiteX170" fmla="*/ 6397 w 10000"/>
                <a:gd name="connsiteY170" fmla="*/ 9668 h 10021"/>
                <a:gd name="connsiteX171" fmla="*/ 6605 w 10000"/>
                <a:gd name="connsiteY171" fmla="*/ 9723 h 10021"/>
                <a:gd name="connsiteX172" fmla="*/ 6805 w 10000"/>
                <a:gd name="connsiteY172" fmla="*/ 9778 h 10021"/>
                <a:gd name="connsiteX173" fmla="*/ 7005 w 10000"/>
                <a:gd name="connsiteY173" fmla="*/ 9833 h 10021"/>
                <a:gd name="connsiteX174" fmla="*/ 7213 w 10000"/>
                <a:gd name="connsiteY174" fmla="*/ 9884 h 10021"/>
                <a:gd name="connsiteX175" fmla="*/ 7420 w 10000"/>
                <a:gd name="connsiteY175" fmla="*/ 9929 h 10021"/>
                <a:gd name="connsiteX176" fmla="*/ 7628 w 10000"/>
                <a:gd name="connsiteY176" fmla="*/ 9975 h 10021"/>
                <a:gd name="connsiteX177" fmla="*/ 7835 w 10000"/>
                <a:gd name="connsiteY177" fmla="*/ 10021 h 10021"/>
                <a:gd name="connsiteX178" fmla="*/ 7539 w 10000"/>
                <a:gd name="connsiteY178" fmla="*/ 7775 h 10021"/>
                <a:gd name="connsiteX179" fmla="*/ 10000 w 10000"/>
                <a:gd name="connsiteY179" fmla="*/ 6162 h 10021"/>
                <a:gd name="connsiteX0" fmla="*/ 10000 w 10000"/>
                <a:gd name="connsiteY0" fmla="*/ 6162 h 10021"/>
                <a:gd name="connsiteX1" fmla="*/ 10000 w 10000"/>
                <a:gd name="connsiteY1" fmla="*/ 6162 h 10021"/>
                <a:gd name="connsiteX2" fmla="*/ 9911 w 10000"/>
                <a:gd name="connsiteY2" fmla="*/ 6148 h 10021"/>
                <a:gd name="connsiteX3" fmla="*/ 9815 w 10000"/>
                <a:gd name="connsiteY3" fmla="*/ 6130 h 10021"/>
                <a:gd name="connsiteX4" fmla="*/ 9726 w 10000"/>
                <a:gd name="connsiteY4" fmla="*/ 6112 h 10021"/>
                <a:gd name="connsiteX5" fmla="*/ 9637 w 10000"/>
                <a:gd name="connsiteY5" fmla="*/ 6089 h 10021"/>
                <a:gd name="connsiteX6" fmla="*/ 9548 w 10000"/>
                <a:gd name="connsiteY6" fmla="*/ 6070 h 10021"/>
                <a:gd name="connsiteX7" fmla="*/ 9466 w 10000"/>
                <a:gd name="connsiteY7" fmla="*/ 6048 h 10021"/>
                <a:gd name="connsiteX8" fmla="*/ 9377 w 10000"/>
                <a:gd name="connsiteY8" fmla="*/ 6025 h 10021"/>
                <a:gd name="connsiteX9" fmla="*/ 9288 w 10000"/>
                <a:gd name="connsiteY9" fmla="*/ 6002 h 10021"/>
                <a:gd name="connsiteX10" fmla="*/ 9118 w 10000"/>
                <a:gd name="connsiteY10" fmla="*/ 5951 h 10021"/>
                <a:gd name="connsiteX11" fmla="*/ 8955 w 10000"/>
                <a:gd name="connsiteY11" fmla="*/ 5896 h 10021"/>
                <a:gd name="connsiteX12" fmla="*/ 8792 w 10000"/>
                <a:gd name="connsiteY12" fmla="*/ 5837 h 10021"/>
                <a:gd name="connsiteX13" fmla="*/ 8636 w 10000"/>
                <a:gd name="connsiteY13" fmla="*/ 5773 h 10021"/>
                <a:gd name="connsiteX14" fmla="*/ 8480 w 10000"/>
                <a:gd name="connsiteY14" fmla="*/ 5708 h 10021"/>
                <a:gd name="connsiteX15" fmla="*/ 8340 w 10000"/>
                <a:gd name="connsiteY15" fmla="*/ 5640 h 10021"/>
                <a:gd name="connsiteX16" fmla="*/ 8199 w 10000"/>
                <a:gd name="connsiteY16" fmla="*/ 5566 h 10021"/>
                <a:gd name="connsiteX17" fmla="*/ 8058 w 10000"/>
                <a:gd name="connsiteY17" fmla="*/ 5488 h 10021"/>
                <a:gd name="connsiteX18" fmla="*/ 7924 w 10000"/>
                <a:gd name="connsiteY18" fmla="*/ 5406 h 10021"/>
                <a:gd name="connsiteX19" fmla="*/ 7798 w 10000"/>
                <a:gd name="connsiteY19" fmla="*/ 5323 h 10021"/>
                <a:gd name="connsiteX20" fmla="*/ 7672 w 10000"/>
                <a:gd name="connsiteY20" fmla="*/ 5236 h 10021"/>
                <a:gd name="connsiteX21" fmla="*/ 7554 w 10000"/>
                <a:gd name="connsiteY21" fmla="*/ 5149 h 10021"/>
                <a:gd name="connsiteX22" fmla="*/ 7450 w 10000"/>
                <a:gd name="connsiteY22" fmla="*/ 5053 h 10021"/>
                <a:gd name="connsiteX23" fmla="*/ 7346 w 10000"/>
                <a:gd name="connsiteY23" fmla="*/ 4957 h 10021"/>
                <a:gd name="connsiteX24" fmla="*/ 7250 w 10000"/>
                <a:gd name="connsiteY24" fmla="*/ 4861 h 10021"/>
                <a:gd name="connsiteX25" fmla="*/ 7161 w 10000"/>
                <a:gd name="connsiteY25" fmla="*/ 4760 h 10021"/>
                <a:gd name="connsiteX26" fmla="*/ 7072 w 10000"/>
                <a:gd name="connsiteY26" fmla="*/ 4659 h 10021"/>
                <a:gd name="connsiteX27" fmla="*/ 6990 w 10000"/>
                <a:gd name="connsiteY27" fmla="*/ 4549 h 10021"/>
                <a:gd name="connsiteX28" fmla="*/ 6953 w 10000"/>
                <a:gd name="connsiteY28" fmla="*/ 4499 h 10021"/>
                <a:gd name="connsiteX29" fmla="*/ 6916 w 10000"/>
                <a:gd name="connsiteY29" fmla="*/ 4444 h 10021"/>
                <a:gd name="connsiteX30" fmla="*/ 6887 w 10000"/>
                <a:gd name="connsiteY30" fmla="*/ 4389 h 10021"/>
                <a:gd name="connsiteX31" fmla="*/ 6850 w 10000"/>
                <a:gd name="connsiteY31" fmla="*/ 4334 h 10021"/>
                <a:gd name="connsiteX32" fmla="*/ 6820 w 10000"/>
                <a:gd name="connsiteY32" fmla="*/ 4279 h 10021"/>
                <a:gd name="connsiteX33" fmla="*/ 6790 w 10000"/>
                <a:gd name="connsiteY33" fmla="*/ 4224 h 10021"/>
                <a:gd name="connsiteX34" fmla="*/ 6768 w 10000"/>
                <a:gd name="connsiteY34" fmla="*/ 4164 h 10021"/>
                <a:gd name="connsiteX35" fmla="*/ 6738 w 10000"/>
                <a:gd name="connsiteY35" fmla="*/ 4109 h 10021"/>
                <a:gd name="connsiteX36" fmla="*/ 6723 w 10000"/>
                <a:gd name="connsiteY36" fmla="*/ 4049 h 10021"/>
                <a:gd name="connsiteX37" fmla="*/ 6694 w 10000"/>
                <a:gd name="connsiteY37" fmla="*/ 3994 h 10021"/>
                <a:gd name="connsiteX38" fmla="*/ 6679 w 10000"/>
                <a:gd name="connsiteY38" fmla="*/ 3935 h 10021"/>
                <a:gd name="connsiteX39" fmla="*/ 6664 w 10000"/>
                <a:gd name="connsiteY39" fmla="*/ 3875 h 10021"/>
                <a:gd name="connsiteX40" fmla="*/ 6649 w 10000"/>
                <a:gd name="connsiteY40" fmla="*/ 3816 h 10021"/>
                <a:gd name="connsiteX41" fmla="*/ 6635 w 10000"/>
                <a:gd name="connsiteY41" fmla="*/ 3761 h 10021"/>
                <a:gd name="connsiteX42" fmla="*/ 6620 w 10000"/>
                <a:gd name="connsiteY42" fmla="*/ 3701 h 10021"/>
                <a:gd name="connsiteX43" fmla="*/ 6612 w 10000"/>
                <a:gd name="connsiteY43" fmla="*/ 3642 h 10021"/>
                <a:gd name="connsiteX44" fmla="*/ 6605 w 10000"/>
                <a:gd name="connsiteY44" fmla="*/ 3582 h 10021"/>
                <a:gd name="connsiteX45" fmla="*/ 6597 w 10000"/>
                <a:gd name="connsiteY45" fmla="*/ 3518 h 10021"/>
                <a:gd name="connsiteX46" fmla="*/ 6597 w 10000"/>
                <a:gd name="connsiteY46" fmla="*/ 3458 h 10021"/>
                <a:gd name="connsiteX47" fmla="*/ 6590 w 10000"/>
                <a:gd name="connsiteY47" fmla="*/ 3394 h 10021"/>
                <a:gd name="connsiteX48" fmla="*/ 6597 w 10000"/>
                <a:gd name="connsiteY48" fmla="*/ 3334 h 10021"/>
                <a:gd name="connsiteX49" fmla="*/ 6605 w 10000"/>
                <a:gd name="connsiteY49" fmla="*/ 3266 h 10021"/>
                <a:gd name="connsiteX50" fmla="*/ 6605 w 10000"/>
                <a:gd name="connsiteY50" fmla="*/ 3202 h 10021"/>
                <a:gd name="connsiteX51" fmla="*/ 6612 w 10000"/>
                <a:gd name="connsiteY51" fmla="*/ 3137 h 10021"/>
                <a:gd name="connsiteX52" fmla="*/ 6620 w 10000"/>
                <a:gd name="connsiteY52" fmla="*/ 3073 h 10021"/>
                <a:gd name="connsiteX53" fmla="*/ 6635 w 10000"/>
                <a:gd name="connsiteY53" fmla="*/ 3014 h 10021"/>
                <a:gd name="connsiteX54" fmla="*/ 6649 w 10000"/>
                <a:gd name="connsiteY54" fmla="*/ 2950 h 10021"/>
                <a:gd name="connsiteX55" fmla="*/ 6664 w 10000"/>
                <a:gd name="connsiteY55" fmla="*/ 2890 h 10021"/>
                <a:gd name="connsiteX56" fmla="*/ 6686 w 10000"/>
                <a:gd name="connsiteY56" fmla="*/ 2826 h 10021"/>
                <a:gd name="connsiteX57" fmla="*/ 6709 w 10000"/>
                <a:gd name="connsiteY57" fmla="*/ 2766 h 10021"/>
                <a:gd name="connsiteX58" fmla="*/ 6731 w 10000"/>
                <a:gd name="connsiteY58" fmla="*/ 2707 h 10021"/>
                <a:gd name="connsiteX59" fmla="*/ 6753 w 10000"/>
                <a:gd name="connsiteY59" fmla="*/ 2642 h 10021"/>
                <a:gd name="connsiteX60" fmla="*/ 6783 w 10000"/>
                <a:gd name="connsiteY60" fmla="*/ 2587 h 10021"/>
                <a:gd name="connsiteX61" fmla="*/ 6812 w 10000"/>
                <a:gd name="connsiteY61" fmla="*/ 2528 h 10021"/>
                <a:gd name="connsiteX62" fmla="*/ 6842 w 10000"/>
                <a:gd name="connsiteY62" fmla="*/ 2468 h 10021"/>
                <a:gd name="connsiteX63" fmla="*/ 6879 w 10000"/>
                <a:gd name="connsiteY63" fmla="*/ 2409 h 10021"/>
                <a:gd name="connsiteX64" fmla="*/ 6909 w 10000"/>
                <a:gd name="connsiteY64" fmla="*/ 2354 h 10021"/>
                <a:gd name="connsiteX65" fmla="*/ 6946 w 10000"/>
                <a:gd name="connsiteY65" fmla="*/ 2294 h 10021"/>
                <a:gd name="connsiteX66" fmla="*/ 6990 w 10000"/>
                <a:gd name="connsiteY66" fmla="*/ 2239 h 10021"/>
                <a:gd name="connsiteX67" fmla="*/ 7027 w 10000"/>
                <a:gd name="connsiteY67" fmla="*/ 2184 h 10021"/>
                <a:gd name="connsiteX68" fmla="*/ 7072 w 10000"/>
                <a:gd name="connsiteY68" fmla="*/ 2129 h 10021"/>
                <a:gd name="connsiteX69" fmla="*/ 7109 w 10000"/>
                <a:gd name="connsiteY69" fmla="*/ 2074 h 10021"/>
                <a:gd name="connsiteX70" fmla="*/ 7161 w 10000"/>
                <a:gd name="connsiteY70" fmla="*/ 2024 h 10021"/>
                <a:gd name="connsiteX71" fmla="*/ 7213 w 10000"/>
                <a:gd name="connsiteY71" fmla="*/ 1969 h 10021"/>
                <a:gd name="connsiteX72" fmla="*/ 7257 w 10000"/>
                <a:gd name="connsiteY72" fmla="*/ 1914 h 10021"/>
                <a:gd name="connsiteX73" fmla="*/ 7309 w 10000"/>
                <a:gd name="connsiteY73" fmla="*/ 1863 h 10021"/>
                <a:gd name="connsiteX74" fmla="*/ 7361 w 10000"/>
                <a:gd name="connsiteY74" fmla="*/ 1813 h 10021"/>
                <a:gd name="connsiteX75" fmla="*/ 7413 w 10000"/>
                <a:gd name="connsiteY75" fmla="*/ 1763 h 10021"/>
                <a:gd name="connsiteX76" fmla="*/ 7472 w 10000"/>
                <a:gd name="connsiteY76" fmla="*/ 1712 h 10021"/>
                <a:gd name="connsiteX77" fmla="*/ 7524 w 10000"/>
                <a:gd name="connsiteY77" fmla="*/ 1666 h 10021"/>
                <a:gd name="connsiteX78" fmla="*/ 7583 w 10000"/>
                <a:gd name="connsiteY78" fmla="*/ 1620 h 10021"/>
                <a:gd name="connsiteX79" fmla="*/ 7643 w 10000"/>
                <a:gd name="connsiteY79" fmla="*/ 1570 h 10021"/>
                <a:gd name="connsiteX80" fmla="*/ 5390 w 10000"/>
                <a:gd name="connsiteY80" fmla="*/ 14 h 10021"/>
                <a:gd name="connsiteX81" fmla="*/ 1401 w 10000"/>
                <a:gd name="connsiteY81" fmla="*/ 0 h 10021"/>
                <a:gd name="connsiteX82" fmla="*/ 1305 w 10000"/>
                <a:gd name="connsiteY82" fmla="*/ 149 h 10021"/>
                <a:gd name="connsiteX83" fmla="*/ 1223 w 10000"/>
                <a:gd name="connsiteY83" fmla="*/ 241 h 10021"/>
                <a:gd name="connsiteX84" fmla="*/ 1149 w 10000"/>
                <a:gd name="connsiteY84" fmla="*/ 337 h 10021"/>
                <a:gd name="connsiteX85" fmla="*/ 1067 w 10000"/>
                <a:gd name="connsiteY85" fmla="*/ 433 h 10021"/>
                <a:gd name="connsiteX86" fmla="*/ 1001 w 10000"/>
                <a:gd name="connsiteY86" fmla="*/ 530 h 10021"/>
                <a:gd name="connsiteX87" fmla="*/ 927 w 10000"/>
                <a:gd name="connsiteY87" fmla="*/ 626 h 10021"/>
                <a:gd name="connsiteX88" fmla="*/ 860 w 10000"/>
                <a:gd name="connsiteY88" fmla="*/ 727 h 10021"/>
                <a:gd name="connsiteX89" fmla="*/ 793 w 10000"/>
                <a:gd name="connsiteY89" fmla="*/ 828 h 10021"/>
                <a:gd name="connsiteX90" fmla="*/ 734 w 10000"/>
                <a:gd name="connsiteY90" fmla="*/ 924 h 10021"/>
                <a:gd name="connsiteX91" fmla="*/ 675 w 10000"/>
                <a:gd name="connsiteY91" fmla="*/ 1025 h 10021"/>
                <a:gd name="connsiteX92" fmla="*/ 615 w 10000"/>
                <a:gd name="connsiteY92" fmla="*/ 1125 h 10021"/>
                <a:gd name="connsiteX93" fmla="*/ 556 w 10000"/>
                <a:gd name="connsiteY93" fmla="*/ 1231 h 10021"/>
                <a:gd name="connsiteX94" fmla="*/ 504 w 10000"/>
                <a:gd name="connsiteY94" fmla="*/ 1327 h 10021"/>
                <a:gd name="connsiteX95" fmla="*/ 452 w 10000"/>
                <a:gd name="connsiteY95" fmla="*/ 1433 h 10021"/>
                <a:gd name="connsiteX96" fmla="*/ 408 w 10000"/>
                <a:gd name="connsiteY96" fmla="*/ 1533 h 10021"/>
                <a:gd name="connsiteX97" fmla="*/ 363 w 10000"/>
                <a:gd name="connsiteY97" fmla="*/ 1639 h 10021"/>
                <a:gd name="connsiteX98" fmla="*/ 319 w 10000"/>
                <a:gd name="connsiteY98" fmla="*/ 1744 h 10021"/>
                <a:gd name="connsiteX99" fmla="*/ 282 w 10000"/>
                <a:gd name="connsiteY99" fmla="*/ 1850 h 10021"/>
                <a:gd name="connsiteX100" fmla="*/ 237 w 10000"/>
                <a:gd name="connsiteY100" fmla="*/ 1960 h 10021"/>
                <a:gd name="connsiteX101" fmla="*/ 208 w 10000"/>
                <a:gd name="connsiteY101" fmla="*/ 2065 h 10021"/>
                <a:gd name="connsiteX102" fmla="*/ 170 w 10000"/>
                <a:gd name="connsiteY102" fmla="*/ 2175 h 10021"/>
                <a:gd name="connsiteX103" fmla="*/ 148 w 10000"/>
                <a:gd name="connsiteY103" fmla="*/ 2285 h 10021"/>
                <a:gd name="connsiteX104" fmla="*/ 119 w 10000"/>
                <a:gd name="connsiteY104" fmla="*/ 2390 h 10021"/>
                <a:gd name="connsiteX105" fmla="*/ 96 w 10000"/>
                <a:gd name="connsiteY105" fmla="*/ 2500 h 10021"/>
                <a:gd name="connsiteX106" fmla="*/ 74 w 10000"/>
                <a:gd name="connsiteY106" fmla="*/ 2610 h 10021"/>
                <a:gd name="connsiteX107" fmla="*/ 52 w 10000"/>
                <a:gd name="connsiteY107" fmla="*/ 2725 h 10021"/>
                <a:gd name="connsiteX108" fmla="*/ 37 w 10000"/>
                <a:gd name="connsiteY108" fmla="*/ 2835 h 10021"/>
                <a:gd name="connsiteX109" fmla="*/ 22 w 10000"/>
                <a:gd name="connsiteY109" fmla="*/ 2945 h 10021"/>
                <a:gd name="connsiteX110" fmla="*/ 15 w 10000"/>
                <a:gd name="connsiteY110" fmla="*/ 3055 h 10021"/>
                <a:gd name="connsiteX111" fmla="*/ 7 w 10000"/>
                <a:gd name="connsiteY111" fmla="*/ 3169 h 10021"/>
                <a:gd name="connsiteX112" fmla="*/ 0 w 10000"/>
                <a:gd name="connsiteY112" fmla="*/ 3279 h 10021"/>
                <a:gd name="connsiteX113" fmla="*/ 0 w 10000"/>
                <a:gd name="connsiteY113" fmla="*/ 3394 h 10021"/>
                <a:gd name="connsiteX114" fmla="*/ 7 w 10000"/>
                <a:gd name="connsiteY114" fmla="*/ 3541 h 10021"/>
                <a:gd name="connsiteX115" fmla="*/ 7 w 10000"/>
                <a:gd name="connsiteY115" fmla="*/ 3687 h 10021"/>
                <a:gd name="connsiteX116" fmla="*/ 22 w 10000"/>
                <a:gd name="connsiteY116" fmla="*/ 3825 h 10021"/>
                <a:gd name="connsiteX117" fmla="*/ 37 w 10000"/>
                <a:gd name="connsiteY117" fmla="*/ 3967 h 10021"/>
                <a:gd name="connsiteX118" fmla="*/ 59 w 10000"/>
                <a:gd name="connsiteY118" fmla="*/ 4109 h 10021"/>
                <a:gd name="connsiteX119" fmla="*/ 89 w 10000"/>
                <a:gd name="connsiteY119" fmla="*/ 4251 h 10021"/>
                <a:gd name="connsiteX120" fmla="*/ 119 w 10000"/>
                <a:gd name="connsiteY120" fmla="*/ 4393 h 10021"/>
                <a:gd name="connsiteX121" fmla="*/ 148 w 10000"/>
                <a:gd name="connsiteY121" fmla="*/ 4535 h 10021"/>
                <a:gd name="connsiteX122" fmla="*/ 193 w 10000"/>
                <a:gd name="connsiteY122" fmla="*/ 4673 h 10021"/>
                <a:gd name="connsiteX123" fmla="*/ 237 w 10000"/>
                <a:gd name="connsiteY123" fmla="*/ 4810 h 10021"/>
                <a:gd name="connsiteX124" fmla="*/ 282 w 10000"/>
                <a:gd name="connsiteY124" fmla="*/ 4948 h 10021"/>
                <a:gd name="connsiteX125" fmla="*/ 334 w 10000"/>
                <a:gd name="connsiteY125" fmla="*/ 5085 h 10021"/>
                <a:gd name="connsiteX126" fmla="*/ 393 w 10000"/>
                <a:gd name="connsiteY126" fmla="*/ 5218 h 10021"/>
                <a:gd name="connsiteX127" fmla="*/ 452 w 10000"/>
                <a:gd name="connsiteY127" fmla="*/ 5351 h 10021"/>
                <a:gd name="connsiteX128" fmla="*/ 519 w 10000"/>
                <a:gd name="connsiteY128" fmla="*/ 5484 h 10021"/>
                <a:gd name="connsiteX129" fmla="*/ 586 w 10000"/>
                <a:gd name="connsiteY129" fmla="*/ 5617 h 10021"/>
                <a:gd name="connsiteX130" fmla="*/ 660 w 10000"/>
                <a:gd name="connsiteY130" fmla="*/ 5745 h 10021"/>
                <a:gd name="connsiteX131" fmla="*/ 741 w 10000"/>
                <a:gd name="connsiteY131" fmla="*/ 5873 h 10021"/>
                <a:gd name="connsiteX132" fmla="*/ 823 w 10000"/>
                <a:gd name="connsiteY132" fmla="*/ 6006 h 10021"/>
                <a:gd name="connsiteX133" fmla="*/ 904 w 10000"/>
                <a:gd name="connsiteY133" fmla="*/ 6130 h 10021"/>
                <a:gd name="connsiteX134" fmla="*/ 993 w 10000"/>
                <a:gd name="connsiteY134" fmla="*/ 6254 h 10021"/>
                <a:gd name="connsiteX135" fmla="*/ 1090 w 10000"/>
                <a:gd name="connsiteY135" fmla="*/ 6373 h 10021"/>
                <a:gd name="connsiteX136" fmla="*/ 1186 w 10000"/>
                <a:gd name="connsiteY136" fmla="*/ 6497 h 10021"/>
                <a:gd name="connsiteX137" fmla="*/ 1290 w 10000"/>
                <a:gd name="connsiteY137" fmla="*/ 6620 h 10021"/>
                <a:gd name="connsiteX138" fmla="*/ 1386 w 10000"/>
                <a:gd name="connsiteY138" fmla="*/ 6740 h 10021"/>
                <a:gd name="connsiteX139" fmla="*/ 1497 w 10000"/>
                <a:gd name="connsiteY139" fmla="*/ 6859 h 10021"/>
                <a:gd name="connsiteX140" fmla="*/ 1609 w 10000"/>
                <a:gd name="connsiteY140" fmla="*/ 6973 h 10021"/>
                <a:gd name="connsiteX141" fmla="*/ 1727 w 10000"/>
                <a:gd name="connsiteY141" fmla="*/ 7092 h 10021"/>
                <a:gd name="connsiteX142" fmla="*/ 1846 w 10000"/>
                <a:gd name="connsiteY142" fmla="*/ 7207 h 10021"/>
                <a:gd name="connsiteX143" fmla="*/ 1964 w 10000"/>
                <a:gd name="connsiteY143" fmla="*/ 7317 h 10021"/>
                <a:gd name="connsiteX144" fmla="*/ 2090 w 10000"/>
                <a:gd name="connsiteY144" fmla="*/ 7427 h 10021"/>
                <a:gd name="connsiteX145" fmla="*/ 2224 w 10000"/>
                <a:gd name="connsiteY145" fmla="*/ 7537 h 10021"/>
                <a:gd name="connsiteX146" fmla="*/ 2350 w 10000"/>
                <a:gd name="connsiteY146" fmla="*/ 7647 h 10021"/>
                <a:gd name="connsiteX147" fmla="*/ 2491 w 10000"/>
                <a:gd name="connsiteY147" fmla="*/ 7752 h 10021"/>
                <a:gd name="connsiteX148" fmla="*/ 2617 w 10000"/>
                <a:gd name="connsiteY148" fmla="*/ 7858 h 10021"/>
                <a:gd name="connsiteX149" fmla="*/ 2765 w 10000"/>
                <a:gd name="connsiteY149" fmla="*/ 7959 h 10021"/>
                <a:gd name="connsiteX150" fmla="*/ 2906 w 10000"/>
                <a:gd name="connsiteY150" fmla="*/ 8059 h 10021"/>
                <a:gd name="connsiteX151" fmla="*/ 3054 w 10000"/>
                <a:gd name="connsiteY151" fmla="*/ 8160 h 10021"/>
                <a:gd name="connsiteX152" fmla="*/ 3210 w 10000"/>
                <a:gd name="connsiteY152" fmla="*/ 8257 h 10021"/>
                <a:gd name="connsiteX153" fmla="*/ 3358 w 10000"/>
                <a:gd name="connsiteY153" fmla="*/ 8353 h 10021"/>
                <a:gd name="connsiteX154" fmla="*/ 3514 w 10000"/>
                <a:gd name="connsiteY154" fmla="*/ 8449 h 10021"/>
                <a:gd name="connsiteX155" fmla="*/ 3677 w 10000"/>
                <a:gd name="connsiteY155" fmla="*/ 8541 h 10021"/>
                <a:gd name="connsiteX156" fmla="*/ 3840 w 10000"/>
                <a:gd name="connsiteY156" fmla="*/ 8628 h 10021"/>
                <a:gd name="connsiteX157" fmla="*/ 4010 w 10000"/>
                <a:gd name="connsiteY157" fmla="*/ 8719 h 10021"/>
                <a:gd name="connsiteX158" fmla="*/ 4181 w 10000"/>
                <a:gd name="connsiteY158" fmla="*/ 8797 h 10021"/>
                <a:gd name="connsiteX159" fmla="*/ 4351 w 10000"/>
                <a:gd name="connsiteY159" fmla="*/ 8884 h 10021"/>
                <a:gd name="connsiteX160" fmla="*/ 4522 w 10000"/>
                <a:gd name="connsiteY160" fmla="*/ 8962 h 10021"/>
                <a:gd name="connsiteX161" fmla="*/ 4700 w 10000"/>
                <a:gd name="connsiteY161" fmla="*/ 9045 h 10021"/>
                <a:gd name="connsiteX162" fmla="*/ 4878 w 10000"/>
                <a:gd name="connsiteY162" fmla="*/ 9123 h 10021"/>
                <a:gd name="connsiteX163" fmla="*/ 5063 w 10000"/>
                <a:gd name="connsiteY163" fmla="*/ 9196 h 10021"/>
                <a:gd name="connsiteX164" fmla="*/ 5248 w 10000"/>
                <a:gd name="connsiteY164" fmla="*/ 9274 h 10021"/>
                <a:gd name="connsiteX165" fmla="*/ 5426 w 10000"/>
                <a:gd name="connsiteY165" fmla="*/ 9343 h 10021"/>
                <a:gd name="connsiteX166" fmla="*/ 5619 w 10000"/>
                <a:gd name="connsiteY166" fmla="*/ 9411 h 10021"/>
                <a:gd name="connsiteX167" fmla="*/ 5812 w 10000"/>
                <a:gd name="connsiteY167" fmla="*/ 9480 h 10021"/>
                <a:gd name="connsiteX168" fmla="*/ 6004 w 10000"/>
                <a:gd name="connsiteY168" fmla="*/ 9544 h 10021"/>
                <a:gd name="connsiteX169" fmla="*/ 6205 w 10000"/>
                <a:gd name="connsiteY169" fmla="*/ 9609 h 10021"/>
                <a:gd name="connsiteX170" fmla="*/ 6397 w 10000"/>
                <a:gd name="connsiteY170" fmla="*/ 9668 h 10021"/>
                <a:gd name="connsiteX171" fmla="*/ 6605 w 10000"/>
                <a:gd name="connsiteY171" fmla="*/ 9723 h 10021"/>
                <a:gd name="connsiteX172" fmla="*/ 6805 w 10000"/>
                <a:gd name="connsiteY172" fmla="*/ 9778 h 10021"/>
                <a:gd name="connsiteX173" fmla="*/ 7005 w 10000"/>
                <a:gd name="connsiteY173" fmla="*/ 9833 h 10021"/>
                <a:gd name="connsiteX174" fmla="*/ 7213 w 10000"/>
                <a:gd name="connsiteY174" fmla="*/ 9884 h 10021"/>
                <a:gd name="connsiteX175" fmla="*/ 7420 w 10000"/>
                <a:gd name="connsiteY175" fmla="*/ 9929 h 10021"/>
                <a:gd name="connsiteX176" fmla="*/ 7628 w 10000"/>
                <a:gd name="connsiteY176" fmla="*/ 9975 h 10021"/>
                <a:gd name="connsiteX177" fmla="*/ 7835 w 10000"/>
                <a:gd name="connsiteY177" fmla="*/ 10021 h 10021"/>
                <a:gd name="connsiteX178" fmla="*/ 7539 w 10000"/>
                <a:gd name="connsiteY178" fmla="*/ 7775 h 10021"/>
                <a:gd name="connsiteX179" fmla="*/ 10000 w 10000"/>
                <a:gd name="connsiteY179" fmla="*/ 6162 h 10021"/>
                <a:gd name="connsiteX0" fmla="*/ 10000 w 10000"/>
                <a:gd name="connsiteY0" fmla="*/ 6148 h 10007"/>
                <a:gd name="connsiteX1" fmla="*/ 10000 w 10000"/>
                <a:gd name="connsiteY1" fmla="*/ 6148 h 10007"/>
                <a:gd name="connsiteX2" fmla="*/ 9911 w 10000"/>
                <a:gd name="connsiteY2" fmla="*/ 6134 h 10007"/>
                <a:gd name="connsiteX3" fmla="*/ 9815 w 10000"/>
                <a:gd name="connsiteY3" fmla="*/ 6116 h 10007"/>
                <a:gd name="connsiteX4" fmla="*/ 9726 w 10000"/>
                <a:gd name="connsiteY4" fmla="*/ 6098 h 10007"/>
                <a:gd name="connsiteX5" fmla="*/ 9637 w 10000"/>
                <a:gd name="connsiteY5" fmla="*/ 6075 h 10007"/>
                <a:gd name="connsiteX6" fmla="*/ 9548 w 10000"/>
                <a:gd name="connsiteY6" fmla="*/ 6056 h 10007"/>
                <a:gd name="connsiteX7" fmla="*/ 9466 w 10000"/>
                <a:gd name="connsiteY7" fmla="*/ 6034 h 10007"/>
                <a:gd name="connsiteX8" fmla="*/ 9377 w 10000"/>
                <a:gd name="connsiteY8" fmla="*/ 6011 h 10007"/>
                <a:gd name="connsiteX9" fmla="*/ 9288 w 10000"/>
                <a:gd name="connsiteY9" fmla="*/ 5988 h 10007"/>
                <a:gd name="connsiteX10" fmla="*/ 9118 w 10000"/>
                <a:gd name="connsiteY10" fmla="*/ 5937 h 10007"/>
                <a:gd name="connsiteX11" fmla="*/ 8955 w 10000"/>
                <a:gd name="connsiteY11" fmla="*/ 5882 h 10007"/>
                <a:gd name="connsiteX12" fmla="*/ 8792 w 10000"/>
                <a:gd name="connsiteY12" fmla="*/ 5823 h 10007"/>
                <a:gd name="connsiteX13" fmla="*/ 8636 w 10000"/>
                <a:gd name="connsiteY13" fmla="*/ 5759 h 10007"/>
                <a:gd name="connsiteX14" fmla="*/ 8480 w 10000"/>
                <a:gd name="connsiteY14" fmla="*/ 5694 h 10007"/>
                <a:gd name="connsiteX15" fmla="*/ 8340 w 10000"/>
                <a:gd name="connsiteY15" fmla="*/ 5626 h 10007"/>
                <a:gd name="connsiteX16" fmla="*/ 8199 w 10000"/>
                <a:gd name="connsiteY16" fmla="*/ 5552 h 10007"/>
                <a:gd name="connsiteX17" fmla="*/ 8058 w 10000"/>
                <a:gd name="connsiteY17" fmla="*/ 5474 h 10007"/>
                <a:gd name="connsiteX18" fmla="*/ 7924 w 10000"/>
                <a:gd name="connsiteY18" fmla="*/ 5392 h 10007"/>
                <a:gd name="connsiteX19" fmla="*/ 7798 w 10000"/>
                <a:gd name="connsiteY19" fmla="*/ 5309 h 10007"/>
                <a:gd name="connsiteX20" fmla="*/ 7672 w 10000"/>
                <a:gd name="connsiteY20" fmla="*/ 5222 h 10007"/>
                <a:gd name="connsiteX21" fmla="*/ 7554 w 10000"/>
                <a:gd name="connsiteY21" fmla="*/ 5135 h 10007"/>
                <a:gd name="connsiteX22" fmla="*/ 7450 w 10000"/>
                <a:gd name="connsiteY22" fmla="*/ 5039 h 10007"/>
                <a:gd name="connsiteX23" fmla="*/ 7346 w 10000"/>
                <a:gd name="connsiteY23" fmla="*/ 4943 h 10007"/>
                <a:gd name="connsiteX24" fmla="*/ 7250 w 10000"/>
                <a:gd name="connsiteY24" fmla="*/ 4847 h 10007"/>
                <a:gd name="connsiteX25" fmla="*/ 7161 w 10000"/>
                <a:gd name="connsiteY25" fmla="*/ 4746 h 10007"/>
                <a:gd name="connsiteX26" fmla="*/ 7072 w 10000"/>
                <a:gd name="connsiteY26" fmla="*/ 4645 h 10007"/>
                <a:gd name="connsiteX27" fmla="*/ 6990 w 10000"/>
                <a:gd name="connsiteY27" fmla="*/ 4535 h 10007"/>
                <a:gd name="connsiteX28" fmla="*/ 6953 w 10000"/>
                <a:gd name="connsiteY28" fmla="*/ 4485 h 10007"/>
                <a:gd name="connsiteX29" fmla="*/ 6916 w 10000"/>
                <a:gd name="connsiteY29" fmla="*/ 4430 h 10007"/>
                <a:gd name="connsiteX30" fmla="*/ 6887 w 10000"/>
                <a:gd name="connsiteY30" fmla="*/ 4375 h 10007"/>
                <a:gd name="connsiteX31" fmla="*/ 6850 w 10000"/>
                <a:gd name="connsiteY31" fmla="*/ 4320 h 10007"/>
                <a:gd name="connsiteX32" fmla="*/ 6820 w 10000"/>
                <a:gd name="connsiteY32" fmla="*/ 4265 h 10007"/>
                <a:gd name="connsiteX33" fmla="*/ 6790 w 10000"/>
                <a:gd name="connsiteY33" fmla="*/ 4210 h 10007"/>
                <a:gd name="connsiteX34" fmla="*/ 6768 w 10000"/>
                <a:gd name="connsiteY34" fmla="*/ 4150 h 10007"/>
                <a:gd name="connsiteX35" fmla="*/ 6738 w 10000"/>
                <a:gd name="connsiteY35" fmla="*/ 4095 h 10007"/>
                <a:gd name="connsiteX36" fmla="*/ 6723 w 10000"/>
                <a:gd name="connsiteY36" fmla="*/ 4035 h 10007"/>
                <a:gd name="connsiteX37" fmla="*/ 6694 w 10000"/>
                <a:gd name="connsiteY37" fmla="*/ 3980 h 10007"/>
                <a:gd name="connsiteX38" fmla="*/ 6679 w 10000"/>
                <a:gd name="connsiteY38" fmla="*/ 3921 h 10007"/>
                <a:gd name="connsiteX39" fmla="*/ 6664 w 10000"/>
                <a:gd name="connsiteY39" fmla="*/ 3861 h 10007"/>
                <a:gd name="connsiteX40" fmla="*/ 6649 w 10000"/>
                <a:gd name="connsiteY40" fmla="*/ 3802 h 10007"/>
                <a:gd name="connsiteX41" fmla="*/ 6635 w 10000"/>
                <a:gd name="connsiteY41" fmla="*/ 3747 h 10007"/>
                <a:gd name="connsiteX42" fmla="*/ 6620 w 10000"/>
                <a:gd name="connsiteY42" fmla="*/ 3687 h 10007"/>
                <a:gd name="connsiteX43" fmla="*/ 6612 w 10000"/>
                <a:gd name="connsiteY43" fmla="*/ 3628 h 10007"/>
                <a:gd name="connsiteX44" fmla="*/ 6605 w 10000"/>
                <a:gd name="connsiteY44" fmla="*/ 3568 h 10007"/>
                <a:gd name="connsiteX45" fmla="*/ 6597 w 10000"/>
                <a:gd name="connsiteY45" fmla="*/ 3504 h 10007"/>
                <a:gd name="connsiteX46" fmla="*/ 6597 w 10000"/>
                <a:gd name="connsiteY46" fmla="*/ 3444 h 10007"/>
                <a:gd name="connsiteX47" fmla="*/ 6590 w 10000"/>
                <a:gd name="connsiteY47" fmla="*/ 3380 h 10007"/>
                <a:gd name="connsiteX48" fmla="*/ 6597 w 10000"/>
                <a:gd name="connsiteY48" fmla="*/ 3320 h 10007"/>
                <a:gd name="connsiteX49" fmla="*/ 6605 w 10000"/>
                <a:gd name="connsiteY49" fmla="*/ 3252 h 10007"/>
                <a:gd name="connsiteX50" fmla="*/ 6605 w 10000"/>
                <a:gd name="connsiteY50" fmla="*/ 3188 h 10007"/>
                <a:gd name="connsiteX51" fmla="*/ 6612 w 10000"/>
                <a:gd name="connsiteY51" fmla="*/ 3123 h 10007"/>
                <a:gd name="connsiteX52" fmla="*/ 6620 w 10000"/>
                <a:gd name="connsiteY52" fmla="*/ 3059 h 10007"/>
                <a:gd name="connsiteX53" fmla="*/ 6635 w 10000"/>
                <a:gd name="connsiteY53" fmla="*/ 3000 h 10007"/>
                <a:gd name="connsiteX54" fmla="*/ 6649 w 10000"/>
                <a:gd name="connsiteY54" fmla="*/ 2936 h 10007"/>
                <a:gd name="connsiteX55" fmla="*/ 6664 w 10000"/>
                <a:gd name="connsiteY55" fmla="*/ 2876 h 10007"/>
                <a:gd name="connsiteX56" fmla="*/ 6686 w 10000"/>
                <a:gd name="connsiteY56" fmla="*/ 2812 h 10007"/>
                <a:gd name="connsiteX57" fmla="*/ 6709 w 10000"/>
                <a:gd name="connsiteY57" fmla="*/ 2752 h 10007"/>
                <a:gd name="connsiteX58" fmla="*/ 6731 w 10000"/>
                <a:gd name="connsiteY58" fmla="*/ 2693 h 10007"/>
                <a:gd name="connsiteX59" fmla="*/ 6753 w 10000"/>
                <a:gd name="connsiteY59" fmla="*/ 2628 h 10007"/>
                <a:gd name="connsiteX60" fmla="*/ 6783 w 10000"/>
                <a:gd name="connsiteY60" fmla="*/ 2573 h 10007"/>
                <a:gd name="connsiteX61" fmla="*/ 6812 w 10000"/>
                <a:gd name="connsiteY61" fmla="*/ 2514 h 10007"/>
                <a:gd name="connsiteX62" fmla="*/ 6842 w 10000"/>
                <a:gd name="connsiteY62" fmla="*/ 2454 h 10007"/>
                <a:gd name="connsiteX63" fmla="*/ 6879 w 10000"/>
                <a:gd name="connsiteY63" fmla="*/ 2395 h 10007"/>
                <a:gd name="connsiteX64" fmla="*/ 6909 w 10000"/>
                <a:gd name="connsiteY64" fmla="*/ 2340 h 10007"/>
                <a:gd name="connsiteX65" fmla="*/ 6946 w 10000"/>
                <a:gd name="connsiteY65" fmla="*/ 2280 h 10007"/>
                <a:gd name="connsiteX66" fmla="*/ 6990 w 10000"/>
                <a:gd name="connsiteY66" fmla="*/ 2225 h 10007"/>
                <a:gd name="connsiteX67" fmla="*/ 7027 w 10000"/>
                <a:gd name="connsiteY67" fmla="*/ 2170 h 10007"/>
                <a:gd name="connsiteX68" fmla="*/ 7072 w 10000"/>
                <a:gd name="connsiteY68" fmla="*/ 2115 h 10007"/>
                <a:gd name="connsiteX69" fmla="*/ 7109 w 10000"/>
                <a:gd name="connsiteY69" fmla="*/ 2060 h 10007"/>
                <a:gd name="connsiteX70" fmla="*/ 7161 w 10000"/>
                <a:gd name="connsiteY70" fmla="*/ 2010 h 10007"/>
                <a:gd name="connsiteX71" fmla="*/ 7213 w 10000"/>
                <a:gd name="connsiteY71" fmla="*/ 1955 h 10007"/>
                <a:gd name="connsiteX72" fmla="*/ 7257 w 10000"/>
                <a:gd name="connsiteY72" fmla="*/ 1900 h 10007"/>
                <a:gd name="connsiteX73" fmla="*/ 7309 w 10000"/>
                <a:gd name="connsiteY73" fmla="*/ 1849 h 10007"/>
                <a:gd name="connsiteX74" fmla="*/ 7361 w 10000"/>
                <a:gd name="connsiteY74" fmla="*/ 1799 h 10007"/>
                <a:gd name="connsiteX75" fmla="*/ 7413 w 10000"/>
                <a:gd name="connsiteY75" fmla="*/ 1749 h 10007"/>
                <a:gd name="connsiteX76" fmla="*/ 7472 w 10000"/>
                <a:gd name="connsiteY76" fmla="*/ 1698 h 10007"/>
                <a:gd name="connsiteX77" fmla="*/ 7524 w 10000"/>
                <a:gd name="connsiteY77" fmla="*/ 1652 h 10007"/>
                <a:gd name="connsiteX78" fmla="*/ 7583 w 10000"/>
                <a:gd name="connsiteY78" fmla="*/ 1606 h 10007"/>
                <a:gd name="connsiteX79" fmla="*/ 7643 w 10000"/>
                <a:gd name="connsiteY79" fmla="*/ 1556 h 10007"/>
                <a:gd name="connsiteX80" fmla="*/ 5390 w 10000"/>
                <a:gd name="connsiteY80" fmla="*/ 0 h 10007"/>
                <a:gd name="connsiteX81" fmla="*/ 1401 w 10000"/>
                <a:gd name="connsiteY81" fmla="*/ 0 h 10007"/>
                <a:gd name="connsiteX82" fmla="*/ 1305 w 10000"/>
                <a:gd name="connsiteY82" fmla="*/ 135 h 10007"/>
                <a:gd name="connsiteX83" fmla="*/ 1223 w 10000"/>
                <a:gd name="connsiteY83" fmla="*/ 227 h 10007"/>
                <a:gd name="connsiteX84" fmla="*/ 1149 w 10000"/>
                <a:gd name="connsiteY84" fmla="*/ 323 h 10007"/>
                <a:gd name="connsiteX85" fmla="*/ 1067 w 10000"/>
                <a:gd name="connsiteY85" fmla="*/ 419 h 10007"/>
                <a:gd name="connsiteX86" fmla="*/ 1001 w 10000"/>
                <a:gd name="connsiteY86" fmla="*/ 516 h 10007"/>
                <a:gd name="connsiteX87" fmla="*/ 927 w 10000"/>
                <a:gd name="connsiteY87" fmla="*/ 612 h 10007"/>
                <a:gd name="connsiteX88" fmla="*/ 860 w 10000"/>
                <a:gd name="connsiteY88" fmla="*/ 713 h 10007"/>
                <a:gd name="connsiteX89" fmla="*/ 793 w 10000"/>
                <a:gd name="connsiteY89" fmla="*/ 814 h 10007"/>
                <a:gd name="connsiteX90" fmla="*/ 734 w 10000"/>
                <a:gd name="connsiteY90" fmla="*/ 910 h 10007"/>
                <a:gd name="connsiteX91" fmla="*/ 675 w 10000"/>
                <a:gd name="connsiteY91" fmla="*/ 1011 h 10007"/>
                <a:gd name="connsiteX92" fmla="*/ 615 w 10000"/>
                <a:gd name="connsiteY92" fmla="*/ 1111 h 10007"/>
                <a:gd name="connsiteX93" fmla="*/ 556 w 10000"/>
                <a:gd name="connsiteY93" fmla="*/ 1217 h 10007"/>
                <a:gd name="connsiteX94" fmla="*/ 504 w 10000"/>
                <a:gd name="connsiteY94" fmla="*/ 1313 h 10007"/>
                <a:gd name="connsiteX95" fmla="*/ 452 w 10000"/>
                <a:gd name="connsiteY95" fmla="*/ 1419 h 10007"/>
                <a:gd name="connsiteX96" fmla="*/ 408 w 10000"/>
                <a:gd name="connsiteY96" fmla="*/ 1519 h 10007"/>
                <a:gd name="connsiteX97" fmla="*/ 363 w 10000"/>
                <a:gd name="connsiteY97" fmla="*/ 1625 h 10007"/>
                <a:gd name="connsiteX98" fmla="*/ 319 w 10000"/>
                <a:gd name="connsiteY98" fmla="*/ 1730 h 10007"/>
                <a:gd name="connsiteX99" fmla="*/ 282 w 10000"/>
                <a:gd name="connsiteY99" fmla="*/ 1836 h 10007"/>
                <a:gd name="connsiteX100" fmla="*/ 237 w 10000"/>
                <a:gd name="connsiteY100" fmla="*/ 1946 h 10007"/>
                <a:gd name="connsiteX101" fmla="*/ 208 w 10000"/>
                <a:gd name="connsiteY101" fmla="*/ 2051 h 10007"/>
                <a:gd name="connsiteX102" fmla="*/ 170 w 10000"/>
                <a:gd name="connsiteY102" fmla="*/ 2161 h 10007"/>
                <a:gd name="connsiteX103" fmla="*/ 148 w 10000"/>
                <a:gd name="connsiteY103" fmla="*/ 2271 h 10007"/>
                <a:gd name="connsiteX104" fmla="*/ 119 w 10000"/>
                <a:gd name="connsiteY104" fmla="*/ 2376 h 10007"/>
                <a:gd name="connsiteX105" fmla="*/ 96 w 10000"/>
                <a:gd name="connsiteY105" fmla="*/ 2486 h 10007"/>
                <a:gd name="connsiteX106" fmla="*/ 74 w 10000"/>
                <a:gd name="connsiteY106" fmla="*/ 2596 h 10007"/>
                <a:gd name="connsiteX107" fmla="*/ 52 w 10000"/>
                <a:gd name="connsiteY107" fmla="*/ 2711 h 10007"/>
                <a:gd name="connsiteX108" fmla="*/ 37 w 10000"/>
                <a:gd name="connsiteY108" fmla="*/ 2821 h 10007"/>
                <a:gd name="connsiteX109" fmla="*/ 22 w 10000"/>
                <a:gd name="connsiteY109" fmla="*/ 2931 h 10007"/>
                <a:gd name="connsiteX110" fmla="*/ 15 w 10000"/>
                <a:gd name="connsiteY110" fmla="*/ 3041 h 10007"/>
                <a:gd name="connsiteX111" fmla="*/ 7 w 10000"/>
                <a:gd name="connsiteY111" fmla="*/ 3155 h 10007"/>
                <a:gd name="connsiteX112" fmla="*/ 0 w 10000"/>
                <a:gd name="connsiteY112" fmla="*/ 3265 h 10007"/>
                <a:gd name="connsiteX113" fmla="*/ 0 w 10000"/>
                <a:gd name="connsiteY113" fmla="*/ 3380 h 10007"/>
                <a:gd name="connsiteX114" fmla="*/ 7 w 10000"/>
                <a:gd name="connsiteY114" fmla="*/ 3527 h 10007"/>
                <a:gd name="connsiteX115" fmla="*/ 7 w 10000"/>
                <a:gd name="connsiteY115" fmla="*/ 3673 h 10007"/>
                <a:gd name="connsiteX116" fmla="*/ 22 w 10000"/>
                <a:gd name="connsiteY116" fmla="*/ 3811 h 10007"/>
                <a:gd name="connsiteX117" fmla="*/ 37 w 10000"/>
                <a:gd name="connsiteY117" fmla="*/ 3953 h 10007"/>
                <a:gd name="connsiteX118" fmla="*/ 59 w 10000"/>
                <a:gd name="connsiteY118" fmla="*/ 4095 h 10007"/>
                <a:gd name="connsiteX119" fmla="*/ 89 w 10000"/>
                <a:gd name="connsiteY119" fmla="*/ 4237 h 10007"/>
                <a:gd name="connsiteX120" fmla="*/ 119 w 10000"/>
                <a:gd name="connsiteY120" fmla="*/ 4379 h 10007"/>
                <a:gd name="connsiteX121" fmla="*/ 148 w 10000"/>
                <a:gd name="connsiteY121" fmla="*/ 4521 h 10007"/>
                <a:gd name="connsiteX122" fmla="*/ 193 w 10000"/>
                <a:gd name="connsiteY122" fmla="*/ 4659 h 10007"/>
                <a:gd name="connsiteX123" fmla="*/ 237 w 10000"/>
                <a:gd name="connsiteY123" fmla="*/ 4796 h 10007"/>
                <a:gd name="connsiteX124" fmla="*/ 282 w 10000"/>
                <a:gd name="connsiteY124" fmla="*/ 4934 h 10007"/>
                <a:gd name="connsiteX125" fmla="*/ 334 w 10000"/>
                <a:gd name="connsiteY125" fmla="*/ 5071 h 10007"/>
                <a:gd name="connsiteX126" fmla="*/ 393 w 10000"/>
                <a:gd name="connsiteY126" fmla="*/ 5204 h 10007"/>
                <a:gd name="connsiteX127" fmla="*/ 452 w 10000"/>
                <a:gd name="connsiteY127" fmla="*/ 5337 h 10007"/>
                <a:gd name="connsiteX128" fmla="*/ 519 w 10000"/>
                <a:gd name="connsiteY128" fmla="*/ 5470 h 10007"/>
                <a:gd name="connsiteX129" fmla="*/ 586 w 10000"/>
                <a:gd name="connsiteY129" fmla="*/ 5603 h 10007"/>
                <a:gd name="connsiteX130" fmla="*/ 660 w 10000"/>
                <a:gd name="connsiteY130" fmla="*/ 5731 h 10007"/>
                <a:gd name="connsiteX131" fmla="*/ 741 w 10000"/>
                <a:gd name="connsiteY131" fmla="*/ 5859 h 10007"/>
                <a:gd name="connsiteX132" fmla="*/ 823 w 10000"/>
                <a:gd name="connsiteY132" fmla="*/ 5992 h 10007"/>
                <a:gd name="connsiteX133" fmla="*/ 904 w 10000"/>
                <a:gd name="connsiteY133" fmla="*/ 6116 h 10007"/>
                <a:gd name="connsiteX134" fmla="*/ 993 w 10000"/>
                <a:gd name="connsiteY134" fmla="*/ 6240 h 10007"/>
                <a:gd name="connsiteX135" fmla="*/ 1090 w 10000"/>
                <a:gd name="connsiteY135" fmla="*/ 6359 h 10007"/>
                <a:gd name="connsiteX136" fmla="*/ 1186 w 10000"/>
                <a:gd name="connsiteY136" fmla="*/ 6483 h 10007"/>
                <a:gd name="connsiteX137" fmla="*/ 1290 w 10000"/>
                <a:gd name="connsiteY137" fmla="*/ 6606 h 10007"/>
                <a:gd name="connsiteX138" fmla="*/ 1386 w 10000"/>
                <a:gd name="connsiteY138" fmla="*/ 6726 h 10007"/>
                <a:gd name="connsiteX139" fmla="*/ 1497 w 10000"/>
                <a:gd name="connsiteY139" fmla="*/ 6845 h 10007"/>
                <a:gd name="connsiteX140" fmla="*/ 1609 w 10000"/>
                <a:gd name="connsiteY140" fmla="*/ 6959 h 10007"/>
                <a:gd name="connsiteX141" fmla="*/ 1727 w 10000"/>
                <a:gd name="connsiteY141" fmla="*/ 7078 h 10007"/>
                <a:gd name="connsiteX142" fmla="*/ 1846 w 10000"/>
                <a:gd name="connsiteY142" fmla="*/ 7193 h 10007"/>
                <a:gd name="connsiteX143" fmla="*/ 1964 w 10000"/>
                <a:gd name="connsiteY143" fmla="*/ 7303 h 10007"/>
                <a:gd name="connsiteX144" fmla="*/ 2090 w 10000"/>
                <a:gd name="connsiteY144" fmla="*/ 7413 h 10007"/>
                <a:gd name="connsiteX145" fmla="*/ 2224 w 10000"/>
                <a:gd name="connsiteY145" fmla="*/ 7523 h 10007"/>
                <a:gd name="connsiteX146" fmla="*/ 2350 w 10000"/>
                <a:gd name="connsiteY146" fmla="*/ 7633 h 10007"/>
                <a:gd name="connsiteX147" fmla="*/ 2491 w 10000"/>
                <a:gd name="connsiteY147" fmla="*/ 7738 h 10007"/>
                <a:gd name="connsiteX148" fmla="*/ 2617 w 10000"/>
                <a:gd name="connsiteY148" fmla="*/ 7844 h 10007"/>
                <a:gd name="connsiteX149" fmla="*/ 2765 w 10000"/>
                <a:gd name="connsiteY149" fmla="*/ 7945 h 10007"/>
                <a:gd name="connsiteX150" fmla="*/ 2906 w 10000"/>
                <a:gd name="connsiteY150" fmla="*/ 8045 h 10007"/>
                <a:gd name="connsiteX151" fmla="*/ 3054 w 10000"/>
                <a:gd name="connsiteY151" fmla="*/ 8146 h 10007"/>
                <a:gd name="connsiteX152" fmla="*/ 3210 w 10000"/>
                <a:gd name="connsiteY152" fmla="*/ 8243 h 10007"/>
                <a:gd name="connsiteX153" fmla="*/ 3358 w 10000"/>
                <a:gd name="connsiteY153" fmla="*/ 8339 h 10007"/>
                <a:gd name="connsiteX154" fmla="*/ 3514 w 10000"/>
                <a:gd name="connsiteY154" fmla="*/ 8435 h 10007"/>
                <a:gd name="connsiteX155" fmla="*/ 3677 w 10000"/>
                <a:gd name="connsiteY155" fmla="*/ 8527 h 10007"/>
                <a:gd name="connsiteX156" fmla="*/ 3840 w 10000"/>
                <a:gd name="connsiteY156" fmla="*/ 8614 h 10007"/>
                <a:gd name="connsiteX157" fmla="*/ 4010 w 10000"/>
                <a:gd name="connsiteY157" fmla="*/ 8705 h 10007"/>
                <a:gd name="connsiteX158" fmla="*/ 4181 w 10000"/>
                <a:gd name="connsiteY158" fmla="*/ 8783 h 10007"/>
                <a:gd name="connsiteX159" fmla="*/ 4351 w 10000"/>
                <a:gd name="connsiteY159" fmla="*/ 8870 h 10007"/>
                <a:gd name="connsiteX160" fmla="*/ 4522 w 10000"/>
                <a:gd name="connsiteY160" fmla="*/ 8948 h 10007"/>
                <a:gd name="connsiteX161" fmla="*/ 4700 w 10000"/>
                <a:gd name="connsiteY161" fmla="*/ 9031 h 10007"/>
                <a:gd name="connsiteX162" fmla="*/ 4878 w 10000"/>
                <a:gd name="connsiteY162" fmla="*/ 9109 h 10007"/>
                <a:gd name="connsiteX163" fmla="*/ 5063 w 10000"/>
                <a:gd name="connsiteY163" fmla="*/ 9182 h 10007"/>
                <a:gd name="connsiteX164" fmla="*/ 5248 w 10000"/>
                <a:gd name="connsiteY164" fmla="*/ 9260 h 10007"/>
                <a:gd name="connsiteX165" fmla="*/ 5426 w 10000"/>
                <a:gd name="connsiteY165" fmla="*/ 9329 h 10007"/>
                <a:gd name="connsiteX166" fmla="*/ 5619 w 10000"/>
                <a:gd name="connsiteY166" fmla="*/ 9397 h 10007"/>
                <a:gd name="connsiteX167" fmla="*/ 5812 w 10000"/>
                <a:gd name="connsiteY167" fmla="*/ 9466 h 10007"/>
                <a:gd name="connsiteX168" fmla="*/ 6004 w 10000"/>
                <a:gd name="connsiteY168" fmla="*/ 9530 h 10007"/>
                <a:gd name="connsiteX169" fmla="*/ 6205 w 10000"/>
                <a:gd name="connsiteY169" fmla="*/ 9595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61 h 10007"/>
                <a:gd name="connsiteX179" fmla="*/ 10000 w 10000"/>
                <a:gd name="connsiteY179" fmla="*/ 6148 h 10007"/>
                <a:gd name="connsiteX0" fmla="*/ 10000 w 10000"/>
                <a:gd name="connsiteY0" fmla="*/ 6148 h 10007"/>
                <a:gd name="connsiteX1" fmla="*/ 10000 w 10000"/>
                <a:gd name="connsiteY1" fmla="*/ 6148 h 10007"/>
                <a:gd name="connsiteX2" fmla="*/ 9911 w 10000"/>
                <a:gd name="connsiteY2" fmla="*/ 6134 h 10007"/>
                <a:gd name="connsiteX3" fmla="*/ 9815 w 10000"/>
                <a:gd name="connsiteY3" fmla="*/ 6116 h 10007"/>
                <a:gd name="connsiteX4" fmla="*/ 9726 w 10000"/>
                <a:gd name="connsiteY4" fmla="*/ 6098 h 10007"/>
                <a:gd name="connsiteX5" fmla="*/ 9637 w 10000"/>
                <a:gd name="connsiteY5" fmla="*/ 6075 h 10007"/>
                <a:gd name="connsiteX6" fmla="*/ 9548 w 10000"/>
                <a:gd name="connsiteY6" fmla="*/ 6056 h 10007"/>
                <a:gd name="connsiteX7" fmla="*/ 9466 w 10000"/>
                <a:gd name="connsiteY7" fmla="*/ 6034 h 10007"/>
                <a:gd name="connsiteX8" fmla="*/ 9377 w 10000"/>
                <a:gd name="connsiteY8" fmla="*/ 6011 h 10007"/>
                <a:gd name="connsiteX9" fmla="*/ 9288 w 10000"/>
                <a:gd name="connsiteY9" fmla="*/ 5988 h 10007"/>
                <a:gd name="connsiteX10" fmla="*/ 9118 w 10000"/>
                <a:gd name="connsiteY10" fmla="*/ 5937 h 10007"/>
                <a:gd name="connsiteX11" fmla="*/ 8955 w 10000"/>
                <a:gd name="connsiteY11" fmla="*/ 5882 h 10007"/>
                <a:gd name="connsiteX12" fmla="*/ 8792 w 10000"/>
                <a:gd name="connsiteY12" fmla="*/ 5823 h 10007"/>
                <a:gd name="connsiteX13" fmla="*/ 8636 w 10000"/>
                <a:gd name="connsiteY13" fmla="*/ 5759 h 10007"/>
                <a:gd name="connsiteX14" fmla="*/ 8480 w 10000"/>
                <a:gd name="connsiteY14" fmla="*/ 5694 h 10007"/>
                <a:gd name="connsiteX15" fmla="*/ 8340 w 10000"/>
                <a:gd name="connsiteY15" fmla="*/ 5626 h 10007"/>
                <a:gd name="connsiteX16" fmla="*/ 8199 w 10000"/>
                <a:gd name="connsiteY16" fmla="*/ 5552 h 10007"/>
                <a:gd name="connsiteX17" fmla="*/ 8058 w 10000"/>
                <a:gd name="connsiteY17" fmla="*/ 5474 h 10007"/>
                <a:gd name="connsiteX18" fmla="*/ 7924 w 10000"/>
                <a:gd name="connsiteY18" fmla="*/ 5392 h 10007"/>
                <a:gd name="connsiteX19" fmla="*/ 7798 w 10000"/>
                <a:gd name="connsiteY19" fmla="*/ 5309 h 10007"/>
                <a:gd name="connsiteX20" fmla="*/ 7672 w 10000"/>
                <a:gd name="connsiteY20" fmla="*/ 5222 h 10007"/>
                <a:gd name="connsiteX21" fmla="*/ 7554 w 10000"/>
                <a:gd name="connsiteY21" fmla="*/ 5135 h 10007"/>
                <a:gd name="connsiteX22" fmla="*/ 7450 w 10000"/>
                <a:gd name="connsiteY22" fmla="*/ 5039 h 10007"/>
                <a:gd name="connsiteX23" fmla="*/ 7346 w 10000"/>
                <a:gd name="connsiteY23" fmla="*/ 4943 h 10007"/>
                <a:gd name="connsiteX24" fmla="*/ 7250 w 10000"/>
                <a:gd name="connsiteY24" fmla="*/ 4847 h 10007"/>
                <a:gd name="connsiteX25" fmla="*/ 7161 w 10000"/>
                <a:gd name="connsiteY25" fmla="*/ 4746 h 10007"/>
                <a:gd name="connsiteX26" fmla="*/ 7072 w 10000"/>
                <a:gd name="connsiteY26" fmla="*/ 4645 h 10007"/>
                <a:gd name="connsiteX27" fmla="*/ 6990 w 10000"/>
                <a:gd name="connsiteY27" fmla="*/ 4535 h 10007"/>
                <a:gd name="connsiteX28" fmla="*/ 6953 w 10000"/>
                <a:gd name="connsiteY28" fmla="*/ 4485 h 10007"/>
                <a:gd name="connsiteX29" fmla="*/ 6916 w 10000"/>
                <a:gd name="connsiteY29" fmla="*/ 4430 h 10007"/>
                <a:gd name="connsiteX30" fmla="*/ 6887 w 10000"/>
                <a:gd name="connsiteY30" fmla="*/ 4375 h 10007"/>
                <a:gd name="connsiteX31" fmla="*/ 6850 w 10000"/>
                <a:gd name="connsiteY31" fmla="*/ 4320 h 10007"/>
                <a:gd name="connsiteX32" fmla="*/ 6820 w 10000"/>
                <a:gd name="connsiteY32" fmla="*/ 4265 h 10007"/>
                <a:gd name="connsiteX33" fmla="*/ 6790 w 10000"/>
                <a:gd name="connsiteY33" fmla="*/ 4210 h 10007"/>
                <a:gd name="connsiteX34" fmla="*/ 6768 w 10000"/>
                <a:gd name="connsiteY34" fmla="*/ 4150 h 10007"/>
                <a:gd name="connsiteX35" fmla="*/ 6738 w 10000"/>
                <a:gd name="connsiteY35" fmla="*/ 4095 h 10007"/>
                <a:gd name="connsiteX36" fmla="*/ 6723 w 10000"/>
                <a:gd name="connsiteY36" fmla="*/ 4035 h 10007"/>
                <a:gd name="connsiteX37" fmla="*/ 6694 w 10000"/>
                <a:gd name="connsiteY37" fmla="*/ 3980 h 10007"/>
                <a:gd name="connsiteX38" fmla="*/ 6679 w 10000"/>
                <a:gd name="connsiteY38" fmla="*/ 3921 h 10007"/>
                <a:gd name="connsiteX39" fmla="*/ 6664 w 10000"/>
                <a:gd name="connsiteY39" fmla="*/ 3861 h 10007"/>
                <a:gd name="connsiteX40" fmla="*/ 6649 w 10000"/>
                <a:gd name="connsiteY40" fmla="*/ 3802 h 10007"/>
                <a:gd name="connsiteX41" fmla="*/ 6635 w 10000"/>
                <a:gd name="connsiteY41" fmla="*/ 3747 h 10007"/>
                <a:gd name="connsiteX42" fmla="*/ 6620 w 10000"/>
                <a:gd name="connsiteY42" fmla="*/ 3687 h 10007"/>
                <a:gd name="connsiteX43" fmla="*/ 6612 w 10000"/>
                <a:gd name="connsiteY43" fmla="*/ 3628 h 10007"/>
                <a:gd name="connsiteX44" fmla="*/ 6605 w 10000"/>
                <a:gd name="connsiteY44" fmla="*/ 3568 h 10007"/>
                <a:gd name="connsiteX45" fmla="*/ 6597 w 10000"/>
                <a:gd name="connsiteY45" fmla="*/ 3504 h 10007"/>
                <a:gd name="connsiteX46" fmla="*/ 6597 w 10000"/>
                <a:gd name="connsiteY46" fmla="*/ 3444 h 10007"/>
                <a:gd name="connsiteX47" fmla="*/ 6590 w 10000"/>
                <a:gd name="connsiteY47" fmla="*/ 3380 h 10007"/>
                <a:gd name="connsiteX48" fmla="*/ 6597 w 10000"/>
                <a:gd name="connsiteY48" fmla="*/ 3320 h 10007"/>
                <a:gd name="connsiteX49" fmla="*/ 6605 w 10000"/>
                <a:gd name="connsiteY49" fmla="*/ 3252 h 10007"/>
                <a:gd name="connsiteX50" fmla="*/ 6605 w 10000"/>
                <a:gd name="connsiteY50" fmla="*/ 3188 h 10007"/>
                <a:gd name="connsiteX51" fmla="*/ 6612 w 10000"/>
                <a:gd name="connsiteY51" fmla="*/ 3123 h 10007"/>
                <a:gd name="connsiteX52" fmla="*/ 6620 w 10000"/>
                <a:gd name="connsiteY52" fmla="*/ 3059 h 10007"/>
                <a:gd name="connsiteX53" fmla="*/ 6635 w 10000"/>
                <a:gd name="connsiteY53" fmla="*/ 3000 h 10007"/>
                <a:gd name="connsiteX54" fmla="*/ 6649 w 10000"/>
                <a:gd name="connsiteY54" fmla="*/ 2936 h 10007"/>
                <a:gd name="connsiteX55" fmla="*/ 6664 w 10000"/>
                <a:gd name="connsiteY55" fmla="*/ 2876 h 10007"/>
                <a:gd name="connsiteX56" fmla="*/ 6686 w 10000"/>
                <a:gd name="connsiteY56" fmla="*/ 2812 h 10007"/>
                <a:gd name="connsiteX57" fmla="*/ 6709 w 10000"/>
                <a:gd name="connsiteY57" fmla="*/ 2752 h 10007"/>
                <a:gd name="connsiteX58" fmla="*/ 6731 w 10000"/>
                <a:gd name="connsiteY58" fmla="*/ 2693 h 10007"/>
                <a:gd name="connsiteX59" fmla="*/ 6753 w 10000"/>
                <a:gd name="connsiteY59" fmla="*/ 2628 h 10007"/>
                <a:gd name="connsiteX60" fmla="*/ 6783 w 10000"/>
                <a:gd name="connsiteY60" fmla="*/ 2573 h 10007"/>
                <a:gd name="connsiteX61" fmla="*/ 6812 w 10000"/>
                <a:gd name="connsiteY61" fmla="*/ 2514 h 10007"/>
                <a:gd name="connsiteX62" fmla="*/ 6842 w 10000"/>
                <a:gd name="connsiteY62" fmla="*/ 2454 h 10007"/>
                <a:gd name="connsiteX63" fmla="*/ 6879 w 10000"/>
                <a:gd name="connsiteY63" fmla="*/ 2395 h 10007"/>
                <a:gd name="connsiteX64" fmla="*/ 6909 w 10000"/>
                <a:gd name="connsiteY64" fmla="*/ 2340 h 10007"/>
                <a:gd name="connsiteX65" fmla="*/ 6946 w 10000"/>
                <a:gd name="connsiteY65" fmla="*/ 2280 h 10007"/>
                <a:gd name="connsiteX66" fmla="*/ 6990 w 10000"/>
                <a:gd name="connsiteY66" fmla="*/ 2225 h 10007"/>
                <a:gd name="connsiteX67" fmla="*/ 7027 w 10000"/>
                <a:gd name="connsiteY67" fmla="*/ 2170 h 10007"/>
                <a:gd name="connsiteX68" fmla="*/ 7072 w 10000"/>
                <a:gd name="connsiteY68" fmla="*/ 2115 h 10007"/>
                <a:gd name="connsiteX69" fmla="*/ 7109 w 10000"/>
                <a:gd name="connsiteY69" fmla="*/ 2060 h 10007"/>
                <a:gd name="connsiteX70" fmla="*/ 7161 w 10000"/>
                <a:gd name="connsiteY70" fmla="*/ 2010 h 10007"/>
                <a:gd name="connsiteX71" fmla="*/ 7213 w 10000"/>
                <a:gd name="connsiteY71" fmla="*/ 1955 h 10007"/>
                <a:gd name="connsiteX72" fmla="*/ 7257 w 10000"/>
                <a:gd name="connsiteY72" fmla="*/ 1900 h 10007"/>
                <a:gd name="connsiteX73" fmla="*/ 7309 w 10000"/>
                <a:gd name="connsiteY73" fmla="*/ 1849 h 10007"/>
                <a:gd name="connsiteX74" fmla="*/ 7361 w 10000"/>
                <a:gd name="connsiteY74" fmla="*/ 1799 h 10007"/>
                <a:gd name="connsiteX75" fmla="*/ 7413 w 10000"/>
                <a:gd name="connsiteY75" fmla="*/ 1749 h 10007"/>
                <a:gd name="connsiteX76" fmla="*/ 7472 w 10000"/>
                <a:gd name="connsiteY76" fmla="*/ 1698 h 10007"/>
                <a:gd name="connsiteX77" fmla="*/ 7524 w 10000"/>
                <a:gd name="connsiteY77" fmla="*/ 1652 h 10007"/>
                <a:gd name="connsiteX78" fmla="*/ 7583 w 10000"/>
                <a:gd name="connsiteY78" fmla="*/ 1606 h 10007"/>
                <a:gd name="connsiteX79" fmla="*/ 7643 w 10000"/>
                <a:gd name="connsiteY79" fmla="*/ 1556 h 10007"/>
                <a:gd name="connsiteX80" fmla="*/ 5390 w 10000"/>
                <a:gd name="connsiteY80" fmla="*/ 0 h 10007"/>
                <a:gd name="connsiteX81" fmla="*/ 1401 w 10000"/>
                <a:gd name="connsiteY81" fmla="*/ 21 h 10007"/>
                <a:gd name="connsiteX82" fmla="*/ 1305 w 10000"/>
                <a:gd name="connsiteY82" fmla="*/ 135 h 10007"/>
                <a:gd name="connsiteX83" fmla="*/ 1223 w 10000"/>
                <a:gd name="connsiteY83" fmla="*/ 227 h 10007"/>
                <a:gd name="connsiteX84" fmla="*/ 1149 w 10000"/>
                <a:gd name="connsiteY84" fmla="*/ 323 h 10007"/>
                <a:gd name="connsiteX85" fmla="*/ 1067 w 10000"/>
                <a:gd name="connsiteY85" fmla="*/ 419 h 10007"/>
                <a:gd name="connsiteX86" fmla="*/ 1001 w 10000"/>
                <a:gd name="connsiteY86" fmla="*/ 516 h 10007"/>
                <a:gd name="connsiteX87" fmla="*/ 927 w 10000"/>
                <a:gd name="connsiteY87" fmla="*/ 612 h 10007"/>
                <a:gd name="connsiteX88" fmla="*/ 860 w 10000"/>
                <a:gd name="connsiteY88" fmla="*/ 713 h 10007"/>
                <a:gd name="connsiteX89" fmla="*/ 793 w 10000"/>
                <a:gd name="connsiteY89" fmla="*/ 814 h 10007"/>
                <a:gd name="connsiteX90" fmla="*/ 734 w 10000"/>
                <a:gd name="connsiteY90" fmla="*/ 910 h 10007"/>
                <a:gd name="connsiteX91" fmla="*/ 675 w 10000"/>
                <a:gd name="connsiteY91" fmla="*/ 1011 h 10007"/>
                <a:gd name="connsiteX92" fmla="*/ 615 w 10000"/>
                <a:gd name="connsiteY92" fmla="*/ 1111 h 10007"/>
                <a:gd name="connsiteX93" fmla="*/ 556 w 10000"/>
                <a:gd name="connsiteY93" fmla="*/ 1217 h 10007"/>
                <a:gd name="connsiteX94" fmla="*/ 504 w 10000"/>
                <a:gd name="connsiteY94" fmla="*/ 1313 h 10007"/>
                <a:gd name="connsiteX95" fmla="*/ 452 w 10000"/>
                <a:gd name="connsiteY95" fmla="*/ 1419 h 10007"/>
                <a:gd name="connsiteX96" fmla="*/ 408 w 10000"/>
                <a:gd name="connsiteY96" fmla="*/ 1519 h 10007"/>
                <a:gd name="connsiteX97" fmla="*/ 363 w 10000"/>
                <a:gd name="connsiteY97" fmla="*/ 1625 h 10007"/>
                <a:gd name="connsiteX98" fmla="*/ 319 w 10000"/>
                <a:gd name="connsiteY98" fmla="*/ 1730 h 10007"/>
                <a:gd name="connsiteX99" fmla="*/ 282 w 10000"/>
                <a:gd name="connsiteY99" fmla="*/ 1836 h 10007"/>
                <a:gd name="connsiteX100" fmla="*/ 237 w 10000"/>
                <a:gd name="connsiteY100" fmla="*/ 1946 h 10007"/>
                <a:gd name="connsiteX101" fmla="*/ 208 w 10000"/>
                <a:gd name="connsiteY101" fmla="*/ 2051 h 10007"/>
                <a:gd name="connsiteX102" fmla="*/ 170 w 10000"/>
                <a:gd name="connsiteY102" fmla="*/ 2161 h 10007"/>
                <a:gd name="connsiteX103" fmla="*/ 148 w 10000"/>
                <a:gd name="connsiteY103" fmla="*/ 2271 h 10007"/>
                <a:gd name="connsiteX104" fmla="*/ 119 w 10000"/>
                <a:gd name="connsiteY104" fmla="*/ 2376 h 10007"/>
                <a:gd name="connsiteX105" fmla="*/ 96 w 10000"/>
                <a:gd name="connsiteY105" fmla="*/ 2486 h 10007"/>
                <a:gd name="connsiteX106" fmla="*/ 74 w 10000"/>
                <a:gd name="connsiteY106" fmla="*/ 2596 h 10007"/>
                <a:gd name="connsiteX107" fmla="*/ 52 w 10000"/>
                <a:gd name="connsiteY107" fmla="*/ 2711 h 10007"/>
                <a:gd name="connsiteX108" fmla="*/ 37 w 10000"/>
                <a:gd name="connsiteY108" fmla="*/ 2821 h 10007"/>
                <a:gd name="connsiteX109" fmla="*/ 22 w 10000"/>
                <a:gd name="connsiteY109" fmla="*/ 2931 h 10007"/>
                <a:gd name="connsiteX110" fmla="*/ 15 w 10000"/>
                <a:gd name="connsiteY110" fmla="*/ 3041 h 10007"/>
                <a:gd name="connsiteX111" fmla="*/ 7 w 10000"/>
                <a:gd name="connsiteY111" fmla="*/ 3155 h 10007"/>
                <a:gd name="connsiteX112" fmla="*/ 0 w 10000"/>
                <a:gd name="connsiteY112" fmla="*/ 3265 h 10007"/>
                <a:gd name="connsiteX113" fmla="*/ 0 w 10000"/>
                <a:gd name="connsiteY113" fmla="*/ 3380 h 10007"/>
                <a:gd name="connsiteX114" fmla="*/ 7 w 10000"/>
                <a:gd name="connsiteY114" fmla="*/ 3527 h 10007"/>
                <a:gd name="connsiteX115" fmla="*/ 7 w 10000"/>
                <a:gd name="connsiteY115" fmla="*/ 3673 h 10007"/>
                <a:gd name="connsiteX116" fmla="*/ 22 w 10000"/>
                <a:gd name="connsiteY116" fmla="*/ 3811 h 10007"/>
                <a:gd name="connsiteX117" fmla="*/ 37 w 10000"/>
                <a:gd name="connsiteY117" fmla="*/ 3953 h 10007"/>
                <a:gd name="connsiteX118" fmla="*/ 59 w 10000"/>
                <a:gd name="connsiteY118" fmla="*/ 4095 h 10007"/>
                <a:gd name="connsiteX119" fmla="*/ 89 w 10000"/>
                <a:gd name="connsiteY119" fmla="*/ 4237 h 10007"/>
                <a:gd name="connsiteX120" fmla="*/ 119 w 10000"/>
                <a:gd name="connsiteY120" fmla="*/ 4379 h 10007"/>
                <a:gd name="connsiteX121" fmla="*/ 148 w 10000"/>
                <a:gd name="connsiteY121" fmla="*/ 4521 h 10007"/>
                <a:gd name="connsiteX122" fmla="*/ 193 w 10000"/>
                <a:gd name="connsiteY122" fmla="*/ 4659 h 10007"/>
                <a:gd name="connsiteX123" fmla="*/ 237 w 10000"/>
                <a:gd name="connsiteY123" fmla="*/ 4796 h 10007"/>
                <a:gd name="connsiteX124" fmla="*/ 282 w 10000"/>
                <a:gd name="connsiteY124" fmla="*/ 4934 h 10007"/>
                <a:gd name="connsiteX125" fmla="*/ 334 w 10000"/>
                <a:gd name="connsiteY125" fmla="*/ 5071 h 10007"/>
                <a:gd name="connsiteX126" fmla="*/ 393 w 10000"/>
                <a:gd name="connsiteY126" fmla="*/ 5204 h 10007"/>
                <a:gd name="connsiteX127" fmla="*/ 452 w 10000"/>
                <a:gd name="connsiteY127" fmla="*/ 5337 h 10007"/>
                <a:gd name="connsiteX128" fmla="*/ 519 w 10000"/>
                <a:gd name="connsiteY128" fmla="*/ 5470 h 10007"/>
                <a:gd name="connsiteX129" fmla="*/ 586 w 10000"/>
                <a:gd name="connsiteY129" fmla="*/ 5603 h 10007"/>
                <a:gd name="connsiteX130" fmla="*/ 660 w 10000"/>
                <a:gd name="connsiteY130" fmla="*/ 5731 h 10007"/>
                <a:gd name="connsiteX131" fmla="*/ 741 w 10000"/>
                <a:gd name="connsiteY131" fmla="*/ 5859 h 10007"/>
                <a:gd name="connsiteX132" fmla="*/ 823 w 10000"/>
                <a:gd name="connsiteY132" fmla="*/ 5992 h 10007"/>
                <a:gd name="connsiteX133" fmla="*/ 904 w 10000"/>
                <a:gd name="connsiteY133" fmla="*/ 6116 h 10007"/>
                <a:gd name="connsiteX134" fmla="*/ 993 w 10000"/>
                <a:gd name="connsiteY134" fmla="*/ 6240 h 10007"/>
                <a:gd name="connsiteX135" fmla="*/ 1090 w 10000"/>
                <a:gd name="connsiteY135" fmla="*/ 6359 h 10007"/>
                <a:gd name="connsiteX136" fmla="*/ 1186 w 10000"/>
                <a:gd name="connsiteY136" fmla="*/ 6483 h 10007"/>
                <a:gd name="connsiteX137" fmla="*/ 1290 w 10000"/>
                <a:gd name="connsiteY137" fmla="*/ 6606 h 10007"/>
                <a:gd name="connsiteX138" fmla="*/ 1386 w 10000"/>
                <a:gd name="connsiteY138" fmla="*/ 6726 h 10007"/>
                <a:gd name="connsiteX139" fmla="*/ 1497 w 10000"/>
                <a:gd name="connsiteY139" fmla="*/ 6845 h 10007"/>
                <a:gd name="connsiteX140" fmla="*/ 1609 w 10000"/>
                <a:gd name="connsiteY140" fmla="*/ 6959 h 10007"/>
                <a:gd name="connsiteX141" fmla="*/ 1727 w 10000"/>
                <a:gd name="connsiteY141" fmla="*/ 7078 h 10007"/>
                <a:gd name="connsiteX142" fmla="*/ 1846 w 10000"/>
                <a:gd name="connsiteY142" fmla="*/ 7193 h 10007"/>
                <a:gd name="connsiteX143" fmla="*/ 1964 w 10000"/>
                <a:gd name="connsiteY143" fmla="*/ 7303 h 10007"/>
                <a:gd name="connsiteX144" fmla="*/ 2090 w 10000"/>
                <a:gd name="connsiteY144" fmla="*/ 7413 h 10007"/>
                <a:gd name="connsiteX145" fmla="*/ 2224 w 10000"/>
                <a:gd name="connsiteY145" fmla="*/ 7523 h 10007"/>
                <a:gd name="connsiteX146" fmla="*/ 2350 w 10000"/>
                <a:gd name="connsiteY146" fmla="*/ 7633 h 10007"/>
                <a:gd name="connsiteX147" fmla="*/ 2491 w 10000"/>
                <a:gd name="connsiteY147" fmla="*/ 7738 h 10007"/>
                <a:gd name="connsiteX148" fmla="*/ 2617 w 10000"/>
                <a:gd name="connsiteY148" fmla="*/ 7844 h 10007"/>
                <a:gd name="connsiteX149" fmla="*/ 2765 w 10000"/>
                <a:gd name="connsiteY149" fmla="*/ 7945 h 10007"/>
                <a:gd name="connsiteX150" fmla="*/ 2906 w 10000"/>
                <a:gd name="connsiteY150" fmla="*/ 8045 h 10007"/>
                <a:gd name="connsiteX151" fmla="*/ 3054 w 10000"/>
                <a:gd name="connsiteY151" fmla="*/ 8146 h 10007"/>
                <a:gd name="connsiteX152" fmla="*/ 3210 w 10000"/>
                <a:gd name="connsiteY152" fmla="*/ 8243 h 10007"/>
                <a:gd name="connsiteX153" fmla="*/ 3358 w 10000"/>
                <a:gd name="connsiteY153" fmla="*/ 8339 h 10007"/>
                <a:gd name="connsiteX154" fmla="*/ 3514 w 10000"/>
                <a:gd name="connsiteY154" fmla="*/ 8435 h 10007"/>
                <a:gd name="connsiteX155" fmla="*/ 3677 w 10000"/>
                <a:gd name="connsiteY155" fmla="*/ 8527 h 10007"/>
                <a:gd name="connsiteX156" fmla="*/ 3840 w 10000"/>
                <a:gd name="connsiteY156" fmla="*/ 8614 h 10007"/>
                <a:gd name="connsiteX157" fmla="*/ 4010 w 10000"/>
                <a:gd name="connsiteY157" fmla="*/ 8705 h 10007"/>
                <a:gd name="connsiteX158" fmla="*/ 4181 w 10000"/>
                <a:gd name="connsiteY158" fmla="*/ 8783 h 10007"/>
                <a:gd name="connsiteX159" fmla="*/ 4351 w 10000"/>
                <a:gd name="connsiteY159" fmla="*/ 8870 h 10007"/>
                <a:gd name="connsiteX160" fmla="*/ 4522 w 10000"/>
                <a:gd name="connsiteY160" fmla="*/ 8948 h 10007"/>
                <a:gd name="connsiteX161" fmla="*/ 4700 w 10000"/>
                <a:gd name="connsiteY161" fmla="*/ 9031 h 10007"/>
                <a:gd name="connsiteX162" fmla="*/ 4878 w 10000"/>
                <a:gd name="connsiteY162" fmla="*/ 9109 h 10007"/>
                <a:gd name="connsiteX163" fmla="*/ 5063 w 10000"/>
                <a:gd name="connsiteY163" fmla="*/ 9182 h 10007"/>
                <a:gd name="connsiteX164" fmla="*/ 5248 w 10000"/>
                <a:gd name="connsiteY164" fmla="*/ 9260 h 10007"/>
                <a:gd name="connsiteX165" fmla="*/ 5426 w 10000"/>
                <a:gd name="connsiteY165" fmla="*/ 9329 h 10007"/>
                <a:gd name="connsiteX166" fmla="*/ 5619 w 10000"/>
                <a:gd name="connsiteY166" fmla="*/ 9397 h 10007"/>
                <a:gd name="connsiteX167" fmla="*/ 5812 w 10000"/>
                <a:gd name="connsiteY167" fmla="*/ 9466 h 10007"/>
                <a:gd name="connsiteX168" fmla="*/ 6004 w 10000"/>
                <a:gd name="connsiteY168" fmla="*/ 9530 h 10007"/>
                <a:gd name="connsiteX169" fmla="*/ 6205 w 10000"/>
                <a:gd name="connsiteY169" fmla="*/ 9595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61 h 10007"/>
                <a:gd name="connsiteX179" fmla="*/ 10000 w 10000"/>
                <a:gd name="connsiteY179" fmla="*/ 6148 h 10007"/>
                <a:gd name="connsiteX0" fmla="*/ 10000 w 10000"/>
                <a:gd name="connsiteY0" fmla="*/ 6127 h 9986"/>
                <a:gd name="connsiteX1" fmla="*/ 10000 w 10000"/>
                <a:gd name="connsiteY1" fmla="*/ 6127 h 9986"/>
                <a:gd name="connsiteX2" fmla="*/ 9911 w 10000"/>
                <a:gd name="connsiteY2" fmla="*/ 6113 h 9986"/>
                <a:gd name="connsiteX3" fmla="*/ 9815 w 10000"/>
                <a:gd name="connsiteY3" fmla="*/ 6095 h 9986"/>
                <a:gd name="connsiteX4" fmla="*/ 9726 w 10000"/>
                <a:gd name="connsiteY4" fmla="*/ 6077 h 9986"/>
                <a:gd name="connsiteX5" fmla="*/ 9637 w 10000"/>
                <a:gd name="connsiteY5" fmla="*/ 6054 h 9986"/>
                <a:gd name="connsiteX6" fmla="*/ 9548 w 10000"/>
                <a:gd name="connsiteY6" fmla="*/ 6035 h 9986"/>
                <a:gd name="connsiteX7" fmla="*/ 9466 w 10000"/>
                <a:gd name="connsiteY7" fmla="*/ 6013 h 9986"/>
                <a:gd name="connsiteX8" fmla="*/ 9377 w 10000"/>
                <a:gd name="connsiteY8" fmla="*/ 5990 h 9986"/>
                <a:gd name="connsiteX9" fmla="*/ 9288 w 10000"/>
                <a:gd name="connsiteY9" fmla="*/ 5967 h 9986"/>
                <a:gd name="connsiteX10" fmla="*/ 9118 w 10000"/>
                <a:gd name="connsiteY10" fmla="*/ 5916 h 9986"/>
                <a:gd name="connsiteX11" fmla="*/ 8955 w 10000"/>
                <a:gd name="connsiteY11" fmla="*/ 5861 h 9986"/>
                <a:gd name="connsiteX12" fmla="*/ 8792 w 10000"/>
                <a:gd name="connsiteY12" fmla="*/ 5802 h 9986"/>
                <a:gd name="connsiteX13" fmla="*/ 8636 w 10000"/>
                <a:gd name="connsiteY13" fmla="*/ 5738 h 9986"/>
                <a:gd name="connsiteX14" fmla="*/ 8480 w 10000"/>
                <a:gd name="connsiteY14" fmla="*/ 5673 h 9986"/>
                <a:gd name="connsiteX15" fmla="*/ 8340 w 10000"/>
                <a:gd name="connsiteY15" fmla="*/ 5605 h 9986"/>
                <a:gd name="connsiteX16" fmla="*/ 8199 w 10000"/>
                <a:gd name="connsiteY16" fmla="*/ 5531 h 9986"/>
                <a:gd name="connsiteX17" fmla="*/ 8058 w 10000"/>
                <a:gd name="connsiteY17" fmla="*/ 5453 h 9986"/>
                <a:gd name="connsiteX18" fmla="*/ 7924 w 10000"/>
                <a:gd name="connsiteY18" fmla="*/ 5371 h 9986"/>
                <a:gd name="connsiteX19" fmla="*/ 7798 w 10000"/>
                <a:gd name="connsiteY19" fmla="*/ 5288 h 9986"/>
                <a:gd name="connsiteX20" fmla="*/ 7672 w 10000"/>
                <a:gd name="connsiteY20" fmla="*/ 5201 h 9986"/>
                <a:gd name="connsiteX21" fmla="*/ 7554 w 10000"/>
                <a:gd name="connsiteY21" fmla="*/ 5114 h 9986"/>
                <a:gd name="connsiteX22" fmla="*/ 7450 w 10000"/>
                <a:gd name="connsiteY22" fmla="*/ 5018 h 9986"/>
                <a:gd name="connsiteX23" fmla="*/ 7346 w 10000"/>
                <a:gd name="connsiteY23" fmla="*/ 4922 h 9986"/>
                <a:gd name="connsiteX24" fmla="*/ 7250 w 10000"/>
                <a:gd name="connsiteY24" fmla="*/ 4826 h 9986"/>
                <a:gd name="connsiteX25" fmla="*/ 7161 w 10000"/>
                <a:gd name="connsiteY25" fmla="*/ 4725 h 9986"/>
                <a:gd name="connsiteX26" fmla="*/ 7072 w 10000"/>
                <a:gd name="connsiteY26" fmla="*/ 4624 h 9986"/>
                <a:gd name="connsiteX27" fmla="*/ 6990 w 10000"/>
                <a:gd name="connsiteY27" fmla="*/ 4514 h 9986"/>
                <a:gd name="connsiteX28" fmla="*/ 6953 w 10000"/>
                <a:gd name="connsiteY28" fmla="*/ 4464 h 9986"/>
                <a:gd name="connsiteX29" fmla="*/ 6916 w 10000"/>
                <a:gd name="connsiteY29" fmla="*/ 4409 h 9986"/>
                <a:gd name="connsiteX30" fmla="*/ 6887 w 10000"/>
                <a:gd name="connsiteY30" fmla="*/ 4354 h 9986"/>
                <a:gd name="connsiteX31" fmla="*/ 6850 w 10000"/>
                <a:gd name="connsiteY31" fmla="*/ 4299 h 9986"/>
                <a:gd name="connsiteX32" fmla="*/ 6820 w 10000"/>
                <a:gd name="connsiteY32" fmla="*/ 4244 h 9986"/>
                <a:gd name="connsiteX33" fmla="*/ 6790 w 10000"/>
                <a:gd name="connsiteY33" fmla="*/ 4189 h 9986"/>
                <a:gd name="connsiteX34" fmla="*/ 6768 w 10000"/>
                <a:gd name="connsiteY34" fmla="*/ 4129 h 9986"/>
                <a:gd name="connsiteX35" fmla="*/ 6738 w 10000"/>
                <a:gd name="connsiteY35" fmla="*/ 4074 h 9986"/>
                <a:gd name="connsiteX36" fmla="*/ 6723 w 10000"/>
                <a:gd name="connsiteY36" fmla="*/ 4014 h 9986"/>
                <a:gd name="connsiteX37" fmla="*/ 6694 w 10000"/>
                <a:gd name="connsiteY37" fmla="*/ 3959 h 9986"/>
                <a:gd name="connsiteX38" fmla="*/ 6679 w 10000"/>
                <a:gd name="connsiteY38" fmla="*/ 3900 h 9986"/>
                <a:gd name="connsiteX39" fmla="*/ 6664 w 10000"/>
                <a:gd name="connsiteY39" fmla="*/ 3840 h 9986"/>
                <a:gd name="connsiteX40" fmla="*/ 6649 w 10000"/>
                <a:gd name="connsiteY40" fmla="*/ 3781 h 9986"/>
                <a:gd name="connsiteX41" fmla="*/ 6635 w 10000"/>
                <a:gd name="connsiteY41" fmla="*/ 3726 h 9986"/>
                <a:gd name="connsiteX42" fmla="*/ 6620 w 10000"/>
                <a:gd name="connsiteY42" fmla="*/ 3666 h 9986"/>
                <a:gd name="connsiteX43" fmla="*/ 6612 w 10000"/>
                <a:gd name="connsiteY43" fmla="*/ 3607 h 9986"/>
                <a:gd name="connsiteX44" fmla="*/ 6605 w 10000"/>
                <a:gd name="connsiteY44" fmla="*/ 3547 h 9986"/>
                <a:gd name="connsiteX45" fmla="*/ 6597 w 10000"/>
                <a:gd name="connsiteY45" fmla="*/ 3483 h 9986"/>
                <a:gd name="connsiteX46" fmla="*/ 6597 w 10000"/>
                <a:gd name="connsiteY46" fmla="*/ 3423 h 9986"/>
                <a:gd name="connsiteX47" fmla="*/ 6590 w 10000"/>
                <a:gd name="connsiteY47" fmla="*/ 3359 h 9986"/>
                <a:gd name="connsiteX48" fmla="*/ 6597 w 10000"/>
                <a:gd name="connsiteY48" fmla="*/ 3299 h 9986"/>
                <a:gd name="connsiteX49" fmla="*/ 6605 w 10000"/>
                <a:gd name="connsiteY49" fmla="*/ 3231 h 9986"/>
                <a:gd name="connsiteX50" fmla="*/ 6605 w 10000"/>
                <a:gd name="connsiteY50" fmla="*/ 3167 h 9986"/>
                <a:gd name="connsiteX51" fmla="*/ 6612 w 10000"/>
                <a:gd name="connsiteY51" fmla="*/ 3102 h 9986"/>
                <a:gd name="connsiteX52" fmla="*/ 6620 w 10000"/>
                <a:gd name="connsiteY52" fmla="*/ 3038 h 9986"/>
                <a:gd name="connsiteX53" fmla="*/ 6635 w 10000"/>
                <a:gd name="connsiteY53" fmla="*/ 2979 h 9986"/>
                <a:gd name="connsiteX54" fmla="*/ 6649 w 10000"/>
                <a:gd name="connsiteY54" fmla="*/ 2915 h 9986"/>
                <a:gd name="connsiteX55" fmla="*/ 6664 w 10000"/>
                <a:gd name="connsiteY55" fmla="*/ 2855 h 9986"/>
                <a:gd name="connsiteX56" fmla="*/ 6686 w 10000"/>
                <a:gd name="connsiteY56" fmla="*/ 2791 h 9986"/>
                <a:gd name="connsiteX57" fmla="*/ 6709 w 10000"/>
                <a:gd name="connsiteY57" fmla="*/ 2731 h 9986"/>
                <a:gd name="connsiteX58" fmla="*/ 6731 w 10000"/>
                <a:gd name="connsiteY58" fmla="*/ 2672 h 9986"/>
                <a:gd name="connsiteX59" fmla="*/ 6753 w 10000"/>
                <a:gd name="connsiteY59" fmla="*/ 2607 h 9986"/>
                <a:gd name="connsiteX60" fmla="*/ 6783 w 10000"/>
                <a:gd name="connsiteY60" fmla="*/ 2552 h 9986"/>
                <a:gd name="connsiteX61" fmla="*/ 6812 w 10000"/>
                <a:gd name="connsiteY61" fmla="*/ 2493 h 9986"/>
                <a:gd name="connsiteX62" fmla="*/ 6842 w 10000"/>
                <a:gd name="connsiteY62" fmla="*/ 2433 h 9986"/>
                <a:gd name="connsiteX63" fmla="*/ 6879 w 10000"/>
                <a:gd name="connsiteY63" fmla="*/ 2374 h 9986"/>
                <a:gd name="connsiteX64" fmla="*/ 6909 w 10000"/>
                <a:gd name="connsiteY64" fmla="*/ 2319 h 9986"/>
                <a:gd name="connsiteX65" fmla="*/ 6946 w 10000"/>
                <a:gd name="connsiteY65" fmla="*/ 2259 h 9986"/>
                <a:gd name="connsiteX66" fmla="*/ 6990 w 10000"/>
                <a:gd name="connsiteY66" fmla="*/ 2204 h 9986"/>
                <a:gd name="connsiteX67" fmla="*/ 7027 w 10000"/>
                <a:gd name="connsiteY67" fmla="*/ 2149 h 9986"/>
                <a:gd name="connsiteX68" fmla="*/ 7072 w 10000"/>
                <a:gd name="connsiteY68" fmla="*/ 2094 h 9986"/>
                <a:gd name="connsiteX69" fmla="*/ 7109 w 10000"/>
                <a:gd name="connsiteY69" fmla="*/ 2039 h 9986"/>
                <a:gd name="connsiteX70" fmla="*/ 7161 w 10000"/>
                <a:gd name="connsiteY70" fmla="*/ 1989 h 9986"/>
                <a:gd name="connsiteX71" fmla="*/ 7213 w 10000"/>
                <a:gd name="connsiteY71" fmla="*/ 1934 h 9986"/>
                <a:gd name="connsiteX72" fmla="*/ 7257 w 10000"/>
                <a:gd name="connsiteY72" fmla="*/ 1879 h 9986"/>
                <a:gd name="connsiteX73" fmla="*/ 7309 w 10000"/>
                <a:gd name="connsiteY73" fmla="*/ 1828 h 9986"/>
                <a:gd name="connsiteX74" fmla="*/ 7361 w 10000"/>
                <a:gd name="connsiteY74" fmla="*/ 1778 h 9986"/>
                <a:gd name="connsiteX75" fmla="*/ 7413 w 10000"/>
                <a:gd name="connsiteY75" fmla="*/ 1728 h 9986"/>
                <a:gd name="connsiteX76" fmla="*/ 7472 w 10000"/>
                <a:gd name="connsiteY76" fmla="*/ 1677 h 9986"/>
                <a:gd name="connsiteX77" fmla="*/ 7524 w 10000"/>
                <a:gd name="connsiteY77" fmla="*/ 1631 h 9986"/>
                <a:gd name="connsiteX78" fmla="*/ 7583 w 10000"/>
                <a:gd name="connsiteY78" fmla="*/ 1585 h 9986"/>
                <a:gd name="connsiteX79" fmla="*/ 7643 w 10000"/>
                <a:gd name="connsiteY79" fmla="*/ 1535 h 9986"/>
                <a:gd name="connsiteX80" fmla="*/ 5390 w 10000"/>
                <a:gd name="connsiteY80" fmla="*/ 6 h 9986"/>
                <a:gd name="connsiteX81" fmla="*/ 1401 w 10000"/>
                <a:gd name="connsiteY81" fmla="*/ 0 h 9986"/>
                <a:gd name="connsiteX82" fmla="*/ 1305 w 10000"/>
                <a:gd name="connsiteY82" fmla="*/ 114 h 9986"/>
                <a:gd name="connsiteX83" fmla="*/ 1223 w 10000"/>
                <a:gd name="connsiteY83" fmla="*/ 206 h 9986"/>
                <a:gd name="connsiteX84" fmla="*/ 1149 w 10000"/>
                <a:gd name="connsiteY84" fmla="*/ 302 h 9986"/>
                <a:gd name="connsiteX85" fmla="*/ 1067 w 10000"/>
                <a:gd name="connsiteY85" fmla="*/ 398 h 9986"/>
                <a:gd name="connsiteX86" fmla="*/ 1001 w 10000"/>
                <a:gd name="connsiteY86" fmla="*/ 495 h 9986"/>
                <a:gd name="connsiteX87" fmla="*/ 927 w 10000"/>
                <a:gd name="connsiteY87" fmla="*/ 591 h 9986"/>
                <a:gd name="connsiteX88" fmla="*/ 860 w 10000"/>
                <a:gd name="connsiteY88" fmla="*/ 692 h 9986"/>
                <a:gd name="connsiteX89" fmla="*/ 793 w 10000"/>
                <a:gd name="connsiteY89" fmla="*/ 793 h 9986"/>
                <a:gd name="connsiteX90" fmla="*/ 734 w 10000"/>
                <a:gd name="connsiteY90" fmla="*/ 889 h 9986"/>
                <a:gd name="connsiteX91" fmla="*/ 675 w 10000"/>
                <a:gd name="connsiteY91" fmla="*/ 990 h 9986"/>
                <a:gd name="connsiteX92" fmla="*/ 615 w 10000"/>
                <a:gd name="connsiteY92" fmla="*/ 1090 h 9986"/>
                <a:gd name="connsiteX93" fmla="*/ 556 w 10000"/>
                <a:gd name="connsiteY93" fmla="*/ 1196 h 9986"/>
                <a:gd name="connsiteX94" fmla="*/ 504 w 10000"/>
                <a:gd name="connsiteY94" fmla="*/ 1292 h 9986"/>
                <a:gd name="connsiteX95" fmla="*/ 452 w 10000"/>
                <a:gd name="connsiteY95" fmla="*/ 1398 h 9986"/>
                <a:gd name="connsiteX96" fmla="*/ 408 w 10000"/>
                <a:gd name="connsiteY96" fmla="*/ 1498 h 9986"/>
                <a:gd name="connsiteX97" fmla="*/ 363 w 10000"/>
                <a:gd name="connsiteY97" fmla="*/ 1604 h 9986"/>
                <a:gd name="connsiteX98" fmla="*/ 319 w 10000"/>
                <a:gd name="connsiteY98" fmla="*/ 1709 h 9986"/>
                <a:gd name="connsiteX99" fmla="*/ 282 w 10000"/>
                <a:gd name="connsiteY99" fmla="*/ 1815 h 9986"/>
                <a:gd name="connsiteX100" fmla="*/ 237 w 10000"/>
                <a:gd name="connsiteY100" fmla="*/ 1925 h 9986"/>
                <a:gd name="connsiteX101" fmla="*/ 208 w 10000"/>
                <a:gd name="connsiteY101" fmla="*/ 2030 h 9986"/>
                <a:gd name="connsiteX102" fmla="*/ 170 w 10000"/>
                <a:gd name="connsiteY102" fmla="*/ 2140 h 9986"/>
                <a:gd name="connsiteX103" fmla="*/ 148 w 10000"/>
                <a:gd name="connsiteY103" fmla="*/ 2250 h 9986"/>
                <a:gd name="connsiteX104" fmla="*/ 119 w 10000"/>
                <a:gd name="connsiteY104" fmla="*/ 2355 h 9986"/>
                <a:gd name="connsiteX105" fmla="*/ 96 w 10000"/>
                <a:gd name="connsiteY105" fmla="*/ 2465 h 9986"/>
                <a:gd name="connsiteX106" fmla="*/ 74 w 10000"/>
                <a:gd name="connsiteY106" fmla="*/ 2575 h 9986"/>
                <a:gd name="connsiteX107" fmla="*/ 52 w 10000"/>
                <a:gd name="connsiteY107" fmla="*/ 2690 h 9986"/>
                <a:gd name="connsiteX108" fmla="*/ 37 w 10000"/>
                <a:gd name="connsiteY108" fmla="*/ 2800 h 9986"/>
                <a:gd name="connsiteX109" fmla="*/ 22 w 10000"/>
                <a:gd name="connsiteY109" fmla="*/ 2910 h 9986"/>
                <a:gd name="connsiteX110" fmla="*/ 15 w 10000"/>
                <a:gd name="connsiteY110" fmla="*/ 3020 h 9986"/>
                <a:gd name="connsiteX111" fmla="*/ 7 w 10000"/>
                <a:gd name="connsiteY111" fmla="*/ 3134 h 9986"/>
                <a:gd name="connsiteX112" fmla="*/ 0 w 10000"/>
                <a:gd name="connsiteY112" fmla="*/ 3244 h 9986"/>
                <a:gd name="connsiteX113" fmla="*/ 0 w 10000"/>
                <a:gd name="connsiteY113" fmla="*/ 3359 h 9986"/>
                <a:gd name="connsiteX114" fmla="*/ 7 w 10000"/>
                <a:gd name="connsiteY114" fmla="*/ 3506 h 9986"/>
                <a:gd name="connsiteX115" fmla="*/ 7 w 10000"/>
                <a:gd name="connsiteY115" fmla="*/ 3652 h 9986"/>
                <a:gd name="connsiteX116" fmla="*/ 22 w 10000"/>
                <a:gd name="connsiteY116" fmla="*/ 3790 h 9986"/>
                <a:gd name="connsiteX117" fmla="*/ 37 w 10000"/>
                <a:gd name="connsiteY117" fmla="*/ 3932 h 9986"/>
                <a:gd name="connsiteX118" fmla="*/ 59 w 10000"/>
                <a:gd name="connsiteY118" fmla="*/ 4074 h 9986"/>
                <a:gd name="connsiteX119" fmla="*/ 89 w 10000"/>
                <a:gd name="connsiteY119" fmla="*/ 4216 h 9986"/>
                <a:gd name="connsiteX120" fmla="*/ 119 w 10000"/>
                <a:gd name="connsiteY120" fmla="*/ 4358 h 9986"/>
                <a:gd name="connsiteX121" fmla="*/ 148 w 10000"/>
                <a:gd name="connsiteY121" fmla="*/ 4500 h 9986"/>
                <a:gd name="connsiteX122" fmla="*/ 193 w 10000"/>
                <a:gd name="connsiteY122" fmla="*/ 4638 h 9986"/>
                <a:gd name="connsiteX123" fmla="*/ 237 w 10000"/>
                <a:gd name="connsiteY123" fmla="*/ 4775 h 9986"/>
                <a:gd name="connsiteX124" fmla="*/ 282 w 10000"/>
                <a:gd name="connsiteY124" fmla="*/ 4913 h 9986"/>
                <a:gd name="connsiteX125" fmla="*/ 334 w 10000"/>
                <a:gd name="connsiteY125" fmla="*/ 5050 h 9986"/>
                <a:gd name="connsiteX126" fmla="*/ 393 w 10000"/>
                <a:gd name="connsiteY126" fmla="*/ 5183 h 9986"/>
                <a:gd name="connsiteX127" fmla="*/ 452 w 10000"/>
                <a:gd name="connsiteY127" fmla="*/ 5316 h 9986"/>
                <a:gd name="connsiteX128" fmla="*/ 519 w 10000"/>
                <a:gd name="connsiteY128" fmla="*/ 5449 h 9986"/>
                <a:gd name="connsiteX129" fmla="*/ 586 w 10000"/>
                <a:gd name="connsiteY129" fmla="*/ 5582 h 9986"/>
                <a:gd name="connsiteX130" fmla="*/ 660 w 10000"/>
                <a:gd name="connsiteY130" fmla="*/ 5710 h 9986"/>
                <a:gd name="connsiteX131" fmla="*/ 741 w 10000"/>
                <a:gd name="connsiteY131" fmla="*/ 5838 h 9986"/>
                <a:gd name="connsiteX132" fmla="*/ 823 w 10000"/>
                <a:gd name="connsiteY132" fmla="*/ 5971 h 9986"/>
                <a:gd name="connsiteX133" fmla="*/ 904 w 10000"/>
                <a:gd name="connsiteY133" fmla="*/ 6095 h 9986"/>
                <a:gd name="connsiteX134" fmla="*/ 993 w 10000"/>
                <a:gd name="connsiteY134" fmla="*/ 6219 h 9986"/>
                <a:gd name="connsiteX135" fmla="*/ 1090 w 10000"/>
                <a:gd name="connsiteY135" fmla="*/ 6338 h 9986"/>
                <a:gd name="connsiteX136" fmla="*/ 1186 w 10000"/>
                <a:gd name="connsiteY136" fmla="*/ 6462 h 9986"/>
                <a:gd name="connsiteX137" fmla="*/ 1290 w 10000"/>
                <a:gd name="connsiteY137" fmla="*/ 6585 h 9986"/>
                <a:gd name="connsiteX138" fmla="*/ 1386 w 10000"/>
                <a:gd name="connsiteY138" fmla="*/ 6705 h 9986"/>
                <a:gd name="connsiteX139" fmla="*/ 1497 w 10000"/>
                <a:gd name="connsiteY139" fmla="*/ 6824 h 9986"/>
                <a:gd name="connsiteX140" fmla="*/ 1609 w 10000"/>
                <a:gd name="connsiteY140" fmla="*/ 6938 h 9986"/>
                <a:gd name="connsiteX141" fmla="*/ 1727 w 10000"/>
                <a:gd name="connsiteY141" fmla="*/ 7057 h 9986"/>
                <a:gd name="connsiteX142" fmla="*/ 1846 w 10000"/>
                <a:gd name="connsiteY142" fmla="*/ 7172 h 9986"/>
                <a:gd name="connsiteX143" fmla="*/ 1964 w 10000"/>
                <a:gd name="connsiteY143" fmla="*/ 7282 h 9986"/>
                <a:gd name="connsiteX144" fmla="*/ 2090 w 10000"/>
                <a:gd name="connsiteY144" fmla="*/ 7392 h 9986"/>
                <a:gd name="connsiteX145" fmla="*/ 2224 w 10000"/>
                <a:gd name="connsiteY145" fmla="*/ 7502 h 9986"/>
                <a:gd name="connsiteX146" fmla="*/ 2350 w 10000"/>
                <a:gd name="connsiteY146" fmla="*/ 7612 h 9986"/>
                <a:gd name="connsiteX147" fmla="*/ 2491 w 10000"/>
                <a:gd name="connsiteY147" fmla="*/ 7717 h 9986"/>
                <a:gd name="connsiteX148" fmla="*/ 2617 w 10000"/>
                <a:gd name="connsiteY148" fmla="*/ 7823 h 9986"/>
                <a:gd name="connsiteX149" fmla="*/ 2765 w 10000"/>
                <a:gd name="connsiteY149" fmla="*/ 7924 h 9986"/>
                <a:gd name="connsiteX150" fmla="*/ 2906 w 10000"/>
                <a:gd name="connsiteY150" fmla="*/ 8024 h 9986"/>
                <a:gd name="connsiteX151" fmla="*/ 3054 w 10000"/>
                <a:gd name="connsiteY151" fmla="*/ 8125 h 9986"/>
                <a:gd name="connsiteX152" fmla="*/ 3210 w 10000"/>
                <a:gd name="connsiteY152" fmla="*/ 8222 h 9986"/>
                <a:gd name="connsiteX153" fmla="*/ 3358 w 10000"/>
                <a:gd name="connsiteY153" fmla="*/ 8318 h 9986"/>
                <a:gd name="connsiteX154" fmla="*/ 3514 w 10000"/>
                <a:gd name="connsiteY154" fmla="*/ 8414 h 9986"/>
                <a:gd name="connsiteX155" fmla="*/ 3677 w 10000"/>
                <a:gd name="connsiteY155" fmla="*/ 8506 h 9986"/>
                <a:gd name="connsiteX156" fmla="*/ 3840 w 10000"/>
                <a:gd name="connsiteY156" fmla="*/ 8593 h 9986"/>
                <a:gd name="connsiteX157" fmla="*/ 4010 w 10000"/>
                <a:gd name="connsiteY157" fmla="*/ 8684 h 9986"/>
                <a:gd name="connsiteX158" fmla="*/ 4181 w 10000"/>
                <a:gd name="connsiteY158" fmla="*/ 8762 h 9986"/>
                <a:gd name="connsiteX159" fmla="*/ 4351 w 10000"/>
                <a:gd name="connsiteY159" fmla="*/ 8849 h 9986"/>
                <a:gd name="connsiteX160" fmla="*/ 4522 w 10000"/>
                <a:gd name="connsiteY160" fmla="*/ 8927 h 9986"/>
                <a:gd name="connsiteX161" fmla="*/ 4700 w 10000"/>
                <a:gd name="connsiteY161" fmla="*/ 9010 h 9986"/>
                <a:gd name="connsiteX162" fmla="*/ 4878 w 10000"/>
                <a:gd name="connsiteY162" fmla="*/ 9088 h 9986"/>
                <a:gd name="connsiteX163" fmla="*/ 5063 w 10000"/>
                <a:gd name="connsiteY163" fmla="*/ 9161 h 9986"/>
                <a:gd name="connsiteX164" fmla="*/ 5248 w 10000"/>
                <a:gd name="connsiteY164" fmla="*/ 9239 h 9986"/>
                <a:gd name="connsiteX165" fmla="*/ 5426 w 10000"/>
                <a:gd name="connsiteY165" fmla="*/ 9308 h 9986"/>
                <a:gd name="connsiteX166" fmla="*/ 5619 w 10000"/>
                <a:gd name="connsiteY166" fmla="*/ 9376 h 9986"/>
                <a:gd name="connsiteX167" fmla="*/ 5812 w 10000"/>
                <a:gd name="connsiteY167" fmla="*/ 9445 h 9986"/>
                <a:gd name="connsiteX168" fmla="*/ 6004 w 10000"/>
                <a:gd name="connsiteY168" fmla="*/ 9509 h 9986"/>
                <a:gd name="connsiteX169" fmla="*/ 6205 w 10000"/>
                <a:gd name="connsiteY169" fmla="*/ 9574 h 9986"/>
                <a:gd name="connsiteX170" fmla="*/ 6397 w 10000"/>
                <a:gd name="connsiteY170" fmla="*/ 9633 h 9986"/>
                <a:gd name="connsiteX171" fmla="*/ 6605 w 10000"/>
                <a:gd name="connsiteY171" fmla="*/ 9688 h 9986"/>
                <a:gd name="connsiteX172" fmla="*/ 6805 w 10000"/>
                <a:gd name="connsiteY172" fmla="*/ 9743 h 9986"/>
                <a:gd name="connsiteX173" fmla="*/ 7005 w 10000"/>
                <a:gd name="connsiteY173" fmla="*/ 9798 h 9986"/>
                <a:gd name="connsiteX174" fmla="*/ 7213 w 10000"/>
                <a:gd name="connsiteY174" fmla="*/ 9849 h 9986"/>
                <a:gd name="connsiteX175" fmla="*/ 7420 w 10000"/>
                <a:gd name="connsiteY175" fmla="*/ 9894 h 9986"/>
                <a:gd name="connsiteX176" fmla="*/ 7628 w 10000"/>
                <a:gd name="connsiteY176" fmla="*/ 9940 h 9986"/>
                <a:gd name="connsiteX177" fmla="*/ 7835 w 10000"/>
                <a:gd name="connsiteY177" fmla="*/ 9986 h 9986"/>
                <a:gd name="connsiteX178" fmla="*/ 7539 w 10000"/>
                <a:gd name="connsiteY178" fmla="*/ 7740 h 9986"/>
                <a:gd name="connsiteX179" fmla="*/ 10000 w 10000"/>
                <a:gd name="connsiteY179" fmla="*/ 6127 h 9986"/>
                <a:gd name="connsiteX0" fmla="*/ 10000 w 10000"/>
                <a:gd name="connsiteY0" fmla="*/ 6136 h 10000"/>
                <a:gd name="connsiteX1" fmla="*/ 10000 w 10000"/>
                <a:gd name="connsiteY1" fmla="*/ 6136 h 10000"/>
                <a:gd name="connsiteX2" fmla="*/ 9911 w 10000"/>
                <a:gd name="connsiteY2" fmla="*/ 6122 h 10000"/>
                <a:gd name="connsiteX3" fmla="*/ 9815 w 10000"/>
                <a:gd name="connsiteY3" fmla="*/ 6104 h 10000"/>
                <a:gd name="connsiteX4" fmla="*/ 9726 w 10000"/>
                <a:gd name="connsiteY4" fmla="*/ 6086 h 10000"/>
                <a:gd name="connsiteX5" fmla="*/ 9637 w 10000"/>
                <a:gd name="connsiteY5" fmla="*/ 6062 h 10000"/>
                <a:gd name="connsiteX6" fmla="*/ 9548 w 10000"/>
                <a:gd name="connsiteY6" fmla="*/ 6043 h 10000"/>
                <a:gd name="connsiteX7" fmla="*/ 9466 w 10000"/>
                <a:gd name="connsiteY7" fmla="*/ 6021 h 10000"/>
                <a:gd name="connsiteX8" fmla="*/ 9377 w 10000"/>
                <a:gd name="connsiteY8" fmla="*/ 5998 h 10000"/>
                <a:gd name="connsiteX9" fmla="*/ 9288 w 10000"/>
                <a:gd name="connsiteY9" fmla="*/ 5975 h 10000"/>
                <a:gd name="connsiteX10" fmla="*/ 9118 w 10000"/>
                <a:gd name="connsiteY10" fmla="*/ 5924 h 10000"/>
                <a:gd name="connsiteX11" fmla="*/ 8955 w 10000"/>
                <a:gd name="connsiteY11" fmla="*/ 5869 h 10000"/>
                <a:gd name="connsiteX12" fmla="*/ 8792 w 10000"/>
                <a:gd name="connsiteY12" fmla="*/ 5810 h 10000"/>
                <a:gd name="connsiteX13" fmla="*/ 8636 w 10000"/>
                <a:gd name="connsiteY13" fmla="*/ 5746 h 10000"/>
                <a:gd name="connsiteX14" fmla="*/ 8480 w 10000"/>
                <a:gd name="connsiteY14" fmla="*/ 5681 h 10000"/>
                <a:gd name="connsiteX15" fmla="*/ 8340 w 10000"/>
                <a:gd name="connsiteY15" fmla="*/ 5613 h 10000"/>
                <a:gd name="connsiteX16" fmla="*/ 8199 w 10000"/>
                <a:gd name="connsiteY16" fmla="*/ 5539 h 10000"/>
                <a:gd name="connsiteX17" fmla="*/ 8058 w 10000"/>
                <a:gd name="connsiteY17" fmla="*/ 5461 h 10000"/>
                <a:gd name="connsiteX18" fmla="*/ 7924 w 10000"/>
                <a:gd name="connsiteY18" fmla="*/ 5379 h 10000"/>
                <a:gd name="connsiteX19" fmla="*/ 7798 w 10000"/>
                <a:gd name="connsiteY19" fmla="*/ 5295 h 10000"/>
                <a:gd name="connsiteX20" fmla="*/ 7672 w 10000"/>
                <a:gd name="connsiteY20" fmla="*/ 5208 h 10000"/>
                <a:gd name="connsiteX21" fmla="*/ 7554 w 10000"/>
                <a:gd name="connsiteY21" fmla="*/ 5121 h 10000"/>
                <a:gd name="connsiteX22" fmla="*/ 7450 w 10000"/>
                <a:gd name="connsiteY22" fmla="*/ 5025 h 10000"/>
                <a:gd name="connsiteX23" fmla="*/ 7346 w 10000"/>
                <a:gd name="connsiteY23" fmla="*/ 4929 h 10000"/>
                <a:gd name="connsiteX24" fmla="*/ 7250 w 10000"/>
                <a:gd name="connsiteY24" fmla="*/ 4833 h 10000"/>
                <a:gd name="connsiteX25" fmla="*/ 7161 w 10000"/>
                <a:gd name="connsiteY25" fmla="*/ 4732 h 10000"/>
                <a:gd name="connsiteX26" fmla="*/ 7072 w 10000"/>
                <a:gd name="connsiteY26" fmla="*/ 4630 h 10000"/>
                <a:gd name="connsiteX27" fmla="*/ 6990 w 10000"/>
                <a:gd name="connsiteY27" fmla="*/ 4520 h 10000"/>
                <a:gd name="connsiteX28" fmla="*/ 6953 w 10000"/>
                <a:gd name="connsiteY28" fmla="*/ 4470 h 10000"/>
                <a:gd name="connsiteX29" fmla="*/ 6916 w 10000"/>
                <a:gd name="connsiteY29" fmla="*/ 4415 h 10000"/>
                <a:gd name="connsiteX30" fmla="*/ 6887 w 10000"/>
                <a:gd name="connsiteY30" fmla="*/ 4360 h 10000"/>
                <a:gd name="connsiteX31" fmla="*/ 6850 w 10000"/>
                <a:gd name="connsiteY31" fmla="*/ 4305 h 10000"/>
                <a:gd name="connsiteX32" fmla="*/ 6820 w 10000"/>
                <a:gd name="connsiteY32" fmla="*/ 4250 h 10000"/>
                <a:gd name="connsiteX33" fmla="*/ 6790 w 10000"/>
                <a:gd name="connsiteY33" fmla="*/ 4195 h 10000"/>
                <a:gd name="connsiteX34" fmla="*/ 6768 w 10000"/>
                <a:gd name="connsiteY34" fmla="*/ 4135 h 10000"/>
                <a:gd name="connsiteX35" fmla="*/ 6738 w 10000"/>
                <a:gd name="connsiteY35" fmla="*/ 4080 h 10000"/>
                <a:gd name="connsiteX36" fmla="*/ 6723 w 10000"/>
                <a:gd name="connsiteY36" fmla="*/ 4020 h 10000"/>
                <a:gd name="connsiteX37" fmla="*/ 6694 w 10000"/>
                <a:gd name="connsiteY37" fmla="*/ 3965 h 10000"/>
                <a:gd name="connsiteX38" fmla="*/ 6679 w 10000"/>
                <a:gd name="connsiteY38" fmla="*/ 3905 h 10000"/>
                <a:gd name="connsiteX39" fmla="*/ 6664 w 10000"/>
                <a:gd name="connsiteY39" fmla="*/ 3845 h 10000"/>
                <a:gd name="connsiteX40" fmla="*/ 6649 w 10000"/>
                <a:gd name="connsiteY40" fmla="*/ 3786 h 10000"/>
                <a:gd name="connsiteX41" fmla="*/ 6635 w 10000"/>
                <a:gd name="connsiteY41" fmla="*/ 3731 h 10000"/>
                <a:gd name="connsiteX42" fmla="*/ 6620 w 10000"/>
                <a:gd name="connsiteY42" fmla="*/ 3671 h 10000"/>
                <a:gd name="connsiteX43" fmla="*/ 6612 w 10000"/>
                <a:gd name="connsiteY43" fmla="*/ 3612 h 10000"/>
                <a:gd name="connsiteX44" fmla="*/ 6605 w 10000"/>
                <a:gd name="connsiteY44" fmla="*/ 3552 h 10000"/>
                <a:gd name="connsiteX45" fmla="*/ 6597 w 10000"/>
                <a:gd name="connsiteY45" fmla="*/ 3488 h 10000"/>
                <a:gd name="connsiteX46" fmla="*/ 6597 w 10000"/>
                <a:gd name="connsiteY46" fmla="*/ 3428 h 10000"/>
                <a:gd name="connsiteX47" fmla="*/ 6590 w 10000"/>
                <a:gd name="connsiteY47" fmla="*/ 3364 h 10000"/>
                <a:gd name="connsiteX48" fmla="*/ 6597 w 10000"/>
                <a:gd name="connsiteY48" fmla="*/ 3304 h 10000"/>
                <a:gd name="connsiteX49" fmla="*/ 6605 w 10000"/>
                <a:gd name="connsiteY49" fmla="*/ 3236 h 10000"/>
                <a:gd name="connsiteX50" fmla="*/ 6605 w 10000"/>
                <a:gd name="connsiteY50" fmla="*/ 3171 h 10000"/>
                <a:gd name="connsiteX51" fmla="*/ 6612 w 10000"/>
                <a:gd name="connsiteY51" fmla="*/ 3106 h 10000"/>
                <a:gd name="connsiteX52" fmla="*/ 6620 w 10000"/>
                <a:gd name="connsiteY52" fmla="*/ 3042 h 10000"/>
                <a:gd name="connsiteX53" fmla="*/ 6635 w 10000"/>
                <a:gd name="connsiteY53" fmla="*/ 2983 h 10000"/>
                <a:gd name="connsiteX54" fmla="*/ 6649 w 10000"/>
                <a:gd name="connsiteY54" fmla="*/ 2919 h 10000"/>
                <a:gd name="connsiteX55" fmla="*/ 6664 w 10000"/>
                <a:gd name="connsiteY55" fmla="*/ 2859 h 10000"/>
                <a:gd name="connsiteX56" fmla="*/ 6686 w 10000"/>
                <a:gd name="connsiteY56" fmla="*/ 2795 h 10000"/>
                <a:gd name="connsiteX57" fmla="*/ 6709 w 10000"/>
                <a:gd name="connsiteY57" fmla="*/ 2735 h 10000"/>
                <a:gd name="connsiteX58" fmla="*/ 6731 w 10000"/>
                <a:gd name="connsiteY58" fmla="*/ 2676 h 10000"/>
                <a:gd name="connsiteX59" fmla="*/ 6753 w 10000"/>
                <a:gd name="connsiteY59" fmla="*/ 2611 h 10000"/>
                <a:gd name="connsiteX60" fmla="*/ 6783 w 10000"/>
                <a:gd name="connsiteY60" fmla="*/ 2556 h 10000"/>
                <a:gd name="connsiteX61" fmla="*/ 6812 w 10000"/>
                <a:gd name="connsiteY61" fmla="*/ 2496 h 10000"/>
                <a:gd name="connsiteX62" fmla="*/ 6842 w 10000"/>
                <a:gd name="connsiteY62" fmla="*/ 2436 h 10000"/>
                <a:gd name="connsiteX63" fmla="*/ 6879 w 10000"/>
                <a:gd name="connsiteY63" fmla="*/ 2377 h 10000"/>
                <a:gd name="connsiteX64" fmla="*/ 6909 w 10000"/>
                <a:gd name="connsiteY64" fmla="*/ 2322 h 10000"/>
                <a:gd name="connsiteX65" fmla="*/ 6946 w 10000"/>
                <a:gd name="connsiteY65" fmla="*/ 2262 h 10000"/>
                <a:gd name="connsiteX66" fmla="*/ 6990 w 10000"/>
                <a:gd name="connsiteY66" fmla="*/ 2207 h 10000"/>
                <a:gd name="connsiteX67" fmla="*/ 7027 w 10000"/>
                <a:gd name="connsiteY67" fmla="*/ 2152 h 10000"/>
                <a:gd name="connsiteX68" fmla="*/ 7072 w 10000"/>
                <a:gd name="connsiteY68" fmla="*/ 2097 h 10000"/>
                <a:gd name="connsiteX69" fmla="*/ 7109 w 10000"/>
                <a:gd name="connsiteY69" fmla="*/ 2042 h 10000"/>
                <a:gd name="connsiteX70" fmla="*/ 7161 w 10000"/>
                <a:gd name="connsiteY70" fmla="*/ 1992 h 10000"/>
                <a:gd name="connsiteX71" fmla="*/ 7213 w 10000"/>
                <a:gd name="connsiteY71" fmla="*/ 1937 h 10000"/>
                <a:gd name="connsiteX72" fmla="*/ 7257 w 10000"/>
                <a:gd name="connsiteY72" fmla="*/ 1882 h 10000"/>
                <a:gd name="connsiteX73" fmla="*/ 7309 w 10000"/>
                <a:gd name="connsiteY73" fmla="*/ 1831 h 10000"/>
                <a:gd name="connsiteX74" fmla="*/ 7361 w 10000"/>
                <a:gd name="connsiteY74" fmla="*/ 1780 h 10000"/>
                <a:gd name="connsiteX75" fmla="*/ 7413 w 10000"/>
                <a:gd name="connsiteY75" fmla="*/ 1730 h 10000"/>
                <a:gd name="connsiteX76" fmla="*/ 7472 w 10000"/>
                <a:gd name="connsiteY76" fmla="*/ 1679 h 10000"/>
                <a:gd name="connsiteX77" fmla="*/ 7524 w 10000"/>
                <a:gd name="connsiteY77" fmla="*/ 1633 h 10000"/>
                <a:gd name="connsiteX78" fmla="*/ 7583 w 10000"/>
                <a:gd name="connsiteY78" fmla="*/ 1587 h 10000"/>
                <a:gd name="connsiteX79" fmla="*/ 7610 w 10000"/>
                <a:gd name="connsiteY79" fmla="*/ 1558 h 10000"/>
                <a:gd name="connsiteX80" fmla="*/ 5390 w 10000"/>
                <a:gd name="connsiteY80" fmla="*/ 6 h 10000"/>
                <a:gd name="connsiteX81" fmla="*/ 1401 w 10000"/>
                <a:gd name="connsiteY81" fmla="*/ 0 h 10000"/>
                <a:gd name="connsiteX82" fmla="*/ 1305 w 10000"/>
                <a:gd name="connsiteY82" fmla="*/ 114 h 10000"/>
                <a:gd name="connsiteX83" fmla="*/ 1223 w 10000"/>
                <a:gd name="connsiteY83" fmla="*/ 206 h 10000"/>
                <a:gd name="connsiteX84" fmla="*/ 1149 w 10000"/>
                <a:gd name="connsiteY84" fmla="*/ 302 h 10000"/>
                <a:gd name="connsiteX85" fmla="*/ 1067 w 10000"/>
                <a:gd name="connsiteY85" fmla="*/ 399 h 10000"/>
                <a:gd name="connsiteX86" fmla="*/ 1001 w 10000"/>
                <a:gd name="connsiteY86" fmla="*/ 496 h 10000"/>
                <a:gd name="connsiteX87" fmla="*/ 927 w 10000"/>
                <a:gd name="connsiteY87" fmla="*/ 592 h 10000"/>
                <a:gd name="connsiteX88" fmla="*/ 860 w 10000"/>
                <a:gd name="connsiteY88" fmla="*/ 693 h 10000"/>
                <a:gd name="connsiteX89" fmla="*/ 793 w 10000"/>
                <a:gd name="connsiteY89" fmla="*/ 794 h 10000"/>
                <a:gd name="connsiteX90" fmla="*/ 734 w 10000"/>
                <a:gd name="connsiteY90" fmla="*/ 890 h 10000"/>
                <a:gd name="connsiteX91" fmla="*/ 675 w 10000"/>
                <a:gd name="connsiteY91" fmla="*/ 991 h 10000"/>
                <a:gd name="connsiteX92" fmla="*/ 615 w 10000"/>
                <a:gd name="connsiteY92" fmla="*/ 1092 h 10000"/>
                <a:gd name="connsiteX93" fmla="*/ 556 w 10000"/>
                <a:gd name="connsiteY93" fmla="*/ 1198 h 10000"/>
                <a:gd name="connsiteX94" fmla="*/ 504 w 10000"/>
                <a:gd name="connsiteY94" fmla="*/ 1294 h 10000"/>
                <a:gd name="connsiteX95" fmla="*/ 452 w 10000"/>
                <a:gd name="connsiteY95" fmla="*/ 1400 h 10000"/>
                <a:gd name="connsiteX96" fmla="*/ 408 w 10000"/>
                <a:gd name="connsiteY96" fmla="*/ 1500 h 10000"/>
                <a:gd name="connsiteX97" fmla="*/ 363 w 10000"/>
                <a:gd name="connsiteY97" fmla="*/ 1606 h 10000"/>
                <a:gd name="connsiteX98" fmla="*/ 319 w 10000"/>
                <a:gd name="connsiteY98" fmla="*/ 1711 h 10000"/>
                <a:gd name="connsiteX99" fmla="*/ 282 w 10000"/>
                <a:gd name="connsiteY99" fmla="*/ 1818 h 10000"/>
                <a:gd name="connsiteX100" fmla="*/ 237 w 10000"/>
                <a:gd name="connsiteY100" fmla="*/ 1928 h 10000"/>
                <a:gd name="connsiteX101" fmla="*/ 208 w 10000"/>
                <a:gd name="connsiteY101" fmla="*/ 2033 h 10000"/>
                <a:gd name="connsiteX102" fmla="*/ 170 w 10000"/>
                <a:gd name="connsiteY102" fmla="*/ 2143 h 10000"/>
                <a:gd name="connsiteX103" fmla="*/ 148 w 10000"/>
                <a:gd name="connsiteY103" fmla="*/ 2253 h 10000"/>
                <a:gd name="connsiteX104" fmla="*/ 119 w 10000"/>
                <a:gd name="connsiteY104" fmla="*/ 2358 h 10000"/>
                <a:gd name="connsiteX105" fmla="*/ 96 w 10000"/>
                <a:gd name="connsiteY105" fmla="*/ 2468 h 10000"/>
                <a:gd name="connsiteX106" fmla="*/ 74 w 10000"/>
                <a:gd name="connsiteY106" fmla="*/ 2579 h 10000"/>
                <a:gd name="connsiteX107" fmla="*/ 52 w 10000"/>
                <a:gd name="connsiteY107" fmla="*/ 2694 h 10000"/>
                <a:gd name="connsiteX108" fmla="*/ 37 w 10000"/>
                <a:gd name="connsiteY108" fmla="*/ 2804 h 10000"/>
                <a:gd name="connsiteX109" fmla="*/ 22 w 10000"/>
                <a:gd name="connsiteY109" fmla="*/ 2914 h 10000"/>
                <a:gd name="connsiteX110" fmla="*/ 15 w 10000"/>
                <a:gd name="connsiteY110" fmla="*/ 3024 h 10000"/>
                <a:gd name="connsiteX111" fmla="*/ 7 w 10000"/>
                <a:gd name="connsiteY111" fmla="*/ 3138 h 10000"/>
                <a:gd name="connsiteX112" fmla="*/ 0 w 10000"/>
                <a:gd name="connsiteY112" fmla="*/ 3249 h 10000"/>
                <a:gd name="connsiteX113" fmla="*/ 0 w 10000"/>
                <a:gd name="connsiteY113" fmla="*/ 3364 h 10000"/>
                <a:gd name="connsiteX114" fmla="*/ 7 w 10000"/>
                <a:gd name="connsiteY114" fmla="*/ 3511 h 10000"/>
                <a:gd name="connsiteX115" fmla="*/ 7 w 10000"/>
                <a:gd name="connsiteY115" fmla="*/ 3657 h 10000"/>
                <a:gd name="connsiteX116" fmla="*/ 22 w 10000"/>
                <a:gd name="connsiteY116" fmla="*/ 3795 h 10000"/>
                <a:gd name="connsiteX117" fmla="*/ 37 w 10000"/>
                <a:gd name="connsiteY117" fmla="*/ 3938 h 10000"/>
                <a:gd name="connsiteX118" fmla="*/ 59 w 10000"/>
                <a:gd name="connsiteY118" fmla="*/ 4080 h 10000"/>
                <a:gd name="connsiteX119" fmla="*/ 89 w 10000"/>
                <a:gd name="connsiteY119" fmla="*/ 4222 h 10000"/>
                <a:gd name="connsiteX120" fmla="*/ 119 w 10000"/>
                <a:gd name="connsiteY120" fmla="*/ 4364 h 10000"/>
                <a:gd name="connsiteX121" fmla="*/ 148 w 10000"/>
                <a:gd name="connsiteY121" fmla="*/ 4506 h 10000"/>
                <a:gd name="connsiteX122" fmla="*/ 193 w 10000"/>
                <a:gd name="connsiteY122" fmla="*/ 4645 h 10000"/>
                <a:gd name="connsiteX123" fmla="*/ 237 w 10000"/>
                <a:gd name="connsiteY123" fmla="*/ 4782 h 10000"/>
                <a:gd name="connsiteX124" fmla="*/ 282 w 10000"/>
                <a:gd name="connsiteY124" fmla="*/ 4920 h 10000"/>
                <a:gd name="connsiteX125" fmla="*/ 334 w 10000"/>
                <a:gd name="connsiteY125" fmla="*/ 5057 h 10000"/>
                <a:gd name="connsiteX126" fmla="*/ 393 w 10000"/>
                <a:gd name="connsiteY126" fmla="*/ 5190 h 10000"/>
                <a:gd name="connsiteX127" fmla="*/ 452 w 10000"/>
                <a:gd name="connsiteY127" fmla="*/ 5323 h 10000"/>
                <a:gd name="connsiteX128" fmla="*/ 519 w 10000"/>
                <a:gd name="connsiteY128" fmla="*/ 5457 h 10000"/>
                <a:gd name="connsiteX129" fmla="*/ 586 w 10000"/>
                <a:gd name="connsiteY129" fmla="*/ 5590 h 10000"/>
                <a:gd name="connsiteX130" fmla="*/ 660 w 10000"/>
                <a:gd name="connsiteY130" fmla="*/ 5718 h 10000"/>
                <a:gd name="connsiteX131" fmla="*/ 741 w 10000"/>
                <a:gd name="connsiteY131" fmla="*/ 5846 h 10000"/>
                <a:gd name="connsiteX132" fmla="*/ 823 w 10000"/>
                <a:gd name="connsiteY132" fmla="*/ 5979 h 10000"/>
                <a:gd name="connsiteX133" fmla="*/ 904 w 10000"/>
                <a:gd name="connsiteY133" fmla="*/ 6104 h 10000"/>
                <a:gd name="connsiteX134" fmla="*/ 993 w 10000"/>
                <a:gd name="connsiteY134" fmla="*/ 6228 h 10000"/>
                <a:gd name="connsiteX135" fmla="*/ 1090 w 10000"/>
                <a:gd name="connsiteY135" fmla="*/ 6347 h 10000"/>
                <a:gd name="connsiteX136" fmla="*/ 1186 w 10000"/>
                <a:gd name="connsiteY136" fmla="*/ 6471 h 10000"/>
                <a:gd name="connsiteX137" fmla="*/ 1290 w 10000"/>
                <a:gd name="connsiteY137" fmla="*/ 6594 h 10000"/>
                <a:gd name="connsiteX138" fmla="*/ 1386 w 10000"/>
                <a:gd name="connsiteY138" fmla="*/ 6714 h 10000"/>
                <a:gd name="connsiteX139" fmla="*/ 1497 w 10000"/>
                <a:gd name="connsiteY139" fmla="*/ 6834 h 10000"/>
                <a:gd name="connsiteX140" fmla="*/ 1609 w 10000"/>
                <a:gd name="connsiteY140" fmla="*/ 6948 h 10000"/>
                <a:gd name="connsiteX141" fmla="*/ 1727 w 10000"/>
                <a:gd name="connsiteY141" fmla="*/ 7067 h 10000"/>
                <a:gd name="connsiteX142" fmla="*/ 1846 w 10000"/>
                <a:gd name="connsiteY142" fmla="*/ 7182 h 10000"/>
                <a:gd name="connsiteX143" fmla="*/ 1964 w 10000"/>
                <a:gd name="connsiteY143" fmla="*/ 7292 h 10000"/>
                <a:gd name="connsiteX144" fmla="*/ 2090 w 10000"/>
                <a:gd name="connsiteY144" fmla="*/ 7402 h 10000"/>
                <a:gd name="connsiteX145" fmla="*/ 2224 w 10000"/>
                <a:gd name="connsiteY145" fmla="*/ 7513 h 10000"/>
                <a:gd name="connsiteX146" fmla="*/ 2350 w 10000"/>
                <a:gd name="connsiteY146" fmla="*/ 7623 h 10000"/>
                <a:gd name="connsiteX147" fmla="*/ 2491 w 10000"/>
                <a:gd name="connsiteY147" fmla="*/ 7728 h 10000"/>
                <a:gd name="connsiteX148" fmla="*/ 2617 w 10000"/>
                <a:gd name="connsiteY148" fmla="*/ 7834 h 10000"/>
                <a:gd name="connsiteX149" fmla="*/ 2765 w 10000"/>
                <a:gd name="connsiteY149" fmla="*/ 7935 h 10000"/>
                <a:gd name="connsiteX150" fmla="*/ 2906 w 10000"/>
                <a:gd name="connsiteY150" fmla="*/ 8035 h 10000"/>
                <a:gd name="connsiteX151" fmla="*/ 3054 w 10000"/>
                <a:gd name="connsiteY151" fmla="*/ 8136 h 10000"/>
                <a:gd name="connsiteX152" fmla="*/ 3210 w 10000"/>
                <a:gd name="connsiteY152" fmla="*/ 8234 h 10000"/>
                <a:gd name="connsiteX153" fmla="*/ 3358 w 10000"/>
                <a:gd name="connsiteY153" fmla="*/ 8330 h 10000"/>
                <a:gd name="connsiteX154" fmla="*/ 3514 w 10000"/>
                <a:gd name="connsiteY154" fmla="*/ 8426 h 10000"/>
                <a:gd name="connsiteX155" fmla="*/ 3677 w 10000"/>
                <a:gd name="connsiteY155" fmla="*/ 8518 h 10000"/>
                <a:gd name="connsiteX156" fmla="*/ 3840 w 10000"/>
                <a:gd name="connsiteY156" fmla="*/ 8605 h 10000"/>
                <a:gd name="connsiteX157" fmla="*/ 4010 w 10000"/>
                <a:gd name="connsiteY157" fmla="*/ 8696 h 10000"/>
                <a:gd name="connsiteX158" fmla="*/ 4181 w 10000"/>
                <a:gd name="connsiteY158" fmla="*/ 8774 h 10000"/>
                <a:gd name="connsiteX159" fmla="*/ 4351 w 10000"/>
                <a:gd name="connsiteY159" fmla="*/ 8861 h 10000"/>
                <a:gd name="connsiteX160" fmla="*/ 4522 w 10000"/>
                <a:gd name="connsiteY160" fmla="*/ 8940 h 10000"/>
                <a:gd name="connsiteX161" fmla="*/ 4700 w 10000"/>
                <a:gd name="connsiteY161" fmla="*/ 9023 h 10000"/>
                <a:gd name="connsiteX162" fmla="*/ 4878 w 10000"/>
                <a:gd name="connsiteY162" fmla="*/ 9101 h 10000"/>
                <a:gd name="connsiteX163" fmla="*/ 5063 w 10000"/>
                <a:gd name="connsiteY163" fmla="*/ 9174 h 10000"/>
                <a:gd name="connsiteX164" fmla="*/ 5248 w 10000"/>
                <a:gd name="connsiteY164" fmla="*/ 9252 h 10000"/>
                <a:gd name="connsiteX165" fmla="*/ 5426 w 10000"/>
                <a:gd name="connsiteY165" fmla="*/ 9321 h 10000"/>
                <a:gd name="connsiteX166" fmla="*/ 5619 w 10000"/>
                <a:gd name="connsiteY166" fmla="*/ 9389 h 10000"/>
                <a:gd name="connsiteX167" fmla="*/ 5812 w 10000"/>
                <a:gd name="connsiteY167" fmla="*/ 9458 h 10000"/>
                <a:gd name="connsiteX168" fmla="*/ 6004 w 10000"/>
                <a:gd name="connsiteY168" fmla="*/ 9522 h 10000"/>
                <a:gd name="connsiteX169" fmla="*/ 6205 w 10000"/>
                <a:gd name="connsiteY169" fmla="*/ 9587 h 10000"/>
                <a:gd name="connsiteX170" fmla="*/ 6397 w 10000"/>
                <a:gd name="connsiteY170" fmla="*/ 9647 h 10000"/>
                <a:gd name="connsiteX171" fmla="*/ 6605 w 10000"/>
                <a:gd name="connsiteY171" fmla="*/ 9702 h 10000"/>
                <a:gd name="connsiteX172" fmla="*/ 6805 w 10000"/>
                <a:gd name="connsiteY172" fmla="*/ 9757 h 10000"/>
                <a:gd name="connsiteX173" fmla="*/ 7005 w 10000"/>
                <a:gd name="connsiteY173" fmla="*/ 9812 h 10000"/>
                <a:gd name="connsiteX174" fmla="*/ 7213 w 10000"/>
                <a:gd name="connsiteY174" fmla="*/ 9863 h 10000"/>
                <a:gd name="connsiteX175" fmla="*/ 7420 w 10000"/>
                <a:gd name="connsiteY175" fmla="*/ 9908 h 10000"/>
                <a:gd name="connsiteX176" fmla="*/ 7628 w 10000"/>
                <a:gd name="connsiteY176" fmla="*/ 9954 h 10000"/>
                <a:gd name="connsiteX177" fmla="*/ 7835 w 10000"/>
                <a:gd name="connsiteY177" fmla="*/ 10000 h 10000"/>
                <a:gd name="connsiteX178" fmla="*/ 7539 w 10000"/>
                <a:gd name="connsiteY178" fmla="*/ 7751 h 10000"/>
                <a:gd name="connsiteX179" fmla="*/ 10000 w 10000"/>
                <a:gd name="connsiteY179" fmla="*/ 6136 h 10000"/>
                <a:gd name="connsiteX0" fmla="*/ 10000 w 10000"/>
                <a:gd name="connsiteY0" fmla="*/ 6151 h 10015"/>
                <a:gd name="connsiteX1" fmla="*/ 10000 w 10000"/>
                <a:gd name="connsiteY1" fmla="*/ 6151 h 10015"/>
                <a:gd name="connsiteX2" fmla="*/ 9911 w 10000"/>
                <a:gd name="connsiteY2" fmla="*/ 6137 h 10015"/>
                <a:gd name="connsiteX3" fmla="*/ 9815 w 10000"/>
                <a:gd name="connsiteY3" fmla="*/ 6119 h 10015"/>
                <a:gd name="connsiteX4" fmla="*/ 9726 w 10000"/>
                <a:gd name="connsiteY4" fmla="*/ 6101 h 10015"/>
                <a:gd name="connsiteX5" fmla="*/ 9637 w 10000"/>
                <a:gd name="connsiteY5" fmla="*/ 6077 h 10015"/>
                <a:gd name="connsiteX6" fmla="*/ 9548 w 10000"/>
                <a:gd name="connsiteY6" fmla="*/ 6058 h 10015"/>
                <a:gd name="connsiteX7" fmla="*/ 9466 w 10000"/>
                <a:gd name="connsiteY7" fmla="*/ 6036 h 10015"/>
                <a:gd name="connsiteX8" fmla="*/ 9377 w 10000"/>
                <a:gd name="connsiteY8" fmla="*/ 6013 h 10015"/>
                <a:gd name="connsiteX9" fmla="*/ 9288 w 10000"/>
                <a:gd name="connsiteY9" fmla="*/ 5990 h 10015"/>
                <a:gd name="connsiteX10" fmla="*/ 9118 w 10000"/>
                <a:gd name="connsiteY10" fmla="*/ 5939 h 10015"/>
                <a:gd name="connsiteX11" fmla="*/ 8955 w 10000"/>
                <a:gd name="connsiteY11" fmla="*/ 5884 h 10015"/>
                <a:gd name="connsiteX12" fmla="*/ 8792 w 10000"/>
                <a:gd name="connsiteY12" fmla="*/ 5825 h 10015"/>
                <a:gd name="connsiteX13" fmla="*/ 8636 w 10000"/>
                <a:gd name="connsiteY13" fmla="*/ 5761 h 10015"/>
                <a:gd name="connsiteX14" fmla="*/ 8480 w 10000"/>
                <a:gd name="connsiteY14" fmla="*/ 5696 h 10015"/>
                <a:gd name="connsiteX15" fmla="*/ 8340 w 10000"/>
                <a:gd name="connsiteY15" fmla="*/ 5628 h 10015"/>
                <a:gd name="connsiteX16" fmla="*/ 8199 w 10000"/>
                <a:gd name="connsiteY16" fmla="*/ 5554 h 10015"/>
                <a:gd name="connsiteX17" fmla="*/ 8058 w 10000"/>
                <a:gd name="connsiteY17" fmla="*/ 5476 h 10015"/>
                <a:gd name="connsiteX18" fmla="*/ 7924 w 10000"/>
                <a:gd name="connsiteY18" fmla="*/ 5394 h 10015"/>
                <a:gd name="connsiteX19" fmla="*/ 7798 w 10000"/>
                <a:gd name="connsiteY19" fmla="*/ 5310 h 10015"/>
                <a:gd name="connsiteX20" fmla="*/ 7672 w 10000"/>
                <a:gd name="connsiteY20" fmla="*/ 5223 h 10015"/>
                <a:gd name="connsiteX21" fmla="*/ 7554 w 10000"/>
                <a:gd name="connsiteY21" fmla="*/ 5136 h 10015"/>
                <a:gd name="connsiteX22" fmla="*/ 7450 w 10000"/>
                <a:gd name="connsiteY22" fmla="*/ 5040 h 10015"/>
                <a:gd name="connsiteX23" fmla="*/ 7346 w 10000"/>
                <a:gd name="connsiteY23" fmla="*/ 4944 h 10015"/>
                <a:gd name="connsiteX24" fmla="*/ 7250 w 10000"/>
                <a:gd name="connsiteY24" fmla="*/ 4848 h 10015"/>
                <a:gd name="connsiteX25" fmla="*/ 7161 w 10000"/>
                <a:gd name="connsiteY25" fmla="*/ 4747 h 10015"/>
                <a:gd name="connsiteX26" fmla="*/ 7072 w 10000"/>
                <a:gd name="connsiteY26" fmla="*/ 4645 h 10015"/>
                <a:gd name="connsiteX27" fmla="*/ 6990 w 10000"/>
                <a:gd name="connsiteY27" fmla="*/ 4535 h 10015"/>
                <a:gd name="connsiteX28" fmla="*/ 6953 w 10000"/>
                <a:gd name="connsiteY28" fmla="*/ 4485 h 10015"/>
                <a:gd name="connsiteX29" fmla="*/ 6916 w 10000"/>
                <a:gd name="connsiteY29" fmla="*/ 4430 h 10015"/>
                <a:gd name="connsiteX30" fmla="*/ 6887 w 10000"/>
                <a:gd name="connsiteY30" fmla="*/ 4375 h 10015"/>
                <a:gd name="connsiteX31" fmla="*/ 6850 w 10000"/>
                <a:gd name="connsiteY31" fmla="*/ 4320 h 10015"/>
                <a:gd name="connsiteX32" fmla="*/ 6820 w 10000"/>
                <a:gd name="connsiteY32" fmla="*/ 4265 h 10015"/>
                <a:gd name="connsiteX33" fmla="*/ 6790 w 10000"/>
                <a:gd name="connsiteY33" fmla="*/ 4210 h 10015"/>
                <a:gd name="connsiteX34" fmla="*/ 6768 w 10000"/>
                <a:gd name="connsiteY34" fmla="*/ 4150 h 10015"/>
                <a:gd name="connsiteX35" fmla="*/ 6738 w 10000"/>
                <a:gd name="connsiteY35" fmla="*/ 4095 h 10015"/>
                <a:gd name="connsiteX36" fmla="*/ 6723 w 10000"/>
                <a:gd name="connsiteY36" fmla="*/ 4035 h 10015"/>
                <a:gd name="connsiteX37" fmla="*/ 6694 w 10000"/>
                <a:gd name="connsiteY37" fmla="*/ 3980 h 10015"/>
                <a:gd name="connsiteX38" fmla="*/ 6679 w 10000"/>
                <a:gd name="connsiteY38" fmla="*/ 3920 h 10015"/>
                <a:gd name="connsiteX39" fmla="*/ 6664 w 10000"/>
                <a:gd name="connsiteY39" fmla="*/ 3860 h 10015"/>
                <a:gd name="connsiteX40" fmla="*/ 6649 w 10000"/>
                <a:gd name="connsiteY40" fmla="*/ 3801 h 10015"/>
                <a:gd name="connsiteX41" fmla="*/ 6635 w 10000"/>
                <a:gd name="connsiteY41" fmla="*/ 3746 h 10015"/>
                <a:gd name="connsiteX42" fmla="*/ 6620 w 10000"/>
                <a:gd name="connsiteY42" fmla="*/ 3686 h 10015"/>
                <a:gd name="connsiteX43" fmla="*/ 6612 w 10000"/>
                <a:gd name="connsiteY43" fmla="*/ 3627 h 10015"/>
                <a:gd name="connsiteX44" fmla="*/ 6605 w 10000"/>
                <a:gd name="connsiteY44" fmla="*/ 3567 h 10015"/>
                <a:gd name="connsiteX45" fmla="*/ 6597 w 10000"/>
                <a:gd name="connsiteY45" fmla="*/ 3503 h 10015"/>
                <a:gd name="connsiteX46" fmla="*/ 6597 w 10000"/>
                <a:gd name="connsiteY46" fmla="*/ 3443 h 10015"/>
                <a:gd name="connsiteX47" fmla="*/ 6590 w 10000"/>
                <a:gd name="connsiteY47" fmla="*/ 3379 h 10015"/>
                <a:gd name="connsiteX48" fmla="*/ 6597 w 10000"/>
                <a:gd name="connsiteY48" fmla="*/ 3319 h 10015"/>
                <a:gd name="connsiteX49" fmla="*/ 6605 w 10000"/>
                <a:gd name="connsiteY49" fmla="*/ 3251 h 10015"/>
                <a:gd name="connsiteX50" fmla="*/ 6605 w 10000"/>
                <a:gd name="connsiteY50" fmla="*/ 3186 h 10015"/>
                <a:gd name="connsiteX51" fmla="*/ 6612 w 10000"/>
                <a:gd name="connsiteY51" fmla="*/ 3121 h 10015"/>
                <a:gd name="connsiteX52" fmla="*/ 6620 w 10000"/>
                <a:gd name="connsiteY52" fmla="*/ 3057 h 10015"/>
                <a:gd name="connsiteX53" fmla="*/ 6635 w 10000"/>
                <a:gd name="connsiteY53" fmla="*/ 2998 h 10015"/>
                <a:gd name="connsiteX54" fmla="*/ 6649 w 10000"/>
                <a:gd name="connsiteY54" fmla="*/ 2934 h 10015"/>
                <a:gd name="connsiteX55" fmla="*/ 6664 w 10000"/>
                <a:gd name="connsiteY55" fmla="*/ 2874 h 10015"/>
                <a:gd name="connsiteX56" fmla="*/ 6686 w 10000"/>
                <a:gd name="connsiteY56" fmla="*/ 2810 h 10015"/>
                <a:gd name="connsiteX57" fmla="*/ 6709 w 10000"/>
                <a:gd name="connsiteY57" fmla="*/ 2750 h 10015"/>
                <a:gd name="connsiteX58" fmla="*/ 6731 w 10000"/>
                <a:gd name="connsiteY58" fmla="*/ 2691 h 10015"/>
                <a:gd name="connsiteX59" fmla="*/ 6753 w 10000"/>
                <a:gd name="connsiteY59" fmla="*/ 2626 h 10015"/>
                <a:gd name="connsiteX60" fmla="*/ 6783 w 10000"/>
                <a:gd name="connsiteY60" fmla="*/ 2571 h 10015"/>
                <a:gd name="connsiteX61" fmla="*/ 6812 w 10000"/>
                <a:gd name="connsiteY61" fmla="*/ 2511 h 10015"/>
                <a:gd name="connsiteX62" fmla="*/ 6842 w 10000"/>
                <a:gd name="connsiteY62" fmla="*/ 2451 h 10015"/>
                <a:gd name="connsiteX63" fmla="*/ 6879 w 10000"/>
                <a:gd name="connsiteY63" fmla="*/ 2392 h 10015"/>
                <a:gd name="connsiteX64" fmla="*/ 6909 w 10000"/>
                <a:gd name="connsiteY64" fmla="*/ 2337 h 10015"/>
                <a:gd name="connsiteX65" fmla="*/ 6946 w 10000"/>
                <a:gd name="connsiteY65" fmla="*/ 2277 h 10015"/>
                <a:gd name="connsiteX66" fmla="*/ 6990 w 10000"/>
                <a:gd name="connsiteY66" fmla="*/ 2222 h 10015"/>
                <a:gd name="connsiteX67" fmla="*/ 7027 w 10000"/>
                <a:gd name="connsiteY67" fmla="*/ 2167 h 10015"/>
                <a:gd name="connsiteX68" fmla="*/ 7072 w 10000"/>
                <a:gd name="connsiteY68" fmla="*/ 2112 h 10015"/>
                <a:gd name="connsiteX69" fmla="*/ 7109 w 10000"/>
                <a:gd name="connsiteY69" fmla="*/ 2057 h 10015"/>
                <a:gd name="connsiteX70" fmla="*/ 7161 w 10000"/>
                <a:gd name="connsiteY70" fmla="*/ 2007 h 10015"/>
                <a:gd name="connsiteX71" fmla="*/ 7213 w 10000"/>
                <a:gd name="connsiteY71" fmla="*/ 1952 h 10015"/>
                <a:gd name="connsiteX72" fmla="*/ 7257 w 10000"/>
                <a:gd name="connsiteY72" fmla="*/ 1897 h 10015"/>
                <a:gd name="connsiteX73" fmla="*/ 7309 w 10000"/>
                <a:gd name="connsiteY73" fmla="*/ 1846 h 10015"/>
                <a:gd name="connsiteX74" fmla="*/ 7361 w 10000"/>
                <a:gd name="connsiteY74" fmla="*/ 1795 h 10015"/>
                <a:gd name="connsiteX75" fmla="*/ 7413 w 10000"/>
                <a:gd name="connsiteY75" fmla="*/ 1745 h 10015"/>
                <a:gd name="connsiteX76" fmla="*/ 7472 w 10000"/>
                <a:gd name="connsiteY76" fmla="*/ 1694 h 10015"/>
                <a:gd name="connsiteX77" fmla="*/ 7524 w 10000"/>
                <a:gd name="connsiteY77" fmla="*/ 1648 h 10015"/>
                <a:gd name="connsiteX78" fmla="*/ 7583 w 10000"/>
                <a:gd name="connsiteY78" fmla="*/ 1602 h 10015"/>
                <a:gd name="connsiteX79" fmla="*/ 7610 w 10000"/>
                <a:gd name="connsiteY79" fmla="*/ 1573 h 10015"/>
                <a:gd name="connsiteX80" fmla="*/ 5390 w 10000"/>
                <a:gd name="connsiteY80" fmla="*/ 0 h 10015"/>
                <a:gd name="connsiteX81" fmla="*/ 1401 w 10000"/>
                <a:gd name="connsiteY81" fmla="*/ 15 h 10015"/>
                <a:gd name="connsiteX82" fmla="*/ 1305 w 10000"/>
                <a:gd name="connsiteY82" fmla="*/ 129 h 10015"/>
                <a:gd name="connsiteX83" fmla="*/ 1223 w 10000"/>
                <a:gd name="connsiteY83" fmla="*/ 221 h 10015"/>
                <a:gd name="connsiteX84" fmla="*/ 1149 w 10000"/>
                <a:gd name="connsiteY84" fmla="*/ 317 h 10015"/>
                <a:gd name="connsiteX85" fmla="*/ 1067 w 10000"/>
                <a:gd name="connsiteY85" fmla="*/ 414 h 10015"/>
                <a:gd name="connsiteX86" fmla="*/ 1001 w 10000"/>
                <a:gd name="connsiteY86" fmla="*/ 511 h 10015"/>
                <a:gd name="connsiteX87" fmla="*/ 927 w 10000"/>
                <a:gd name="connsiteY87" fmla="*/ 607 h 10015"/>
                <a:gd name="connsiteX88" fmla="*/ 860 w 10000"/>
                <a:gd name="connsiteY88" fmla="*/ 708 h 10015"/>
                <a:gd name="connsiteX89" fmla="*/ 793 w 10000"/>
                <a:gd name="connsiteY89" fmla="*/ 809 h 10015"/>
                <a:gd name="connsiteX90" fmla="*/ 734 w 10000"/>
                <a:gd name="connsiteY90" fmla="*/ 905 h 10015"/>
                <a:gd name="connsiteX91" fmla="*/ 675 w 10000"/>
                <a:gd name="connsiteY91" fmla="*/ 1006 h 10015"/>
                <a:gd name="connsiteX92" fmla="*/ 615 w 10000"/>
                <a:gd name="connsiteY92" fmla="*/ 1107 h 10015"/>
                <a:gd name="connsiteX93" fmla="*/ 556 w 10000"/>
                <a:gd name="connsiteY93" fmla="*/ 1213 h 10015"/>
                <a:gd name="connsiteX94" fmla="*/ 504 w 10000"/>
                <a:gd name="connsiteY94" fmla="*/ 1309 h 10015"/>
                <a:gd name="connsiteX95" fmla="*/ 452 w 10000"/>
                <a:gd name="connsiteY95" fmla="*/ 1415 h 10015"/>
                <a:gd name="connsiteX96" fmla="*/ 408 w 10000"/>
                <a:gd name="connsiteY96" fmla="*/ 1515 h 10015"/>
                <a:gd name="connsiteX97" fmla="*/ 363 w 10000"/>
                <a:gd name="connsiteY97" fmla="*/ 1621 h 10015"/>
                <a:gd name="connsiteX98" fmla="*/ 319 w 10000"/>
                <a:gd name="connsiteY98" fmla="*/ 1726 h 10015"/>
                <a:gd name="connsiteX99" fmla="*/ 282 w 10000"/>
                <a:gd name="connsiteY99" fmla="*/ 1833 h 10015"/>
                <a:gd name="connsiteX100" fmla="*/ 237 w 10000"/>
                <a:gd name="connsiteY100" fmla="*/ 1943 h 10015"/>
                <a:gd name="connsiteX101" fmla="*/ 208 w 10000"/>
                <a:gd name="connsiteY101" fmla="*/ 2048 h 10015"/>
                <a:gd name="connsiteX102" fmla="*/ 170 w 10000"/>
                <a:gd name="connsiteY102" fmla="*/ 2158 h 10015"/>
                <a:gd name="connsiteX103" fmla="*/ 148 w 10000"/>
                <a:gd name="connsiteY103" fmla="*/ 2268 h 10015"/>
                <a:gd name="connsiteX104" fmla="*/ 119 w 10000"/>
                <a:gd name="connsiteY104" fmla="*/ 2373 h 10015"/>
                <a:gd name="connsiteX105" fmla="*/ 96 w 10000"/>
                <a:gd name="connsiteY105" fmla="*/ 2483 h 10015"/>
                <a:gd name="connsiteX106" fmla="*/ 74 w 10000"/>
                <a:gd name="connsiteY106" fmla="*/ 2594 h 10015"/>
                <a:gd name="connsiteX107" fmla="*/ 52 w 10000"/>
                <a:gd name="connsiteY107" fmla="*/ 2709 h 10015"/>
                <a:gd name="connsiteX108" fmla="*/ 37 w 10000"/>
                <a:gd name="connsiteY108" fmla="*/ 2819 h 10015"/>
                <a:gd name="connsiteX109" fmla="*/ 22 w 10000"/>
                <a:gd name="connsiteY109" fmla="*/ 2929 h 10015"/>
                <a:gd name="connsiteX110" fmla="*/ 15 w 10000"/>
                <a:gd name="connsiteY110" fmla="*/ 3039 h 10015"/>
                <a:gd name="connsiteX111" fmla="*/ 7 w 10000"/>
                <a:gd name="connsiteY111" fmla="*/ 3153 h 10015"/>
                <a:gd name="connsiteX112" fmla="*/ 0 w 10000"/>
                <a:gd name="connsiteY112" fmla="*/ 3264 h 10015"/>
                <a:gd name="connsiteX113" fmla="*/ 0 w 10000"/>
                <a:gd name="connsiteY113" fmla="*/ 3379 h 10015"/>
                <a:gd name="connsiteX114" fmla="*/ 7 w 10000"/>
                <a:gd name="connsiteY114" fmla="*/ 3526 h 10015"/>
                <a:gd name="connsiteX115" fmla="*/ 7 w 10000"/>
                <a:gd name="connsiteY115" fmla="*/ 3672 h 10015"/>
                <a:gd name="connsiteX116" fmla="*/ 22 w 10000"/>
                <a:gd name="connsiteY116" fmla="*/ 3810 h 10015"/>
                <a:gd name="connsiteX117" fmla="*/ 37 w 10000"/>
                <a:gd name="connsiteY117" fmla="*/ 3953 h 10015"/>
                <a:gd name="connsiteX118" fmla="*/ 59 w 10000"/>
                <a:gd name="connsiteY118" fmla="*/ 4095 h 10015"/>
                <a:gd name="connsiteX119" fmla="*/ 89 w 10000"/>
                <a:gd name="connsiteY119" fmla="*/ 4237 h 10015"/>
                <a:gd name="connsiteX120" fmla="*/ 119 w 10000"/>
                <a:gd name="connsiteY120" fmla="*/ 4379 h 10015"/>
                <a:gd name="connsiteX121" fmla="*/ 148 w 10000"/>
                <a:gd name="connsiteY121" fmla="*/ 4521 h 10015"/>
                <a:gd name="connsiteX122" fmla="*/ 193 w 10000"/>
                <a:gd name="connsiteY122" fmla="*/ 4660 h 10015"/>
                <a:gd name="connsiteX123" fmla="*/ 237 w 10000"/>
                <a:gd name="connsiteY123" fmla="*/ 4797 h 10015"/>
                <a:gd name="connsiteX124" fmla="*/ 282 w 10000"/>
                <a:gd name="connsiteY124" fmla="*/ 4935 h 10015"/>
                <a:gd name="connsiteX125" fmla="*/ 334 w 10000"/>
                <a:gd name="connsiteY125" fmla="*/ 5072 h 10015"/>
                <a:gd name="connsiteX126" fmla="*/ 393 w 10000"/>
                <a:gd name="connsiteY126" fmla="*/ 5205 h 10015"/>
                <a:gd name="connsiteX127" fmla="*/ 452 w 10000"/>
                <a:gd name="connsiteY127" fmla="*/ 5338 h 10015"/>
                <a:gd name="connsiteX128" fmla="*/ 519 w 10000"/>
                <a:gd name="connsiteY128" fmla="*/ 5472 h 10015"/>
                <a:gd name="connsiteX129" fmla="*/ 586 w 10000"/>
                <a:gd name="connsiteY129" fmla="*/ 5605 h 10015"/>
                <a:gd name="connsiteX130" fmla="*/ 660 w 10000"/>
                <a:gd name="connsiteY130" fmla="*/ 5733 h 10015"/>
                <a:gd name="connsiteX131" fmla="*/ 741 w 10000"/>
                <a:gd name="connsiteY131" fmla="*/ 5861 h 10015"/>
                <a:gd name="connsiteX132" fmla="*/ 823 w 10000"/>
                <a:gd name="connsiteY132" fmla="*/ 5994 h 10015"/>
                <a:gd name="connsiteX133" fmla="*/ 904 w 10000"/>
                <a:gd name="connsiteY133" fmla="*/ 6119 h 10015"/>
                <a:gd name="connsiteX134" fmla="*/ 993 w 10000"/>
                <a:gd name="connsiteY134" fmla="*/ 6243 h 10015"/>
                <a:gd name="connsiteX135" fmla="*/ 1090 w 10000"/>
                <a:gd name="connsiteY135" fmla="*/ 6362 h 10015"/>
                <a:gd name="connsiteX136" fmla="*/ 1186 w 10000"/>
                <a:gd name="connsiteY136" fmla="*/ 6486 h 10015"/>
                <a:gd name="connsiteX137" fmla="*/ 1290 w 10000"/>
                <a:gd name="connsiteY137" fmla="*/ 6609 h 10015"/>
                <a:gd name="connsiteX138" fmla="*/ 1386 w 10000"/>
                <a:gd name="connsiteY138" fmla="*/ 6729 h 10015"/>
                <a:gd name="connsiteX139" fmla="*/ 1497 w 10000"/>
                <a:gd name="connsiteY139" fmla="*/ 6849 h 10015"/>
                <a:gd name="connsiteX140" fmla="*/ 1609 w 10000"/>
                <a:gd name="connsiteY140" fmla="*/ 6963 h 10015"/>
                <a:gd name="connsiteX141" fmla="*/ 1727 w 10000"/>
                <a:gd name="connsiteY141" fmla="*/ 7082 h 10015"/>
                <a:gd name="connsiteX142" fmla="*/ 1846 w 10000"/>
                <a:gd name="connsiteY142" fmla="*/ 7197 h 10015"/>
                <a:gd name="connsiteX143" fmla="*/ 1964 w 10000"/>
                <a:gd name="connsiteY143" fmla="*/ 7307 h 10015"/>
                <a:gd name="connsiteX144" fmla="*/ 2090 w 10000"/>
                <a:gd name="connsiteY144" fmla="*/ 7417 h 10015"/>
                <a:gd name="connsiteX145" fmla="*/ 2224 w 10000"/>
                <a:gd name="connsiteY145" fmla="*/ 7528 h 10015"/>
                <a:gd name="connsiteX146" fmla="*/ 2350 w 10000"/>
                <a:gd name="connsiteY146" fmla="*/ 7638 h 10015"/>
                <a:gd name="connsiteX147" fmla="*/ 2491 w 10000"/>
                <a:gd name="connsiteY147" fmla="*/ 7743 h 10015"/>
                <a:gd name="connsiteX148" fmla="*/ 2617 w 10000"/>
                <a:gd name="connsiteY148" fmla="*/ 7849 h 10015"/>
                <a:gd name="connsiteX149" fmla="*/ 2765 w 10000"/>
                <a:gd name="connsiteY149" fmla="*/ 7950 h 10015"/>
                <a:gd name="connsiteX150" fmla="*/ 2906 w 10000"/>
                <a:gd name="connsiteY150" fmla="*/ 8050 h 10015"/>
                <a:gd name="connsiteX151" fmla="*/ 3054 w 10000"/>
                <a:gd name="connsiteY151" fmla="*/ 8151 h 10015"/>
                <a:gd name="connsiteX152" fmla="*/ 3210 w 10000"/>
                <a:gd name="connsiteY152" fmla="*/ 8249 h 10015"/>
                <a:gd name="connsiteX153" fmla="*/ 3358 w 10000"/>
                <a:gd name="connsiteY153" fmla="*/ 8345 h 10015"/>
                <a:gd name="connsiteX154" fmla="*/ 3514 w 10000"/>
                <a:gd name="connsiteY154" fmla="*/ 8441 h 10015"/>
                <a:gd name="connsiteX155" fmla="*/ 3677 w 10000"/>
                <a:gd name="connsiteY155" fmla="*/ 8533 h 10015"/>
                <a:gd name="connsiteX156" fmla="*/ 3840 w 10000"/>
                <a:gd name="connsiteY156" fmla="*/ 8620 h 10015"/>
                <a:gd name="connsiteX157" fmla="*/ 4010 w 10000"/>
                <a:gd name="connsiteY157" fmla="*/ 8711 h 10015"/>
                <a:gd name="connsiteX158" fmla="*/ 4181 w 10000"/>
                <a:gd name="connsiteY158" fmla="*/ 8789 h 10015"/>
                <a:gd name="connsiteX159" fmla="*/ 4351 w 10000"/>
                <a:gd name="connsiteY159" fmla="*/ 8876 h 10015"/>
                <a:gd name="connsiteX160" fmla="*/ 4522 w 10000"/>
                <a:gd name="connsiteY160" fmla="*/ 8955 h 10015"/>
                <a:gd name="connsiteX161" fmla="*/ 4700 w 10000"/>
                <a:gd name="connsiteY161" fmla="*/ 9038 h 10015"/>
                <a:gd name="connsiteX162" fmla="*/ 4878 w 10000"/>
                <a:gd name="connsiteY162" fmla="*/ 9116 h 10015"/>
                <a:gd name="connsiteX163" fmla="*/ 5063 w 10000"/>
                <a:gd name="connsiteY163" fmla="*/ 9189 h 10015"/>
                <a:gd name="connsiteX164" fmla="*/ 5248 w 10000"/>
                <a:gd name="connsiteY164" fmla="*/ 9267 h 10015"/>
                <a:gd name="connsiteX165" fmla="*/ 5426 w 10000"/>
                <a:gd name="connsiteY165" fmla="*/ 9336 h 10015"/>
                <a:gd name="connsiteX166" fmla="*/ 5619 w 10000"/>
                <a:gd name="connsiteY166" fmla="*/ 9404 h 10015"/>
                <a:gd name="connsiteX167" fmla="*/ 5812 w 10000"/>
                <a:gd name="connsiteY167" fmla="*/ 9473 h 10015"/>
                <a:gd name="connsiteX168" fmla="*/ 6004 w 10000"/>
                <a:gd name="connsiteY168" fmla="*/ 9537 h 10015"/>
                <a:gd name="connsiteX169" fmla="*/ 6205 w 10000"/>
                <a:gd name="connsiteY169" fmla="*/ 9602 h 10015"/>
                <a:gd name="connsiteX170" fmla="*/ 6397 w 10000"/>
                <a:gd name="connsiteY170" fmla="*/ 9662 h 10015"/>
                <a:gd name="connsiteX171" fmla="*/ 6605 w 10000"/>
                <a:gd name="connsiteY171" fmla="*/ 9717 h 10015"/>
                <a:gd name="connsiteX172" fmla="*/ 6805 w 10000"/>
                <a:gd name="connsiteY172" fmla="*/ 9772 h 10015"/>
                <a:gd name="connsiteX173" fmla="*/ 7005 w 10000"/>
                <a:gd name="connsiteY173" fmla="*/ 9827 h 10015"/>
                <a:gd name="connsiteX174" fmla="*/ 7213 w 10000"/>
                <a:gd name="connsiteY174" fmla="*/ 9878 h 10015"/>
                <a:gd name="connsiteX175" fmla="*/ 7420 w 10000"/>
                <a:gd name="connsiteY175" fmla="*/ 9923 h 10015"/>
                <a:gd name="connsiteX176" fmla="*/ 7628 w 10000"/>
                <a:gd name="connsiteY176" fmla="*/ 9969 h 10015"/>
                <a:gd name="connsiteX177" fmla="*/ 7835 w 10000"/>
                <a:gd name="connsiteY177" fmla="*/ 10015 h 10015"/>
                <a:gd name="connsiteX178" fmla="*/ 7539 w 10000"/>
                <a:gd name="connsiteY178" fmla="*/ 7766 h 10015"/>
                <a:gd name="connsiteX179" fmla="*/ 10000 w 10000"/>
                <a:gd name="connsiteY179" fmla="*/ 6151 h 10015"/>
                <a:gd name="connsiteX0" fmla="*/ 10000 w 10000"/>
                <a:gd name="connsiteY0" fmla="*/ 6151 h 10015"/>
                <a:gd name="connsiteX1" fmla="*/ 10000 w 10000"/>
                <a:gd name="connsiteY1" fmla="*/ 6151 h 10015"/>
                <a:gd name="connsiteX2" fmla="*/ 9911 w 10000"/>
                <a:gd name="connsiteY2" fmla="*/ 6137 h 10015"/>
                <a:gd name="connsiteX3" fmla="*/ 9815 w 10000"/>
                <a:gd name="connsiteY3" fmla="*/ 6119 h 10015"/>
                <a:gd name="connsiteX4" fmla="*/ 9726 w 10000"/>
                <a:gd name="connsiteY4" fmla="*/ 6101 h 10015"/>
                <a:gd name="connsiteX5" fmla="*/ 9637 w 10000"/>
                <a:gd name="connsiteY5" fmla="*/ 6077 h 10015"/>
                <a:gd name="connsiteX6" fmla="*/ 9548 w 10000"/>
                <a:gd name="connsiteY6" fmla="*/ 6058 h 10015"/>
                <a:gd name="connsiteX7" fmla="*/ 9466 w 10000"/>
                <a:gd name="connsiteY7" fmla="*/ 6036 h 10015"/>
                <a:gd name="connsiteX8" fmla="*/ 9377 w 10000"/>
                <a:gd name="connsiteY8" fmla="*/ 6013 h 10015"/>
                <a:gd name="connsiteX9" fmla="*/ 9288 w 10000"/>
                <a:gd name="connsiteY9" fmla="*/ 5990 h 10015"/>
                <a:gd name="connsiteX10" fmla="*/ 9118 w 10000"/>
                <a:gd name="connsiteY10" fmla="*/ 5939 h 10015"/>
                <a:gd name="connsiteX11" fmla="*/ 8955 w 10000"/>
                <a:gd name="connsiteY11" fmla="*/ 5884 h 10015"/>
                <a:gd name="connsiteX12" fmla="*/ 8792 w 10000"/>
                <a:gd name="connsiteY12" fmla="*/ 5825 h 10015"/>
                <a:gd name="connsiteX13" fmla="*/ 8636 w 10000"/>
                <a:gd name="connsiteY13" fmla="*/ 5761 h 10015"/>
                <a:gd name="connsiteX14" fmla="*/ 8480 w 10000"/>
                <a:gd name="connsiteY14" fmla="*/ 5696 h 10015"/>
                <a:gd name="connsiteX15" fmla="*/ 8340 w 10000"/>
                <a:gd name="connsiteY15" fmla="*/ 5628 h 10015"/>
                <a:gd name="connsiteX16" fmla="*/ 8199 w 10000"/>
                <a:gd name="connsiteY16" fmla="*/ 5554 h 10015"/>
                <a:gd name="connsiteX17" fmla="*/ 8058 w 10000"/>
                <a:gd name="connsiteY17" fmla="*/ 5476 h 10015"/>
                <a:gd name="connsiteX18" fmla="*/ 7924 w 10000"/>
                <a:gd name="connsiteY18" fmla="*/ 5394 h 10015"/>
                <a:gd name="connsiteX19" fmla="*/ 7798 w 10000"/>
                <a:gd name="connsiteY19" fmla="*/ 5310 h 10015"/>
                <a:gd name="connsiteX20" fmla="*/ 7672 w 10000"/>
                <a:gd name="connsiteY20" fmla="*/ 5223 h 10015"/>
                <a:gd name="connsiteX21" fmla="*/ 7554 w 10000"/>
                <a:gd name="connsiteY21" fmla="*/ 5136 h 10015"/>
                <a:gd name="connsiteX22" fmla="*/ 7450 w 10000"/>
                <a:gd name="connsiteY22" fmla="*/ 5040 h 10015"/>
                <a:gd name="connsiteX23" fmla="*/ 7346 w 10000"/>
                <a:gd name="connsiteY23" fmla="*/ 4944 h 10015"/>
                <a:gd name="connsiteX24" fmla="*/ 7250 w 10000"/>
                <a:gd name="connsiteY24" fmla="*/ 4848 h 10015"/>
                <a:gd name="connsiteX25" fmla="*/ 7161 w 10000"/>
                <a:gd name="connsiteY25" fmla="*/ 4747 h 10015"/>
                <a:gd name="connsiteX26" fmla="*/ 7072 w 10000"/>
                <a:gd name="connsiteY26" fmla="*/ 4645 h 10015"/>
                <a:gd name="connsiteX27" fmla="*/ 6990 w 10000"/>
                <a:gd name="connsiteY27" fmla="*/ 4535 h 10015"/>
                <a:gd name="connsiteX28" fmla="*/ 6953 w 10000"/>
                <a:gd name="connsiteY28" fmla="*/ 4485 h 10015"/>
                <a:gd name="connsiteX29" fmla="*/ 6916 w 10000"/>
                <a:gd name="connsiteY29" fmla="*/ 4430 h 10015"/>
                <a:gd name="connsiteX30" fmla="*/ 6887 w 10000"/>
                <a:gd name="connsiteY30" fmla="*/ 4375 h 10015"/>
                <a:gd name="connsiteX31" fmla="*/ 6850 w 10000"/>
                <a:gd name="connsiteY31" fmla="*/ 4320 h 10015"/>
                <a:gd name="connsiteX32" fmla="*/ 6820 w 10000"/>
                <a:gd name="connsiteY32" fmla="*/ 4265 h 10015"/>
                <a:gd name="connsiteX33" fmla="*/ 6790 w 10000"/>
                <a:gd name="connsiteY33" fmla="*/ 4210 h 10015"/>
                <a:gd name="connsiteX34" fmla="*/ 6768 w 10000"/>
                <a:gd name="connsiteY34" fmla="*/ 4150 h 10015"/>
                <a:gd name="connsiteX35" fmla="*/ 6738 w 10000"/>
                <a:gd name="connsiteY35" fmla="*/ 4095 h 10015"/>
                <a:gd name="connsiteX36" fmla="*/ 6723 w 10000"/>
                <a:gd name="connsiteY36" fmla="*/ 4035 h 10015"/>
                <a:gd name="connsiteX37" fmla="*/ 6694 w 10000"/>
                <a:gd name="connsiteY37" fmla="*/ 3980 h 10015"/>
                <a:gd name="connsiteX38" fmla="*/ 6679 w 10000"/>
                <a:gd name="connsiteY38" fmla="*/ 3920 h 10015"/>
                <a:gd name="connsiteX39" fmla="*/ 6664 w 10000"/>
                <a:gd name="connsiteY39" fmla="*/ 3860 h 10015"/>
                <a:gd name="connsiteX40" fmla="*/ 6649 w 10000"/>
                <a:gd name="connsiteY40" fmla="*/ 3801 h 10015"/>
                <a:gd name="connsiteX41" fmla="*/ 6635 w 10000"/>
                <a:gd name="connsiteY41" fmla="*/ 3746 h 10015"/>
                <a:gd name="connsiteX42" fmla="*/ 6620 w 10000"/>
                <a:gd name="connsiteY42" fmla="*/ 3686 h 10015"/>
                <a:gd name="connsiteX43" fmla="*/ 6612 w 10000"/>
                <a:gd name="connsiteY43" fmla="*/ 3627 h 10015"/>
                <a:gd name="connsiteX44" fmla="*/ 6605 w 10000"/>
                <a:gd name="connsiteY44" fmla="*/ 3567 h 10015"/>
                <a:gd name="connsiteX45" fmla="*/ 6597 w 10000"/>
                <a:gd name="connsiteY45" fmla="*/ 3503 h 10015"/>
                <a:gd name="connsiteX46" fmla="*/ 6597 w 10000"/>
                <a:gd name="connsiteY46" fmla="*/ 3443 h 10015"/>
                <a:gd name="connsiteX47" fmla="*/ 6590 w 10000"/>
                <a:gd name="connsiteY47" fmla="*/ 3379 h 10015"/>
                <a:gd name="connsiteX48" fmla="*/ 6597 w 10000"/>
                <a:gd name="connsiteY48" fmla="*/ 3319 h 10015"/>
                <a:gd name="connsiteX49" fmla="*/ 6605 w 10000"/>
                <a:gd name="connsiteY49" fmla="*/ 3251 h 10015"/>
                <a:gd name="connsiteX50" fmla="*/ 6605 w 10000"/>
                <a:gd name="connsiteY50" fmla="*/ 3186 h 10015"/>
                <a:gd name="connsiteX51" fmla="*/ 6612 w 10000"/>
                <a:gd name="connsiteY51" fmla="*/ 3121 h 10015"/>
                <a:gd name="connsiteX52" fmla="*/ 6620 w 10000"/>
                <a:gd name="connsiteY52" fmla="*/ 3057 h 10015"/>
                <a:gd name="connsiteX53" fmla="*/ 6635 w 10000"/>
                <a:gd name="connsiteY53" fmla="*/ 2998 h 10015"/>
                <a:gd name="connsiteX54" fmla="*/ 6649 w 10000"/>
                <a:gd name="connsiteY54" fmla="*/ 2934 h 10015"/>
                <a:gd name="connsiteX55" fmla="*/ 6664 w 10000"/>
                <a:gd name="connsiteY55" fmla="*/ 2874 h 10015"/>
                <a:gd name="connsiteX56" fmla="*/ 6686 w 10000"/>
                <a:gd name="connsiteY56" fmla="*/ 2810 h 10015"/>
                <a:gd name="connsiteX57" fmla="*/ 6709 w 10000"/>
                <a:gd name="connsiteY57" fmla="*/ 2750 h 10015"/>
                <a:gd name="connsiteX58" fmla="*/ 6731 w 10000"/>
                <a:gd name="connsiteY58" fmla="*/ 2691 h 10015"/>
                <a:gd name="connsiteX59" fmla="*/ 6753 w 10000"/>
                <a:gd name="connsiteY59" fmla="*/ 2626 h 10015"/>
                <a:gd name="connsiteX60" fmla="*/ 6783 w 10000"/>
                <a:gd name="connsiteY60" fmla="*/ 2571 h 10015"/>
                <a:gd name="connsiteX61" fmla="*/ 6812 w 10000"/>
                <a:gd name="connsiteY61" fmla="*/ 2511 h 10015"/>
                <a:gd name="connsiteX62" fmla="*/ 6842 w 10000"/>
                <a:gd name="connsiteY62" fmla="*/ 2451 h 10015"/>
                <a:gd name="connsiteX63" fmla="*/ 6879 w 10000"/>
                <a:gd name="connsiteY63" fmla="*/ 2392 h 10015"/>
                <a:gd name="connsiteX64" fmla="*/ 6909 w 10000"/>
                <a:gd name="connsiteY64" fmla="*/ 2337 h 10015"/>
                <a:gd name="connsiteX65" fmla="*/ 6946 w 10000"/>
                <a:gd name="connsiteY65" fmla="*/ 2277 h 10015"/>
                <a:gd name="connsiteX66" fmla="*/ 6990 w 10000"/>
                <a:gd name="connsiteY66" fmla="*/ 2222 h 10015"/>
                <a:gd name="connsiteX67" fmla="*/ 7027 w 10000"/>
                <a:gd name="connsiteY67" fmla="*/ 2167 h 10015"/>
                <a:gd name="connsiteX68" fmla="*/ 7072 w 10000"/>
                <a:gd name="connsiteY68" fmla="*/ 2112 h 10015"/>
                <a:gd name="connsiteX69" fmla="*/ 7109 w 10000"/>
                <a:gd name="connsiteY69" fmla="*/ 2057 h 10015"/>
                <a:gd name="connsiteX70" fmla="*/ 7161 w 10000"/>
                <a:gd name="connsiteY70" fmla="*/ 2007 h 10015"/>
                <a:gd name="connsiteX71" fmla="*/ 7213 w 10000"/>
                <a:gd name="connsiteY71" fmla="*/ 1952 h 10015"/>
                <a:gd name="connsiteX72" fmla="*/ 7257 w 10000"/>
                <a:gd name="connsiteY72" fmla="*/ 1897 h 10015"/>
                <a:gd name="connsiteX73" fmla="*/ 7309 w 10000"/>
                <a:gd name="connsiteY73" fmla="*/ 1846 h 10015"/>
                <a:gd name="connsiteX74" fmla="*/ 7361 w 10000"/>
                <a:gd name="connsiteY74" fmla="*/ 1795 h 10015"/>
                <a:gd name="connsiteX75" fmla="*/ 7413 w 10000"/>
                <a:gd name="connsiteY75" fmla="*/ 1745 h 10015"/>
                <a:gd name="connsiteX76" fmla="*/ 7472 w 10000"/>
                <a:gd name="connsiteY76" fmla="*/ 1694 h 10015"/>
                <a:gd name="connsiteX77" fmla="*/ 7524 w 10000"/>
                <a:gd name="connsiteY77" fmla="*/ 1648 h 10015"/>
                <a:gd name="connsiteX78" fmla="*/ 7583 w 10000"/>
                <a:gd name="connsiteY78" fmla="*/ 1602 h 10015"/>
                <a:gd name="connsiteX79" fmla="*/ 7610 w 10000"/>
                <a:gd name="connsiteY79" fmla="*/ 1573 h 10015"/>
                <a:gd name="connsiteX80" fmla="*/ 5390 w 10000"/>
                <a:gd name="connsiteY80" fmla="*/ 0 h 10015"/>
                <a:gd name="connsiteX81" fmla="*/ 1423 w 10000"/>
                <a:gd name="connsiteY81" fmla="*/ 8 h 10015"/>
                <a:gd name="connsiteX82" fmla="*/ 1305 w 10000"/>
                <a:gd name="connsiteY82" fmla="*/ 129 h 10015"/>
                <a:gd name="connsiteX83" fmla="*/ 1223 w 10000"/>
                <a:gd name="connsiteY83" fmla="*/ 221 h 10015"/>
                <a:gd name="connsiteX84" fmla="*/ 1149 w 10000"/>
                <a:gd name="connsiteY84" fmla="*/ 317 h 10015"/>
                <a:gd name="connsiteX85" fmla="*/ 1067 w 10000"/>
                <a:gd name="connsiteY85" fmla="*/ 414 h 10015"/>
                <a:gd name="connsiteX86" fmla="*/ 1001 w 10000"/>
                <a:gd name="connsiteY86" fmla="*/ 511 h 10015"/>
                <a:gd name="connsiteX87" fmla="*/ 927 w 10000"/>
                <a:gd name="connsiteY87" fmla="*/ 607 h 10015"/>
                <a:gd name="connsiteX88" fmla="*/ 860 w 10000"/>
                <a:gd name="connsiteY88" fmla="*/ 708 h 10015"/>
                <a:gd name="connsiteX89" fmla="*/ 793 w 10000"/>
                <a:gd name="connsiteY89" fmla="*/ 809 h 10015"/>
                <a:gd name="connsiteX90" fmla="*/ 734 w 10000"/>
                <a:gd name="connsiteY90" fmla="*/ 905 h 10015"/>
                <a:gd name="connsiteX91" fmla="*/ 675 w 10000"/>
                <a:gd name="connsiteY91" fmla="*/ 1006 h 10015"/>
                <a:gd name="connsiteX92" fmla="*/ 615 w 10000"/>
                <a:gd name="connsiteY92" fmla="*/ 1107 h 10015"/>
                <a:gd name="connsiteX93" fmla="*/ 556 w 10000"/>
                <a:gd name="connsiteY93" fmla="*/ 1213 h 10015"/>
                <a:gd name="connsiteX94" fmla="*/ 504 w 10000"/>
                <a:gd name="connsiteY94" fmla="*/ 1309 h 10015"/>
                <a:gd name="connsiteX95" fmla="*/ 452 w 10000"/>
                <a:gd name="connsiteY95" fmla="*/ 1415 h 10015"/>
                <a:gd name="connsiteX96" fmla="*/ 408 w 10000"/>
                <a:gd name="connsiteY96" fmla="*/ 1515 h 10015"/>
                <a:gd name="connsiteX97" fmla="*/ 363 w 10000"/>
                <a:gd name="connsiteY97" fmla="*/ 1621 h 10015"/>
                <a:gd name="connsiteX98" fmla="*/ 319 w 10000"/>
                <a:gd name="connsiteY98" fmla="*/ 1726 h 10015"/>
                <a:gd name="connsiteX99" fmla="*/ 282 w 10000"/>
                <a:gd name="connsiteY99" fmla="*/ 1833 h 10015"/>
                <a:gd name="connsiteX100" fmla="*/ 237 w 10000"/>
                <a:gd name="connsiteY100" fmla="*/ 1943 h 10015"/>
                <a:gd name="connsiteX101" fmla="*/ 208 w 10000"/>
                <a:gd name="connsiteY101" fmla="*/ 2048 h 10015"/>
                <a:gd name="connsiteX102" fmla="*/ 170 w 10000"/>
                <a:gd name="connsiteY102" fmla="*/ 2158 h 10015"/>
                <a:gd name="connsiteX103" fmla="*/ 148 w 10000"/>
                <a:gd name="connsiteY103" fmla="*/ 2268 h 10015"/>
                <a:gd name="connsiteX104" fmla="*/ 119 w 10000"/>
                <a:gd name="connsiteY104" fmla="*/ 2373 h 10015"/>
                <a:gd name="connsiteX105" fmla="*/ 96 w 10000"/>
                <a:gd name="connsiteY105" fmla="*/ 2483 h 10015"/>
                <a:gd name="connsiteX106" fmla="*/ 74 w 10000"/>
                <a:gd name="connsiteY106" fmla="*/ 2594 h 10015"/>
                <a:gd name="connsiteX107" fmla="*/ 52 w 10000"/>
                <a:gd name="connsiteY107" fmla="*/ 2709 h 10015"/>
                <a:gd name="connsiteX108" fmla="*/ 37 w 10000"/>
                <a:gd name="connsiteY108" fmla="*/ 2819 h 10015"/>
                <a:gd name="connsiteX109" fmla="*/ 22 w 10000"/>
                <a:gd name="connsiteY109" fmla="*/ 2929 h 10015"/>
                <a:gd name="connsiteX110" fmla="*/ 15 w 10000"/>
                <a:gd name="connsiteY110" fmla="*/ 3039 h 10015"/>
                <a:gd name="connsiteX111" fmla="*/ 7 w 10000"/>
                <a:gd name="connsiteY111" fmla="*/ 3153 h 10015"/>
                <a:gd name="connsiteX112" fmla="*/ 0 w 10000"/>
                <a:gd name="connsiteY112" fmla="*/ 3264 h 10015"/>
                <a:gd name="connsiteX113" fmla="*/ 0 w 10000"/>
                <a:gd name="connsiteY113" fmla="*/ 3379 h 10015"/>
                <a:gd name="connsiteX114" fmla="*/ 7 w 10000"/>
                <a:gd name="connsiteY114" fmla="*/ 3526 h 10015"/>
                <a:gd name="connsiteX115" fmla="*/ 7 w 10000"/>
                <a:gd name="connsiteY115" fmla="*/ 3672 h 10015"/>
                <a:gd name="connsiteX116" fmla="*/ 22 w 10000"/>
                <a:gd name="connsiteY116" fmla="*/ 3810 h 10015"/>
                <a:gd name="connsiteX117" fmla="*/ 37 w 10000"/>
                <a:gd name="connsiteY117" fmla="*/ 3953 h 10015"/>
                <a:gd name="connsiteX118" fmla="*/ 59 w 10000"/>
                <a:gd name="connsiteY118" fmla="*/ 4095 h 10015"/>
                <a:gd name="connsiteX119" fmla="*/ 89 w 10000"/>
                <a:gd name="connsiteY119" fmla="*/ 4237 h 10015"/>
                <a:gd name="connsiteX120" fmla="*/ 119 w 10000"/>
                <a:gd name="connsiteY120" fmla="*/ 4379 h 10015"/>
                <a:gd name="connsiteX121" fmla="*/ 148 w 10000"/>
                <a:gd name="connsiteY121" fmla="*/ 4521 h 10015"/>
                <a:gd name="connsiteX122" fmla="*/ 193 w 10000"/>
                <a:gd name="connsiteY122" fmla="*/ 4660 h 10015"/>
                <a:gd name="connsiteX123" fmla="*/ 237 w 10000"/>
                <a:gd name="connsiteY123" fmla="*/ 4797 h 10015"/>
                <a:gd name="connsiteX124" fmla="*/ 282 w 10000"/>
                <a:gd name="connsiteY124" fmla="*/ 4935 h 10015"/>
                <a:gd name="connsiteX125" fmla="*/ 334 w 10000"/>
                <a:gd name="connsiteY125" fmla="*/ 5072 h 10015"/>
                <a:gd name="connsiteX126" fmla="*/ 393 w 10000"/>
                <a:gd name="connsiteY126" fmla="*/ 5205 h 10015"/>
                <a:gd name="connsiteX127" fmla="*/ 452 w 10000"/>
                <a:gd name="connsiteY127" fmla="*/ 5338 h 10015"/>
                <a:gd name="connsiteX128" fmla="*/ 519 w 10000"/>
                <a:gd name="connsiteY128" fmla="*/ 5472 h 10015"/>
                <a:gd name="connsiteX129" fmla="*/ 586 w 10000"/>
                <a:gd name="connsiteY129" fmla="*/ 5605 h 10015"/>
                <a:gd name="connsiteX130" fmla="*/ 660 w 10000"/>
                <a:gd name="connsiteY130" fmla="*/ 5733 h 10015"/>
                <a:gd name="connsiteX131" fmla="*/ 741 w 10000"/>
                <a:gd name="connsiteY131" fmla="*/ 5861 h 10015"/>
                <a:gd name="connsiteX132" fmla="*/ 823 w 10000"/>
                <a:gd name="connsiteY132" fmla="*/ 5994 h 10015"/>
                <a:gd name="connsiteX133" fmla="*/ 904 w 10000"/>
                <a:gd name="connsiteY133" fmla="*/ 6119 h 10015"/>
                <a:gd name="connsiteX134" fmla="*/ 993 w 10000"/>
                <a:gd name="connsiteY134" fmla="*/ 6243 h 10015"/>
                <a:gd name="connsiteX135" fmla="*/ 1090 w 10000"/>
                <a:gd name="connsiteY135" fmla="*/ 6362 h 10015"/>
                <a:gd name="connsiteX136" fmla="*/ 1186 w 10000"/>
                <a:gd name="connsiteY136" fmla="*/ 6486 h 10015"/>
                <a:gd name="connsiteX137" fmla="*/ 1290 w 10000"/>
                <a:gd name="connsiteY137" fmla="*/ 6609 h 10015"/>
                <a:gd name="connsiteX138" fmla="*/ 1386 w 10000"/>
                <a:gd name="connsiteY138" fmla="*/ 6729 h 10015"/>
                <a:gd name="connsiteX139" fmla="*/ 1497 w 10000"/>
                <a:gd name="connsiteY139" fmla="*/ 6849 h 10015"/>
                <a:gd name="connsiteX140" fmla="*/ 1609 w 10000"/>
                <a:gd name="connsiteY140" fmla="*/ 6963 h 10015"/>
                <a:gd name="connsiteX141" fmla="*/ 1727 w 10000"/>
                <a:gd name="connsiteY141" fmla="*/ 7082 h 10015"/>
                <a:gd name="connsiteX142" fmla="*/ 1846 w 10000"/>
                <a:gd name="connsiteY142" fmla="*/ 7197 h 10015"/>
                <a:gd name="connsiteX143" fmla="*/ 1964 w 10000"/>
                <a:gd name="connsiteY143" fmla="*/ 7307 h 10015"/>
                <a:gd name="connsiteX144" fmla="*/ 2090 w 10000"/>
                <a:gd name="connsiteY144" fmla="*/ 7417 h 10015"/>
                <a:gd name="connsiteX145" fmla="*/ 2224 w 10000"/>
                <a:gd name="connsiteY145" fmla="*/ 7528 h 10015"/>
                <a:gd name="connsiteX146" fmla="*/ 2350 w 10000"/>
                <a:gd name="connsiteY146" fmla="*/ 7638 h 10015"/>
                <a:gd name="connsiteX147" fmla="*/ 2491 w 10000"/>
                <a:gd name="connsiteY147" fmla="*/ 7743 h 10015"/>
                <a:gd name="connsiteX148" fmla="*/ 2617 w 10000"/>
                <a:gd name="connsiteY148" fmla="*/ 7849 h 10015"/>
                <a:gd name="connsiteX149" fmla="*/ 2765 w 10000"/>
                <a:gd name="connsiteY149" fmla="*/ 7950 h 10015"/>
                <a:gd name="connsiteX150" fmla="*/ 2906 w 10000"/>
                <a:gd name="connsiteY150" fmla="*/ 8050 h 10015"/>
                <a:gd name="connsiteX151" fmla="*/ 3054 w 10000"/>
                <a:gd name="connsiteY151" fmla="*/ 8151 h 10015"/>
                <a:gd name="connsiteX152" fmla="*/ 3210 w 10000"/>
                <a:gd name="connsiteY152" fmla="*/ 8249 h 10015"/>
                <a:gd name="connsiteX153" fmla="*/ 3358 w 10000"/>
                <a:gd name="connsiteY153" fmla="*/ 8345 h 10015"/>
                <a:gd name="connsiteX154" fmla="*/ 3514 w 10000"/>
                <a:gd name="connsiteY154" fmla="*/ 8441 h 10015"/>
                <a:gd name="connsiteX155" fmla="*/ 3677 w 10000"/>
                <a:gd name="connsiteY155" fmla="*/ 8533 h 10015"/>
                <a:gd name="connsiteX156" fmla="*/ 3840 w 10000"/>
                <a:gd name="connsiteY156" fmla="*/ 8620 h 10015"/>
                <a:gd name="connsiteX157" fmla="*/ 4010 w 10000"/>
                <a:gd name="connsiteY157" fmla="*/ 8711 h 10015"/>
                <a:gd name="connsiteX158" fmla="*/ 4181 w 10000"/>
                <a:gd name="connsiteY158" fmla="*/ 8789 h 10015"/>
                <a:gd name="connsiteX159" fmla="*/ 4351 w 10000"/>
                <a:gd name="connsiteY159" fmla="*/ 8876 h 10015"/>
                <a:gd name="connsiteX160" fmla="*/ 4522 w 10000"/>
                <a:gd name="connsiteY160" fmla="*/ 8955 h 10015"/>
                <a:gd name="connsiteX161" fmla="*/ 4700 w 10000"/>
                <a:gd name="connsiteY161" fmla="*/ 9038 h 10015"/>
                <a:gd name="connsiteX162" fmla="*/ 4878 w 10000"/>
                <a:gd name="connsiteY162" fmla="*/ 9116 h 10015"/>
                <a:gd name="connsiteX163" fmla="*/ 5063 w 10000"/>
                <a:gd name="connsiteY163" fmla="*/ 9189 h 10015"/>
                <a:gd name="connsiteX164" fmla="*/ 5248 w 10000"/>
                <a:gd name="connsiteY164" fmla="*/ 9267 h 10015"/>
                <a:gd name="connsiteX165" fmla="*/ 5426 w 10000"/>
                <a:gd name="connsiteY165" fmla="*/ 9336 h 10015"/>
                <a:gd name="connsiteX166" fmla="*/ 5619 w 10000"/>
                <a:gd name="connsiteY166" fmla="*/ 9404 h 10015"/>
                <a:gd name="connsiteX167" fmla="*/ 5812 w 10000"/>
                <a:gd name="connsiteY167" fmla="*/ 9473 h 10015"/>
                <a:gd name="connsiteX168" fmla="*/ 6004 w 10000"/>
                <a:gd name="connsiteY168" fmla="*/ 9537 h 10015"/>
                <a:gd name="connsiteX169" fmla="*/ 6205 w 10000"/>
                <a:gd name="connsiteY169" fmla="*/ 9602 h 10015"/>
                <a:gd name="connsiteX170" fmla="*/ 6397 w 10000"/>
                <a:gd name="connsiteY170" fmla="*/ 9662 h 10015"/>
                <a:gd name="connsiteX171" fmla="*/ 6605 w 10000"/>
                <a:gd name="connsiteY171" fmla="*/ 9717 h 10015"/>
                <a:gd name="connsiteX172" fmla="*/ 6805 w 10000"/>
                <a:gd name="connsiteY172" fmla="*/ 9772 h 10015"/>
                <a:gd name="connsiteX173" fmla="*/ 7005 w 10000"/>
                <a:gd name="connsiteY173" fmla="*/ 9827 h 10015"/>
                <a:gd name="connsiteX174" fmla="*/ 7213 w 10000"/>
                <a:gd name="connsiteY174" fmla="*/ 9878 h 10015"/>
                <a:gd name="connsiteX175" fmla="*/ 7420 w 10000"/>
                <a:gd name="connsiteY175" fmla="*/ 9923 h 10015"/>
                <a:gd name="connsiteX176" fmla="*/ 7628 w 10000"/>
                <a:gd name="connsiteY176" fmla="*/ 9969 h 10015"/>
                <a:gd name="connsiteX177" fmla="*/ 7835 w 10000"/>
                <a:gd name="connsiteY177" fmla="*/ 10015 h 10015"/>
                <a:gd name="connsiteX178" fmla="*/ 7539 w 10000"/>
                <a:gd name="connsiteY178" fmla="*/ 7766 h 10015"/>
                <a:gd name="connsiteX179" fmla="*/ 10000 w 10000"/>
                <a:gd name="connsiteY179" fmla="*/ 6151 h 10015"/>
                <a:gd name="connsiteX0" fmla="*/ 10000 w 10000"/>
                <a:gd name="connsiteY0" fmla="*/ 6143 h 10007"/>
                <a:gd name="connsiteX1" fmla="*/ 10000 w 10000"/>
                <a:gd name="connsiteY1" fmla="*/ 6143 h 10007"/>
                <a:gd name="connsiteX2" fmla="*/ 9911 w 10000"/>
                <a:gd name="connsiteY2" fmla="*/ 6129 h 10007"/>
                <a:gd name="connsiteX3" fmla="*/ 9815 w 10000"/>
                <a:gd name="connsiteY3" fmla="*/ 6111 h 10007"/>
                <a:gd name="connsiteX4" fmla="*/ 9726 w 10000"/>
                <a:gd name="connsiteY4" fmla="*/ 6093 h 10007"/>
                <a:gd name="connsiteX5" fmla="*/ 9637 w 10000"/>
                <a:gd name="connsiteY5" fmla="*/ 6069 h 10007"/>
                <a:gd name="connsiteX6" fmla="*/ 9548 w 10000"/>
                <a:gd name="connsiteY6" fmla="*/ 6050 h 10007"/>
                <a:gd name="connsiteX7" fmla="*/ 9466 w 10000"/>
                <a:gd name="connsiteY7" fmla="*/ 6028 h 10007"/>
                <a:gd name="connsiteX8" fmla="*/ 9377 w 10000"/>
                <a:gd name="connsiteY8" fmla="*/ 6005 h 10007"/>
                <a:gd name="connsiteX9" fmla="*/ 9288 w 10000"/>
                <a:gd name="connsiteY9" fmla="*/ 5982 h 10007"/>
                <a:gd name="connsiteX10" fmla="*/ 9118 w 10000"/>
                <a:gd name="connsiteY10" fmla="*/ 5931 h 10007"/>
                <a:gd name="connsiteX11" fmla="*/ 8955 w 10000"/>
                <a:gd name="connsiteY11" fmla="*/ 5876 h 10007"/>
                <a:gd name="connsiteX12" fmla="*/ 8792 w 10000"/>
                <a:gd name="connsiteY12" fmla="*/ 5817 h 10007"/>
                <a:gd name="connsiteX13" fmla="*/ 8636 w 10000"/>
                <a:gd name="connsiteY13" fmla="*/ 5753 h 10007"/>
                <a:gd name="connsiteX14" fmla="*/ 8480 w 10000"/>
                <a:gd name="connsiteY14" fmla="*/ 5688 h 10007"/>
                <a:gd name="connsiteX15" fmla="*/ 8340 w 10000"/>
                <a:gd name="connsiteY15" fmla="*/ 5620 h 10007"/>
                <a:gd name="connsiteX16" fmla="*/ 8199 w 10000"/>
                <a:gd name="connsiteY16" fmla="*/ 5546 h 10007"/>
                <a:gd name="connsiteX17" fmla="*/ 8058 w 10000"/>
                <a:gd name="connsiteY17" fmla="*/ 5468 h 10007"/>
                <a:gd name="connsiteX18" fmla="*/ 7924 w 10000"/>
                <a:gd name="connsiteY18" fmla="*/ 5386 h 10007"/>
                <a:gd name="connsiteX19" fmla="*/ 7798 w 10000"/>
                <a:gd name="connsiteY19" fmla="*/ 5302 h 10007"/>
                <a:gd name="connsiteX20" fmla="*/ 7672 w 10000"/>
                <a:gd name="connsiteY20" fmla="*/ 5215 h 10007"/>
                <a:gd name="connsiteX21" fmla="*/ 7554 w 10000"/>
                <a:gd name="connsiteY21" fmla="*/ 5128 h 10007"/>
                <a:gd name="connsiteX22" fmla="*/ 7450 w 10000"/>
                <a:gd name="connsiteY22" fmla="*/ 5032 h 10007"/>
                <a:gd name="connsiteX23" fmla="*/ 7346 w 10000"/>
                <a:gd name="connsiteY23" fmla="*/ 4936 h 10007"/>
                <a:gd name="connsiteX24" fmla="*/ 7250 w 10000"/>
                <a:gd name="connsiteY24" fmla="*/ 4840 h 10007"/>
                <a:gd name="connsiteX25" fmla="*/ 7161 w 10000"/>
                <a:gd name="connsiteY25" fmla="*/ 4739 h 10007"/>
                <a:gd name="connsiteX26" fmla="*/ 7072 w 10000"/>
                <a:gd name="connsiteY26" fmla="*/ 4637 h 10007"/>
                <a:gd name="connsiteX27" fmla="*/ 6990 w 10000"/>
                <a:gd name="connsiteY27" fmla="*/ 4527 h 10007"/>
                <a:gd name="connsiteX28" fmla="*/ 6953 w 10000"/>
                <a:gd name="connsiteY28" fmla="*/ 4477 h 10007"/>
                <a:gd name="connsiteX29" fmla="*/ 6916 w 10000"/>
                <a:gd name="connsiteY29" fmla="*/ 4422 h 10007"/>
                <a:gd name="connsiteX30" fmla="*/ 6887 w 10000"/>
                <a:gd name="connsiteY30" fmla="*/ 4367 h 10007"/>
                <a:gd name="connsiteX31" fmla="*/ 6850 w 10000"/>
                <a:gd name="connsiteY31" fmla="*/ 4312 h 10007"/>
                <a:gd name="connsiteX32" fmla="*/ 6820 w 10000"/>
                <a:gd name="connsiteY32" fmla="*/ 4257 h 10007"/>
                <a:gd name="connsiteX33" fmla="*/ 6790 w 10000"/>
                <a:gd name="connsiteY33" fmla="*/ 4202 h 10007"/>
                <a:gd name="connsiteX34" fmla="*/ 6768 w 10000"/>
                <a:gd name="connsiteY34" fmla="*/ 4142 h 10007"/>
                <a:gd name="connsiteX35" fmla="*/ 6738 w 10000"/>
                <a:gd name="connsiteY35" fmla="*/ 4087 h 10007"/>
                <a:gd name="connsiteX36" fmla="*/ 6723 w 10000"/>
                <a:gd name="connsiteY36" fmla="*/ 4027 h 10007"/>
                <a:gd name="connsiteX37" fmla="*/ 6694 w 10000"/>
                <a:gd name="connsiteY37" fmla="*/ 3972 h 10007"/>
                <a:gd name="connsiteX38" fmla="*/ 6679 w 10000"/>
                <a:gd name="connsiteY38" fmla="*/ 3912 h 10007"/>
                <a:gd name="connsiteX39" fmla="*/ 6664 w 10000"/>
                <a:gd name="connsiteY39" fmla="*/ 3852 h 10007"/>
                <a:gd name="connsiteX40" fmla="*/ 6649 w 10000"/>
                <a:gd name="connsiteY40" fmla="*/ 3793 h 10007"/>
                <a:gd name="connsiteX41" fmla="*/ 6635 w 10000"/>
                <a:gd name="connsiteY41" fmla="*/ 3738 h 10007"/>
                <a:gd name="connsiteX42" fmla="*/ 6620 w 10000"/>
                <a:gd name="connsiteY42" fmla="*/ 3678 h 10007"/>
                <a:gd name="connsiteX43" fmla="*/ 6612 w 10000"/>
                <a:gd name="connsiteY43" fmla="*/ 3619 h 10007"/>
                <a:gd name="connsiteX44" fmla="*/ 6605 w 10000"/>
                <a:gd name="connsiteY44" fmla="*/ 3559 h 10007"/>
                <a:gd name="connsiteX45" fmla="*/ 6597 w 10000"/>
                <a:gd name="connsiteY45" fmla="*/ 3495 h 10007"/>
                <a:gd name="connsiteX46" fmla="*/ 6597 w 10000"/>
                <a:gd name="connsiteY46" fmla="*/ 3435 h 10007"/>
                <a:gd name="connsiteX47" fmla="*/ 6590 w 10000"/>
                <a:gd name="connsiteY47" fmla="*/ 3371 h 10007"/>
                <a:gd name="connsiteX48" fmla="*/ 6597 w 10000"/>
                <a:gd name="connsiteY48" fmla="*/ 3311 h 10007"/>
                <a:gd name="connsiteX49" fmla="*/ 6605 w 10000"/>
                <a:gd name="connsiteY49" fmla="*/ 3243 h 10007"/>
                <a:gd name="connsiteX50" fmla="*/ 6605 w 10000"/>
                <a:gd name="connsiteY50" fmla="*/ 3178 h 10007"/>
                <a:gd name="connsiteX51" fmla="*/ 6612 w 10000"/>
                <a:gd name="connsiteY51" fmla="*/ 3113 h 10007"/>
                <a:gd name="connsiteX52" fmla="*/ 6620 w 10000"/>
                <a:gd name="connsiteY52" fmla="*/ 3049 h 10007"/>
                <a:gd name="connsiteX53" fmla="*/ 6635 w 10000"/>
                <a:gd name="connsiteY53" fmla="*/ 2990 h 10007"/>
                <a:gd name="connsiteX54" fmla="*/ 6649 w 10000"/>
                <a:gd name="connsiteY54" fmla="*/ 2926 h 10007"/>
                <a:gd name="connsiteX55" fmla="*/ 6664 w 10000"/>
                <a:gd name="connsiteY55" fmla="*/ 2866 h 10007"/>
                <a:gd name="connsiteX56" fmla="*/ 6686 w 10000"/>
                <a:gd name="connsiteY56" fmla="*/ 2802 h 10007"/>
                <a:gd name="connsiteX57" fmla="*/ 6709 w 10000"/>
                <a:gd name="connsiteY57" fmla="*/ 2742 h 10007"/>
                <a:gd name="connsiteX58" fmla="*/ 6731 w 10000"/>
                <a:gd name="connsiteY58" fmla="*/ 2683 h 10007"/>
                <a:gd name="connsiteX59" fmla="*/ 6753 w 10000"/>
                <a:gd name="connsiteY59" fmla="*/ 2618 h 10007"/>
                <a:gd name="connsiteX60" fmla="*/ 6783 w 10000"/>
                <a:gd name="connsiteY60" fmla="*/ 2563 h 10007"/>
                <a:gd name="connsiteX61" fmla="*/ 6812 w 10000"/>
                <a:gd name="connsiteY61" fmla="*/ 2503 h 10007"/>
                <a:gd name="connsiteX62" fmla="*/ 6842 w 10000"/>
                <a:gd name="connsiteY62" fmla="*/ 2443 h 10007"/>
                <a:gd name="connsiteX63" fmla="*/ 6879 w 10000"/>
                <a:gd name="connsiteY63" fmla="*/ 2384 h 10007"/>
                <a:gd name="connsiteX64" fmla="*/ 6909 w 10000"/>
                <a:gd name="connsiteY64" fmla="*/ 2329 h 10007"/>
                <a:gd name="connsiteX65" fmla="*/ 6946 w 10000"/>
                <a:gd name="connsiteY65" fmla="*/ 2269 h 10007"/>
                <a:gd name="connsiteX66" fmla="*/ 6990 w 10000"/>
                <a:gd name="connsiteY66" fmla="*/ 2214 h 10007"/>
                <a:gd name="connsiteX67" fmla="*/ 7027 w 10000"/>
                <a:gd name="connsiteY67" fmla="*/ 2159 h 10007"/>
                <a:gd name="connsiteX68" fmla="*/ 7072 w 10000"/>
                <a:gd name="connsiteY68" fmla="*/ 2104 h 10007"/>
                <a:gd name="connsiteX69" fmla="*/ 7109 w 10000"/>
                <a:gd name="connsiteY69" fmla="*/ 2049 h 10007"/>
                <a:gd name="connsiteX70" fmla="*/ 7161 w 10000"/>
                <a:gd name="connsiteY70" fmla="*/ 1999 h 10007"/>
                <a:gd name="connsiteX71" fmla="*/ 7213 w 10000"/>
                <a:gd name="connsiteY71" fmla="*/ 1944 h 10007"/>
                <a:gd name="connsiteX72" fmla="*/ 7257 w 10000"/>
                <a:gd name="connsiteY72" fmla="*/ 1889 h 10007"/>
                <a:gd name="connsiteX73" fmla="*/ 7309 w 10000"/>
                <a:gd name="connsiteY73" fmla="*/ 1838 h 10007"/>
                <a:gd name="connsiteX74" fmla="*/ 7361 w 10000"/>
                <a:gd name="connsiteY74" fmla="*/ 1787 h 10007"/>
                <a:gd name="connsiteX75" fmla="*/ 7413 w 10000"/>
                <a:gd name="connsiteY75" fmla="*/ 1737 h 10007"/>
                <a:gd name="connsiteX76" fmla="*/ 7472 w 10000"/>
                <a:gd name="connsiteY76" fmla="*/ 1686 h 10007"/>
                <a:gd name="connsiteX77" fmla="*/ 7524 w 10000"/>
                <a:gd name="connsiteY77" fmla="*/ 1640 h 10007"/>
                <a:gd name="connsiteX78" fmla="*/ 7583 w 10000"/>
                <a:gd name="connsiteY78" fmla="*/ 1594 h 10007"/>
                <a:gd name="connsiteX79" fmla="*/ 7610 w 10000"/>
                <a:gd name="connsiteY79" fmla="*/ 1565 h 10007"/>
                <a:gd name="connsiteX80" fmla="*/ 5379 w 10000"/>
                <a:gd name="connsiteY80" fmla="*/ 20 h 10007"/>
                <a:gd name="connsiteX81" fmla="*/ 1423 w 10000"/>
                <a:gd name="connsiteY81" fmla="*/ 0 h 10007"/>
                <a:gd name="connsiteX82" fmla="*/ 1305 w 10000"/>
                <a:gd name="connsiteY82" fmla="*/ 121 h 10007"/>
                <a:gd name="connsiteX83" fmla="*/ 1223 w 10000"/>
                <a:gd name="connsiteY83" fmla="*/ 213 h 10007"/>
                <a:gd name="connsiteX84" fmla="*/ 1149 w 10000"/>
                <a:gd name="connsiteY84" fmla="*/ 309 h 10007"/>
                <a:gd name="connsiteX85" fmla="*/ 1067 w 10000"/>
                <a:gd name="connsiteY85" fmla="*/ 406 h 10007"/>
                <a:gd name="connsiteX86" fmla="*/ 1001 w 10000"/>
                <a:gd name="connsiteY86" fmla="*/ 503 h 10007"/>
                <a:gd name="connsiteX87" fmla="*/ 927 w 10000"/>
                <a:gd name="connsiteY87" fmla="*/ 599 h 10007"/>
                <a:gd name="connsiteX88" fmla="*/ 860 w 10000"/>
                <a:gd name="connsiteY88" fmla="*/ 700 h 10007"/>
                <a:gd name="connsiteX89" fmla="*/ 793 w 10000"/>
                <a:gd name="connsiteY89" fmla="*/ 801 h 10007"/>
                <a:gd name="connsiteX90" fmla="*/ 734 w 10000"/>
                <a:gd name="connsiteY90" fmla="*/ 897 h 10007"/>
                <a:gd name="connsiteX91" fmla="*/ 675 w 10000"/>
                <a:gd name="connsiteY91" fmla="*/ 998 h 10007"/>
                <a:gd name="connsiteX92" fmla="*/ 615 w 10000"/>
                <a:gd name="connsiteY92" fmla="*/ 1099 h 10007"/>
                <a:gd name="connsiteX93" fmla="*/ 556 w 10000"/>
                <a:gd name="connsiteY93" fmla="*/ 1205 h 10007"/>
                <a:gd name="connsiteX94" fmla="*/ 504 w 10000"/>
                <a:gd name="connsiteY94" fmla="*/ 1301 h 10007"/>
                <a:gd name="connsiteX95" fmla="*/ 452 w 10000"/>
                <a:gd name="connsiteY95" fmla="*/ 1407 h 10007"/>
                <a:gd name="connsiteX96" fmla="*/ 408 w 10000"/>
                <a:gd name="connsiteY96" fmla="*/ 1507 h 10007"/>
                <a:gd name="connsiteX97" fmla="*/ 363 w 10000"/>
                <a:gd name="connsiteY97" fmla="*/ 1613 h 10007"/>
                <a:gd name="connsiteX98" fmla="*/ 319 w 10000"/>
                <a:gd name="connsiteY98" fmla="*/ 1718 h 10007"/>
                <a:gd name="connsiteX99" fmla="*/ 282 w 10000"/>
                <a:gd name="connsiteY99" fmla="*/ 1825 h 10007"/>
                <a:gd name="connsiteX100" fmla="*/ 237 w 10000"/>
                <a:gd name="connsiteY100" fmla="*/ 1935 h 10007"/>
                <a:gd name="connsiteX101" fmla="*/ 208 w 10000"/>
                <a:gd name="connsiteY101" fmla="*/ 2040 h 10007"/>
                <a:gd name="connsiteX102" fmla="*/ 170 w 10000"/>
                <a:gd name="connsiteY102" fmla="*/ 2150 h 10007"/>
                <a:gd name="connsiteX103" fmla="*/ 148 w 10000"/>
                <a:gd name="connsiteY103" fmla="*/ 2260 h 10007"/>
                <a:gd name="connsiteX104" fmla="*/ 119 w 10000"/>
                <a:gd name="connsiteY104" fmla="*/ 2365 h 10007"/>
                <a:gd name="connsiteX105" fmla="*/ 96 w 10000"/>
                <a:gd name="connsiteY105" fmla="*/ 2475 h 10007"/>
                <a:gd name="connsiteX106" fmla="*/ 74 w 10000"/>
                <a:gd name="connsiteY106" fmla="*/ 2586 h 10007"/>
                <a:gd name="connsiteX107" fmla="*/ 52 w 10000"/>
                <a:gd name="connsiteY107" fmla="*/ 2701 h 10007"/>
                <a:gd name="connsiteX108" fmla="*/ 37 w 10000"/>
                <a:gd name="connsiteY108" fmla="*/ 2811 h 10007"/>
                <a:gd name="connsiteX109" fmla="*/ 22 w 10000"/>
                <a:gd name="connsiteY109" fmla="*/ 2921 h 10007"/>
                <a:gd name="connsiteX110" fmla="*/ 15 w 10000"/>
                <a:gd name="connsiteY110" fmla="*/ 3031 h 10007"/>
                <a:gd name="connsiteX111" fmla="*/ 7 w 10000"/>
                <a:gd name="connsiteY111" fmla="*/ 3145 h 10007"/>
                <a:gd name="connsiteX112" fmla="*/ 0 w 10000"/>
                <a:gd name="connsiteY112" fmla="*/ 3256 h 10007"/>
                <a:gd name="connsiteX113" fmla="*/ 0 w 10000"/>
                <a:gd name="connsiteY113" fmla="*/ 3371 h 10007"/>
                <a:gd name="connsiteX114" fmla="*/ 7 w 10000"/>
                <a:gd name="connsiteY114" fmla="*/ 3518 h 10007"/>
                <a:gd name="connsiteX115" fmla="*/ 7 w 10000"/>
                <a:gd name="connsiteY115" fmla="*/ 3664 h 10007"/>
                <a:gd name="connsiteX116" fmla="*/ 22 w 10000"/>
                <a:gd name="connsiteY116" fmla="*/ 3802 h 10007"/>
                <a:gd name="connsiteX117" fmla="*/ 37 w 10000"/>
                <a:gd name="connsiteY117" fmla="*/ 3945 h 10007"/>
                <a:gd name="connsiteX118" fmla="*/ 59 w 10000"/>
                <a:gd name="connsiteY118" fmla="*/ 4087 h 10007"/>
                <a:gd name="connsiteX119" fmla="*/ 89 w 10000"/>
                <a:gd name="connsiteY119" fmla="*/ 4229 h 10007"/>
                <a:gd name="connsiteX120" fmla="*/ 119 w 10000"/>
                <a:gd name="connsiteY120" fmla="*/ 4371 h 10007"/>
                <a:gd name="connsiteX121" fmla="*/ 148 w 10000"/>
                <a:gd name="connsiteY121" fmla="*/ 4513 h 10007"/>
                <a:gd name="connsiteX122" fmla="*/ 193 w 10000"/>
                <a:gd name="connsiteY122" fmla="*/ 4652 h 10007"/>
                <a:gd name="connsiteX123" fmla="*/ 237 w 10000"/>
                <a:gd name="connsiteY123" fmla="*/ 4789 h 10007"/>
                <a:gd name="connsiteX124" fmla="*/ 282 w 10000"/>
                <a:gd name="connsiteY124" fmla="*/ 4927 h 10007"/>
                <a:gd name="connsiteX125" fmla="*/ 334 w 10000"/>
                <a:gd name="connsiteY125" fmla="*/ 5064 h 10007"/>
                <a:gd name="connsiteX126" fmla="*/ 393 w 10000"/>
                <a:gd name="connsiteY126" fmla="*/ 5197 h 10007"/>
                <a:gd name="connsiteX127" fmla="*/ 452 w 10000"/>
                <a:gd name="connsiteY127" fmla="*/ 5330 h 10007"/>
                <a:gd name="connsiteX128" fmla="*/ 519 w 10000"/>
                <a:gd name="connsiteY128" fmla="*/ 5464 h 10007"/>
                <a:gd name="connsiteX129" fmla="*/ 586 w 10000"/>
                <a:gd name="connsiteY129" fmla="*/ 5597 h 10007"/>
                <a:gd name="connsiteX130" fmla="*/ 660 w 10000"/>
                <a:gd name="connsiteY130" fmla="*/ 5725 h 10007"/>
                <a:gd name="connsiteX131" fmla="*/ 741 w 10000"/>
                <a:gd name="connsiteY131" fmla="*/ 5853 h 10007"/>
                <a:gd name="connsiteX132" fmla="*/ 823 w 10000"/>
                <a:gd name="connsiteY132" fmla="*/ 5986 h 10007"/>
                <a:gd name="connsiteX133" fmla="*/ 904 w 10000"/>
                <a:gd name="connsiteY133" fmla="*/ 6111 h 10007"/>
                <a:gd name="connsiteX134" fmla="*/ 993 w 10000"/>
                <a:gd name="connsiteY134" fmla="*/ 6235 h 10007"/>
                <a:gd name="connsiteX135" fmla="*/ 1090 w 10000"/>
                <a:gd name="connsiteY135" fmla="*/ 6354 h 10007"/>
                <a:gd name="connsiteX136" fmla="*/ 1186 w 10000"/>
                <a:gd name="connsiteY136" fmla="*/ 6478 h 10007"/>
                <a:gd name="connsiteX137" fmla="*/ 1290 w 10000"/>
                <a:gd name="connsiteY137" fmla="*/ 6601 h 10007"/>
                <a:gd name="connsiteX138" fmla="*/ 1386 w 10000"/>
                <a:gd name="connsiteY138" fmla="*/ 6721 h 10007"/>
                <a:gd name="connsiteX139" fmla="*/ 1497 w 10000"/>
                <a:gd name="connsiteY139" fmla="*/ 6841 h 10007"/>
                <a:gd name="connsiteX140" fmla="*/ 1609 w 10000"/>
                <a:gd name="connsiteY140" fmla="*/ 6955 h 10007"/>
                <a:gd name="connsiteX141" fmla="*/ 1727 w 10000"/>
                <a:gd name="connsiteY141" fmla="*/ 7074 h 10007"/>
                <a:gd name="connsiteX142" fmla="*/ 1846 w 10000"/>
                <a:gd name="connsiteY142" fmla="*/ 7189 h 10007"/>
                <a:gd name="connsiteX143" fmla="*/ 1964 w 10000"/>
                <a:gd name="connsiteY143" fmla="*/ 7299 h 10007"/>
                <a:gd name="connsiteX144" fmla="*/ 2090 w 10000"/>
                <a:gd name="connsiteY144" fmla="*/ 7409 h 10007"/>
                <a:gd name="connsiteX145" fmla="*/ 2224 w 10000"/>
                <a:gd name="connsiteY145" fmla="*/ 7520 h 10007"/>
                <a:gd name="connsiteX146" fmla="*/ 2350 w 10000"/>
                <a:gd name="connsiteY146" fmla="*/ 7630 h 10007"/>
                <a:gd name="connsiteX147" fmla="*/ 2491 w 10000"/>
                <a:gd name="connsiteY147" fmla="*/ 7735 h 10007"/>
                <a:gd name="connsiteX148" fmla="*/ 2617 w 10000"/>
                <a:gd name="connsiteY148" fmla="*/ 7841 h 10007"/>
                <a:gd name="connsiteX149" fmla="*/ 2765 w 10000"/>
                <a:gd name="connsiteY149" fmla="*/ 7942 h 10007"/>
                <a:gd name="connsiteX150" fmla="*/ 2906 w 10000"/>
                <a:gd name="connsiteY150" fmla="*/ 8042 h 10007"/>
                <a:gd name="connsiteX151" fmla="*/ 3054 w 10000"/>
                <a:gd name="connsiteY151" fmla="*/ 8143 h 10007"/>
                <a:gd name="connsiteX152" fmla="*/ 3210 w 10000"/>
                <a:gd name="connsiteY152" fmla="*/ 8241 h 10007"/>
                <a:gd name="connsiteX153" fmla="*/ 3358 w 10000"/>
                <a:gd name="connsiteY153" fmla="*/ 8337 h 10007"/>
                <a:gd name="connsiteX154" fmla="*/ 3514 w 10000"/>
                <a:gd name="connsiteY154" fmla="*/ 8433 h 10007"/>
                <a:gd name="connsiteX155" fmla="*/ 3677 w 10000"/>
                <a:gd name="connsiteY155" fmla="*/ 8525 h 10007"/>
                <a:gd name="connsiteX156" fmla="*/ 3840 w 10000"/>
                <a:gd name="connsiteY156" fmla="*/ 8612 h 10007"/>
                <a:gd name="connsiteX157" fmla="*/ 4010 w 10000"/>
                <a:gd name="connsiteY157" fmla="*/ 8703 h 10007"/>
                <a:gd name="connsiteX158" fmla="*/ 4181 w 10000"/>
                <a:gd name="connsiteY158" fmla="*/ 8781 h 10007"/>
                <a:gd name="connsiteX159" fmla="*/ 4351 w 10000"/>
                <a:gd name="connsiteY159" fmla="*/ 8868 h 10007"/>
                <a:gd name="connsiteX160" fmla="*/ 4522 w 10000"/>
                <a:gd name="connsiteY160" fmla="*/ 8947 h 10007"/>
                <a:gd name="connsiteX161" fmla="*/ 4700 w 10000"/>
                <a:gd name="connsiteY161" fmla="*/ 9030 h 10007"/>
                <a:gd name="connsiteX162" fmla="*/ 4878 w 10000"/>
                <a:gd name="connsiteY162" fmla="*/ 9108 h 10007"/>
                <a:gd name="connsiteX163" fmla="*/ 5063 w 10000"/>
                <a:gd name="connsiteY163" fmla="*/ 9181 h 10007"/>
                <a:gd name="connsiteX164" fmla="*/ 5248 w 10000"/>
                <a:gd name="connsiteY164" fmla="*/ 9259 h 10007"/>
                <a:gd name="connsiteX165" fmla="*/ 5426 w 10000"/>
                <a:gd name="connsiteY165" fmla="*/ 9328 h 10007"/>
                <a:gd name="connsiteX166" fmla="*/ 5619 w 10000"/>
                <a:gd name="connsiteY166" fmla="*/ 9396 h 10007"/>
                <a:gd name="connsiteX167" fmla="*/ 5812 w 10000"/>
                <a:gd name="connsiteY167" fmla="*/ 9465 h 10007"/>
                <a:gd name="connsiteX168" fmla="*/ 6004 w 10000"/>
                <a:gd name="connsiteY168" fmla="*/ 9529 h 10007"/>
                <a:gd name="connsiteX169" fmla="*/ 6205 w 10000"/>
                <a:gd name="connsiteY169" fmla="*/ 9594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58 h 10007"/>
                <a:gd name="connsiteX179" fmla="*/ 10000 w 10000"/>
                <a:gd name="connsiteY179" fmla="*/ 6143 h 10007"/>
                <a:gd name="connsiteX0" fmla="*/ 10000 w 10000"/>
                <a:gd name="connsiteY0" fmla="*/ 6143 h 10007"/>
                <a:gd name="connsiteX1" fmla="*/ 10000 w 10000"/>
                <a:gd name="connsiteY1" fmla="*/ 6143 h 10007"/>
                <a:gd name="connsiteX2" fmla="*/ 9911 w 10000"/>
                <a:gd name="connsiteY2" fmla="*/ 6129 h 10007"/>
                <a:gd name="connsiteX3" fmla="*/ 9815 w 10000"/>
                <a:gd name="connsiteY3" fmla="*/ 6111 h 10007"/>
                <a:gd name="connsiteX4" fmla="*/ 9726 w 10000"/>
                <a:gd name="connsiteY4" fmla="*/ 6093 h 10007"/>
                <a:gd name="connsiteX5" fmla="*/ 9637 w 10000"/>
                <a:gd name="connsiteY5" fmla="*/ 6069 h 10007"/>
                <a:gd name="connsiteX6" fmla="*/ 9548 w 10000"/>
                <a:gd name="connsiteY6" fmla="*/ 6050 h 10007"/>
                <a:gd name="connsiteX7" fmla="*/ 9466 w 10000"/>
                <a:gd name="connsiteY7" fmla="*/ 6028 h 10007"/>
                <a:gd name="connsiteX8" fmla="*/ 9377 w 10000"/>
                <a:gd name="connsiteY8" fmla="*/ 6005 h 10007"/>
                <a:gd name="connsiteX9" fmla="*/ 9288 w 10000"/>
                <a:gd name="connsiteY9" fmla="*/ 5982 h 10007"/>
                <a:gd name="connsiteX10" fmla="*/ 9118 w 10000"/>
                <a:gd name="connsiteY10" fmla="*/ 5931 h 10007"/>
                <a:gd name="connsiteX11" fmla="*/ 8955 w 10000"/>
                <a:gd name="connsiteY11" fmla="*/ 5876 h 10007"/>
                <a:gd name="connsiteX12" fmla="*/ 8792 w 10000"/>
                <a:gd name="connsiteY12" fmla="*/ 5817 h 10007"/>
                <a:gd name="connsiteX13" fmla="*/ 8636 w 10000"/>
                <a:gd name="connsiteY13" fmla="*/ 5753 h 10007"/>
                <a:gd name="connsiteX14" fmla="*/ 8480 w 10000"/>
                <a:gd name="connsiteY14" fmla="*/ 5688 h 10007"/>
                <a:gd name="connsiteX15" fmla="*/ 8340 w 10000"/>
                <a:gd name="connsiteY15" fmla="*/ 5620 h 10007"/>
                <a:gd name="connsiteX16" fmla="*/ 8199 w 10000"/>
                <a:gd name="connsiteY16" fmla="*/ 5546 h 10007"/>
                <a:gd name="connsiteX17" fmla="*/ 8058 w 10000"/>
                <a:gd name="connsiteY17" fmla="*/ 5468 h 10007"/>
                <a:gd name="connsiteX18" fmla="*/ 7924 w 10000"/>
                <a:gd name="connsiteY18" fmla="*/ 5386 h 10007"/>
                <a:gd name="connsiteX19" fmla="*/ 7798 w 10000"/>
                <a:gd name="connsiteY19" fmla="*/ 5302 h 10007"/>
                <a:gd name="connsiteX20" fmla="*/ 7672 w 10000"/>
                <a:gd name="connsiteY20" fmla="*/ 5215 h 10007"/>
                <a:gd name="connsiteX21" fmla="*/ 7554 w 10000"/>
                <a:gd name="connsiteY21" fmla="*/ 5128 h 10007"/>
                <a:gd name="connsiteX22" fmla="*/ 7450 w 10000"/>
                <a:gd name="connsiteY22" fmla="*/ 5032 h 10007"/>
                <a:gd name="connsiteX23" fmla="*/ 7346 w 10000"/>
                <a:gd name="connsiteY23" fmla="*/ 4936 h 10007"/>
                <a:gd name="connsiteX24" fmla="*/ 7250 w 10000"/>
                <a:gd name="connsiteY24" fmla="*/ 4840 h 10007"/>
                <a:gd name="connsiteX25" fmla="*/ 7161 w 10000"/>
                <a:gd name="connsiteY25" fmla="*/ 4739 h 10007"/>
                <a:gd name="connsiteX26" fmla="*/ 7072 w 10000"/>
                <a:gd name="connsiteY26" fmla="*/ 4637 h 10007"/>
                <a:gd name="connsiteX27" fmla="*/ 6990 w 10000"/>
                <a:gd name="connsiteY27" fmla="*/ 4527 h 10007"/>
                <a:gd name="connsiteX28" fmla="*/ 6953 w 10000"/>
                <a:gd name="connsiteY28" fmla="*/ 4477 h 10007"/>
                <a:gd name="connsiteX29" fmla="*/ 6916 w 10000"/>
                <a:gd name="connsiteY29" fmla="*/ 4422 h 10007"/>
                <a:gd name="connsiteX30" fmla="*/ 6887 w 10000"/>
                <a:gd name="connsiteY30" fmla="*/ 4367 h 10007"/>
                <a:gd name="connsiteX31" fmla="*/ 6850 w 10000"/>
                <a:gd name="connsiteY31" fmla="*/ 4312 h 10007"/>
                <a:gd name="connsiteX32" fmla="*/ 6820 w 10000"/>
                <a:gd name="connsiteY32" fmla="*/ 4257 h 10007"/>
                <a:gd name="connsiteX33" fmla="*/ 6790 w 10000"/>
                <a:gd name="connsiteY33" fmla="*/ 4202 h 10007"/>
                <a:gd name="connsiteX34" fmla="*/ 6768 w 10000"/>
                <a:gd name="connsiteY34" fmla="*/ 4142 h 10007"/>
                <a:gd name="connsiteX35" fmla="*/ 6738 w 10000"/>
                <a:gd name="connsiteY35" fmla="*/ 4087 h 10007"/>
                <a:gd name="connsiteX36" fmla="*/ 6723 w 10000"/>
                <a:gd name="connsiteY36" fmla="*/ 4027 h 10007"/>
                <a:gd name="connsiteX37" fmla="*/ 6694 w 10000"/>
                <a:gd name="connsiteY37" fmla="*/ 3972 h 10007"/>
                <a:gd name="connsiteX38" fmla="*/ 6679 w 10000"/>
                <a:gd name="connsiteY38" fmla="*/ 3912 h 10007"/>
                <a:gd name="connsiteX39" fmla="*/ 6664 w 10000"/>
                <a:gd name="connsiteY39" fmla="*/ 3852 h 10007"/>
                <a:gd name="connsiteX40" fmla="*/ 6649 w 10000"/>
                <a:gd name="connsiteY40" fmla="*/ 3793 h 10007"/>
                <a:gd name="connsiteX41" fmla="*/ 6635 w 10000"/>
                <a:gd name="connsiteY41" fmla="*/ 3738 h 10007"/>
                <a:gd name="connsiteX42" fmla="*/ 6620 w 10000"/>
                <a:gd name="connsiteY42" fmla="*/ 3678 h 10007"/>
                <a:gd name="connsiteX43" fmla="*/ 6612 w 10000"/>
                <a:gd name="connsiteY43" fmla="*/ 3619 h 10007"/>
                <a:gd name="connsiteX44" fmla="*/ 6605 w 10000"/>
                <a:gd name="connsiteY44" fmla="*/ 3559 h 10007"/>
                <a:gd name="connsiteX45" fmla="*/ 6597 w 10000"/>
                <a:gd name="connsiteY45" fmla="*/ 3495 h 10007"/>
                <a:gd name="connsiteX46" fmla="*/ 6597 w 10000"/>
                <a:gd name="connsiteY46" fmla="*/ 3435 h 10007"/>
                <a:gd name="connsiteX47" fmla="*/ 6590 w 10000"/>
                <a:gd name="connsiteY47" fmla="*/ 3371 h 10007"/>
                <a:gd name="connsiteX48" fmla="*/ 6597 w 10000"/>
                <a:gd name="connsiteY48" fmla="*/ 3311 h 10007"/>
                <a:gd name="connsiteX49" fmla="*/ 6605 w 10000"/>
                <a:gd name="connsiteY49" fmla="*/ 3243 h 10007"/>
                <a:gd name="connsiteX50" fmla="*/ 6605 w 10000"/>
                <a:gd name="connsiteY50" fmla="*/ 3178 h 10007"/>
                <a:gd name="connsiteX51" fmla="*/ 6612 w 10000"/>
                <a:gd name="connsiteY51" fmla="*/ 3113 h 10007"/>
                <a:gd name="connsiteX52" fmla="*/ 6620 w 10000"/>
                <a:gd name="connsiteY52" fmla="*/ 3049 h 10007"/>
                <a:gd name="connsiteX53" fmla="*/ 6635 w 10000"/>
                <a:gd name="connsiteY53" fmla="*/ 2990 h 10007"/>
                <a:gd name="connsiteX54" fmla="*/ 6649 w 10000"/>
                <a:gd name="connsiteY54" fmla="*/ 2926 h 10007"/>
                <a:gd name="connsiteX55" fmla="*/ 6664 w 10000"/>
                <a:gd name="connsiteY55" fmla="*/ 2866 h 10007"/>
                <a:gd name="connsiteX56" fmla="*/ 6686 w 10000"/>
                <a:gd name="connsiteY56" fmla="*/ 2802 h 10007"/>
                <a:gd name="connsiteX57" fmla="*/ 6709 w 10000"/>
                <a:gd name="connsiteY57" fmla="*/ 2742 h 10007"/>
                <a:gd name="connsiteX58" fmla="*/ 6731 w 10000"/>
                <a:gd name="connsiteY58" fmla="*/ 2683 h 10007"/>
                <a:gd name="connsiteX59" fmla="*/ 6753 w 10000"/>
                <a:gd name="connsiteY59" fmla="*/ 2618 h 10007"/>
                <a:gd name="connsiteX60" fmla="*/ 6783 w 10000"/>
                <a:gd name="connsiteY60" fmla="*/ 2563 h 10007"/>
                <a:gd name="connsiteX61" fmla="*/ 6812 w 10000"/>
                <a:gd name="connsiteY61" fmla="*/ 2503 h 10007"/>
                <a:gd name="connsiteX62" fmla="*/ 6842 w 10000"/>
                <a:gd name="connsiteY62" fmla="*/ 2443 h 10007"/>
                <a:gd name="connsiteX63" fmla="*/ 6879 w 10000"/>
                <a:gd name="connsiteY63" fmla="*/ 2384 h 10007"/>
                <a:gd name="connsiteX64" fmla="*/ 6909 w 10000"/>
                <a:gd name="connsiteY64" fmla="*/ 2329 h 10007"/>
                <a:gd name="connsiteX65" fmla="*/ 6946 w 10000"/>
                <a:gd name="connsiteY65" fmla="*/ 2269 h 10007"/>
                <a:gd name="connsiteX66" fmla="*/ 6990 w 10000"/>
                <a:gd name="connsiteY66" fmla="*/ 2214 h 10007"/>
                <a:gd name="connsiteX67" fmla="*/ 7027 w 10000"/>
                <a:gd name="connsiteY67" fmla="*/ 2159 h 10007"/>
                <a:gd name="connsiteX68" fmla="*/ 7072 w 10000"/>
                <a:gd name="connsiteY68" fmla="*/ 2104 h 10007"/>
                <a:gd name="connsiteX69" fmla="*/ 7109 w 10000"/>
                <a:gd name="connsiteY69" fmla="*/ 2049 h 10007"/>
                <a:gd name="connsiteX70" fmla="*/ 7161 w 10000"/>
                <a:gd name="connsiteY70" fmla="*/ 1999 h 10007"/>
                <a:gd name="connsiteX71" fmla="*/ 7213 w 10000"/>
                <a:gd name="connsiteY71" fmla="*/ 1944 h 10007"/>
                <a:gd name="connsiteX72" fmla="*/ 7257 w 10000"/>
                <a:gd name="connsiteY72" fmla="*/ 1889 h 10007"/>
                <a:gd name="connsiteX73" fmla="*/ 7309 w 10000"/>
                <a:gd name="connsiteY73" fmla="*/ 1838 h 10007"/>
                <a:gd name="connsiteX74" fmla="*/ 7361 w 10000"/>
                <a:gd name="connsiteY74" fmla="*/ 1787 h 10007"/>
                <a:gd name="connsiteX75" fmla="*/ 7413 w 10000"/>
                <a:gd name="connsiteY75" fmla="*/ 1737 h 10007"/>
                <a:gd name="connsiteX76" fmla="*/ 7472 w 10000"/>
                <a:gd name="connsiteY76" fmla="*/ 1686 h 10007"/>
                <a:gd name="connsiteX77" fmla="*/ 7524 w 10000"/>
                <a:gd name="connsiteY77" fmla="*/ 1640 h 10007"/>
                <a:gd name="connsiteX78" fmla="*/ 7583 w 10000"/>
                <a:gd name="connsiteY78" fmla="*/ 1594 h 10007"/>
                <a:gd name="connsiteX79" fmla="*/ 7610 w 10000"/>
                <a:gd name="connsiteY79" fmla="*/ 1565 h 10007"/>
                <a:gd name="connsiteX80" fmla="*/ 5423 w 10000"/>
                <a:gd name="connsiteY80" fmla="*/ 6 h 10007"/>
                <a:gd name="connsiteX81" fmla="*/ 1423 w 10000"/>
                <a:gd name="connsiteY81" fmla="*/ 0 h 10007"/>
                <a:gd name="connsiteX82" fmla="*/ 1305 w 10000"/>
                <a:gd name="connsiteY82" fmla="*/ 121 h 10007"/>
                <a:gd name="connsiteX83" fmla="*/ 1223 w 10000"/>
                <a:gd name="connsiteY83" fmla="*/ 213 h 10007"/>
                <a:gd name="connsiteX84" fmla="*/ 1149 w 10000"/>
                <a:gd name="connsiteY84" fmla="*/ 309 h 10007"/>
                <a:gd name="connsiteX85" fmla="*/ 1067 w 10000"/>
                <a:gd name="connsiteY85" fmla="*/ 406 h 10007"/>
                <a:gd name="connsiteX86" fmla="*/ 1001 w 10000"/>
                <a:gd name="connsiteY86" fmla="*/ 503 h 10007"/>
                <a:gd name="connsiteX87" fmla="*/ 927 w 10000"/>
                <a:gd name="connsiteY87" fmla="*/ 599 h 10007"/>
                <a:gd name="connsiteX88" fmla="*/ 860 w 10000"/>
                <a:gd name="connsiteY88" fmla="*/ 700 h 10007"/>
                <a:gd name="connsiteX89" fmla="*/ 793 w 10000"/>
                <a:gd name="connsiteY89" fmla="*/ 801 h 10007"/>
                <a:gd name="connsiteX90" fmla="*/ 734 w 10000"/>
                <a:gd name="connsiteY90" fmla="*/ 897 h 10007"/>
                <a:gd name="connsiteX91" fmla="*/ 675 w 10000"/>
                <a:gd name="connsiteY91" fmla="*/ 998 h 10007"/>
                <a:gd name="connsiteX92" fmla="*/ 615 w 10000"/>
                <a:gd name="connsiteY92" fmla="*/ 1099 h 10007"/>
                <a:gd name="connsiteX93" fmla="*/ 556 w 10000"/>
                <a:gd name="connsiteY93" fmla="*/ 1205 h 10007"/>
                <a:gd name="connsiteX94" fmla="*/ 504 w 10000"/>
                <a:gd name="connsiteY94" fmla="*/ 1301 h 10007"/>
                <a:gd name="connsiteX95" fmla="*/ 452 w 10000"/>
                <a:gd name="connsiteY95" fmla="*/ 1407 h 10007"/>
                <a:gd name="connsiteX96" fmla="*/ 408 w 10000"/>
                <a:gd name="connsiteY96" fmla="*/ 1507 h 10007"/>
                <a:gd name="connsiteX97" fmla="*/ 363 w 10000"/>
                <a:gd name="connsiteY97" fmla="*/ 1613 h 10007"/>
                <a:gd name="connsiteX98" fmla="*/ 319 w 10000"/>
                <a:gd name="connsiteY98" fmla="*/ 1718 h 10007"/>
                <a:gd name="connsiteX99" fmla="*/ 282 w 10000"/>
                <a:gd name="connsiteY99" fmla="*/ 1825 h 10007"/>
                <a:gd name="connsiteX100" fmla="*/ 237 w 10000"/>
                <a:gd name="connsiteY100" fmla="*/ 1935 h 10007"/>
                <a:gd name="connsiteX101" fmla="*/ 208 w 10000"/>
                <a:gd name="connsiteY101" fmla="*/ 2040 h 10007"/>
                <a:gd name="connsiteX102" fmla="*/ 170 w 10000"/>
                <a:gd name="connsiteY102" fmla="*/ 2150 h 10007"/>
                <a:gd name="connsiteX103" fmla="*/ 148 w 10000"/>
                <a:gd name="connsiteY103" fmla="*/ 2260 h 10007"/>
                <a:gd name="connsiteX104" fmla="*/ 119 w 10000"/>
                <a:gd name="connsiteY104" fmla="*/ 2365 h 10007"/>
                <a:gd name="connsiteX105" fmla="*/ 96 w 10000"/>
                <a:gd name="connsiteY105" fmla="*/ 2475 h 10007"/>
                <a:gd name="connsiteX106" fmla="*/ 74 w 10000"/>
                <a:gd name="connsiteY106" fmla="*/ 2586 h 10007"/>
                <a:gd name="connsiteX107" fmla="*/ 52 w 10000"/>
                <a:gd name="connsiteY107" fmla="*/ 2701 h 10007"/>
                <a:gd name="connsiteX108" fmla="*/ 37 w 10000"/>
                <a:gd name="connsiteY108" fmla="*/ 2811 h 10007"/>
                <a:gd name="connsiteX109" fmla="*/ 22 w 10000"/>
                <a:gd name="connsiteY109" fmla="*/ 2921 h 10007"/>
                <a:gd name="connsiteX110" fmla="*/ 15 w 10000"/>
                <a:gd name="connsiteY110" fmla="*/ 3031 h 10007"/>
                <a:gd name="connsiteX111" fmla="*/ 7 w 10000"/>
                <a:gd name="connsiteY111" fmla="*/ 3145 h 10007"/>
                <a:gd name="connsiteX112" fmla="*/ 0 w 10000"/>
                <a:gd name="connsiteY112" fmla="*/ 3256 h 10007"/>
                <a:gd name="connsiteX113" fmla="*/ 0 w 10000"/>
                <a:gd name="connsiteY113" fmla="*/ 3371 h 10007"/>
                <a:gd name="connsiteX114" fmla="*/ 7 w 10000"/>
                <a:gd name="connsiteY114" fmla="*/ 3518 h 10007"/>
                <a:gd name="connsiteX115" fmla="*/ 7 w 10000"/>
                <a:gd name="connsiteY115" fmla="*/ 3664 h 10007"/>
                <a:gd name="connsiteX116" fmla="*/ 22 w 10000"/>
                <a:gd name="connsiteY116" fmla="*/ 3802 h 10007"/>
                <a:gd name="connsiteX117" fmla="*/ 37 w 10000"/>
                <a:gd name="connsiteY117" fmla="*/ 3945 h 10007"/>
                <a:gd name="connsiteX118" fmla="*/ 59 w 10000"/>
                <a:gd name="connsiteY118" fmla="*/ 4087 h 10007"/>
                <a:gd name="connsiteX119" fmla="*/ 89 w 10000"/>
                <a:gd name="connsiteY119" fmla="*/ 4229 h 10007"/>
                <a:gd name="connsiteX120" fmla="*/ 119 w 10000"/>
                <a:gd name="connsiteY120" fmla="*/ 4371 h 10007"/>
                <a:gd name="connsiteX121" fmla="*/ 148 w 10000"/>
                <a:gd name="connsiteY121" fmla="*/ 4513 h 10007"/>
                <a:gd name="connsiteX122" fmla="*/ 193 w 10000"/>
                <a:gd name="connsiteY122" fmla="*/ 4652 h 10007"/>
                <a:gd name="connsiteX123" fmla="*/ 237 w 10000"/>
                <a:gd name="connsiteY123" fmla="*/ 4789 h 10007"/>
                <a:gd name="connsiteX124" fmla="*/ 282 w 10000"/>
                <a:gd name="connsiteY124" fmla="*/ 4927 h 10007"/>
                <a:gd name="connsiteX125" fmla="*/ 334 w 10000"/>
                <a:gd name="connsiteY125" fmla="*/ 5064 h 10007"/>
                <a:gd name="connsiteX126" fmla="*/ 393 w 10000"/>
                <a:gd name="connsiteY126" fmla="*/ 5197 h 10007"/>
                <a:gd name="connsiteX127" fmla="*/ 452 w 10000"/>
                <a:gd name="connsiteY127" fmla="*/ 5330 h 10007"/>
                <a:gd name="connsiteX128" fmla="*/ 519 w 10000"/>
                <a:gd name="connsiteY128" fmla="*/ 5464 h 10007"/>
                <a:gd name="connsiteX129" fmla="*/ 586 w 10000"/>
                <a:gd name="connsiteY129" fmla="*/ 5597 h 10007"/>
                <a:gd name="connsiteX130" fmla="*/ 660 w 10000"/>
                <a:gd name="connsiteY130" fmla="*/ 5725 h 10007"/>
                <a:gd name="connsiteX131" fmla="*/ 741 w 10000"/>
                <a:gd name="connsiteY131" fmla="*/ 5853 h 10007"/>
                <a:gd name="connsiteX132" fmla="*/ 823 w 10000"/>
                <a:gd name="connsiteY132" fmla="*/ 5986 h 10007"/>
                <a:gd name="connsiteX133" fmla="*/ 904 w 10000"/>
                <a:gd name="connsiteY133" fmla="*/ 6111 h 10007"/>
                <a:gd name="connsiteX134" fmla="*/ 993 w 10000"/>
                <a:gd name="connsiteY134" fmla="*/ 6235 h 10007"/>
                <a:gd name="connsiteX135" fmla="*/ 1090 w 10000"/>
                <a:gd name="connsiteY135" fmla="*/ 6354 h 10007"/>
                <a:gd name="connsiteX136" fmla="*/ 1186 w 10000"/>
                <a:gd name="connsiteY136" fmla="*/ 6478 h 10007"/>
                <a:gd name="connsiteX137" fmla="*/ 1290 w 10000"/>
                <a:gd name="connsiteY137" fmla="*/ 6601 h 10007"/>
                <a:gd name="connsiteX138" fmla="*/ 1386 w 10000"/>
                <a:gd name="connsiteY138" fmla="*/ 6721 h 10007"/>
                <a:gd name="connsiteX139" fmla="*/ 1497 w 10000"/>
                <a:gd name="connsiteY139" fmla="*/ 6841 h 10007"/>
                <a:gd name="connsiteX140" fmla="*/ 1609 w 10000"/>
                <a:gd name="connsiteY140" fmla="*/ 6955 h 10007"/>
                <a:gd name="connsiteX141" fmla="*/ 1727 w 10000"/>
                <a:gd name="connsiteY141" fmla="*/ 7074 h 10007"/>
                <a:gd name="connsiteX142" fmla="*/ 1846 w 10000"/>
                <a:gd name="connsiteY142" fmla="*/ 7189 h 10007"/>
                <a:gd name="connsiteX143" fmla="*/ 1964 w 10000"/>
                <a:gd name="connsiteY143" fmla="*/ 7299 h 10007"/>
                <a:gd name="connsiteX144" fmla="*/ 2090 w 10000"/>
                <a:gd name="connsiteY144" fmla="*/ 7409 h 10007"/>
                <a:gd name="connsiteX145" fmla="*/ 2224 w 10000"/>
                <a:gd name="connsiteY145" fmla="*/ 7520 h 10007"/>
                <a:gd name="connsiteX146" fmla="*/ 2350 w 10000"/>
                <a:gd name="connsiteY146" fmla="*/ 7630 h 10007"/>
                <a:gd name="connsiteX147" fmla="*/ 2491 w 10000"/>
                <a:gd name="connsiteY147" fmla="*/ 7735 h 10007"/>
                <a:gd name="connsiteX148" fmla="*/ 2617 w 10000"/>
                <a:gd name="connsiteY148" fmla="*/ 7841 h 10007"/>
                <a:gd name="connsiteX149" fmla="*/ 2765 w 10000"/>
                <a:gd name="connsiteY149" fmla="*/ 7942 h 10007"/>
                <a:gd name="connsiteX150" fmla="*/ 2906 w 10000"/>
                <a:gd name="connsiteY150" fmla="*/ 8042 h 10007"/>
                <a:gd name="connsiteX151" fmla="*/ 3054 w 10000"/>
                <a:gd name="connsiteY151" fmla="*/ 8143 h 10007"/>
                <a:gd name="connsiteX152" fmla="*/ 3210 w 10000"/>
                <a:gd name="connsiteY152" fmla="*/ 8241 h 10007"/>
                <a:gd name="connsiteX153" fmla="*/ 3358 w 10000"/>
                <a:gd name="connsiteY153" fmla="*/ 8337 h 10007"/>
                <a:gd name="connsiteX154" fmla="*/ 3514 w 10000"/>
                <a:gd name="connsiteY154" fmla="*/ 8433 h 10007"/>
                <a:gd name="connsiteX155" fmla="*/ 3677 w 10000"/>
                <a:gd name="connsiteY155" fmla="*/ 8525 h 10007"/>
                <a:gd name="connsiteX156" fmla="*/ 3840 w 10000"/>
                <a:gd name="connsiteY156" fmla="*/ 8612 h 10007"/>
                <a:gd name="connsiteX157" fmla="*/ 4010 w 10000"/>
                <a:gd name="connsiteY157" fmla="*/ 8703 h 10007"/>
                <a:gd name="connsiteX158" fmla="*/ 4181 w 10000"/>
                <a:gd name="connsiteY158" fmla="*/ 8781 h 10007"/>
                <a:gd name="connsiteX159" fmla="*/ 4351 w 10000"/>
                <a:gd name="connsiteY159" fmla="*/ 8868 h 10007"/>
                <a:gd name="connsiteX160" fmla="*/ 4522 w 10000"/>
                <a:gd name="connsiteY160" fmla="*/ 8947 h 10007"/>
                <a:gd name="connsiteX161" fmla="*/ 4700 w 10000"/>
                <a:gd name="connsiteY161" fmla="*/ 9030 h 10007"/>
                <a:gd name="connsiteX162" fmla="*/ 4878 w 10000"/>
                <a:gd name="connsiteY162" fmla="*/ 9108 h 10007"/>
                <a:gd name="connsiteX163" fmla="*/ 5063 w 10000"/>
                <a:gd name="connsiteY163" fmla="*/ 9181 h 10007"/>
                <a:gd name="connsiteX164" fmla="*/ 5248 w 10000"/>
                <a:gd name="connsiteY164" fmla="*/ 9259 h 10007"/>
                <a:gd name="connsiteX165" fmla="*/ 5426 w 10000"/>
                <a:gd name="connsiteY165" fmla="*/ 9328 h 10007"/>
                <a:gd name="connsiteX166" fmla="*/ 5619 w 10000"/>
                <a:gd name="connsiteY166" fmla="*/ 9396 h 10007"/>
                <a:gd name="connsiteX167" fmla="*/ 5812 w 10000"/>
                <a:gd name="connsiteY167" fmla="*/ 9465 h 10007"/>
                <a:gd name="connsiteX168" fmla="*/ 6004 w 10000"/>
                <a:gd name="connsiteY168" fmla="*/ 9529 h 10007"/>
                <a:gd name="connsiteX169" fmla="*/ 6205 w 10000"/>
                <a:gd name="connsiteY169" fmla="*/ 9594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58 h 10007"/>
                <a:gd name="connsiteX179" fmla="*/ 10000 w 10000"/>
                <a:gd name="connsiteY179" fmla="*/ 6143 h 10007"/>
                <a:gd name="connsiteX0" fmla="*/ 10000 w 10000"/>
                <a:gd name="connsiteY0" fmla="*/ 6143 h 10007"/>
                <a:gd name="connsiteX1" fmla="*/ 10000 w 10000"/>
                <a:gd name="connsiteY1" fmla="*/ 6143 h 10007"/>
                <a:gd name="connsiteX2" fmla="*/ 9911 w 10000"/>
                <a:gd name="connsiteY2" fmla="*/ 6129 h 10007"/>
                <a:gd name="connsiteX3" fmla="*/ 9815 w 10000"/>
                <a:gd name="connsiteY3" fmla="*/ 6111 h 10007"/>
                <a:gd name="connsiteX4" fmla="*/ 9726 w 10000"/>
                <a:gd name="connsiteY4" fmla="*/ 6093 h 10007"/>
                <a:gd name="connsiteX5" fmla="*/ 9637 w 10000"/>
                <a:gd name="connsiteY5" fmla="*/ 6069 h 10007"/>
                <a:gd name="connsiteX6" fmla="*/ 9548 w 10000"/>
                <a:gd name="connsiteY6" fmla="*/ 6050 h 10007"/>
                <a:gd name="connsiteX7" fmla="*/ 9466 w 10000"/>
                <a:gd name="connsiteY7" fmla="*/ 6028 h 10007"/>
                <a:gd name="connsiteX8" fmla="*/ 9377 w 10000"/>
                <a:gd name="connsiteY8" fmla="*/ 6005 h 10007"/>
                <a:gd name="connsiteX9" fmla="*/ 9288 w 10000"/>
                <a:gd name="connsiteY9" fmla="*/ 5982 h 10007"/>
                <a:gd name="connsiteX10" fmla="*/ 9118 w 10000"/>
                <a:gd name="connsiteY10" fmla="*/ 5931 h 10007"/>
                <a:gd name="connsiteX11" fmla="*/ 8955 w 10000"/>
                <a:gd name="connsiteY11" fmla="*/ 5876 h 10007"/>
                <a:gd name="connsiteX12" fmla="*/ 8792 w 10000"/>
                <a:gd name="connsiteY12" fmla="*/ 5817 h 10007"/>
                <a:gd name="connsiteX13" fmla="*/ 8636 w 10000"/>
                <a:gd name="connsiteY13" fmla="*/ 5753 h 10007"/>
                <a:gd name="connsiteX14" fmla="*/ 8480 w 10000"/>
                <a:gd name="connsiteY14" fmla="*/ 5688 h 10007"/>
                <a:gd name="connsiteX15" fmla="*/ 8340 w 10000"/>
                <a:gd name="connsiteY15" fmla="*/ 5620 h 10007"/>
                <a:gd name="connsiteX16" fmla="*/ 8199 w 10000"/>
                <a:gd name="connsiteY16" fmla="*/ 5546 h 10007"/>
                <a:gd name="connsiteX17" fmla="*/ 8058 w 10000"/>
                <a:gd name="connsiteY17" fmla="*/ 5468 h 10007"/>
                <a:gd name="connsiteX18" fmla="*/ 7924 w 10000"/>
                <a:gd name="connsiteY18" fmla="*/ 5386 h 10007"/>
                <a:gd name="connsiteX19" fmla="*/ 7798 w 10000"/>
                <a:gd name="connsiteY19" fmla="*/ 5302 h 10007"/>
                <a:gd name="connsiteX20" fmla="*/ 7672 w 10000"/>
                <a:gd name="connsiteY20" fmla="*/ 5215 h 10007"/>
                <a:gd name="connsiteX21" fmla="*/ 7554 w 10000"/>
                <a:gd name="connsiteY21" fmla="*/ 5128 h 10007"/>
                <a:gd name="connsiteX22" fmla="*/ 7450 w 10000"/>
                <a:gd name="connsiteY22" fmla="*/ 5032 h 10007"/>
                <a:gd name="connsiteX23" fmla="*/ 7346 w 10000"/>
                <a:gd name="connsiteY23" fmla="*/ 4936 h 10007"/>
                <a:gd name="connsiteX24" fmla="*/ 7250 w 10000"/>
                <a:gd name="connsiteY24" fmla="*/ 4840 h 10007"/>
                <a:gd name="connsiteX25" fmla="*/ 7161 w 10000"/>
                <a:gd name="connsiteY25" fmla="*/ 4739 h 10007"/>
                <a:gd name="connsiteX26" fmla="*/ 7072 w 10000"/>
                <a:gd name="connsiteY26" fmla="*/ 4637 h 10007"/>
                <a:gd name="connsiteX27" fmla="*/ 6990 w 10000"/>
                <a:gd name="connsiteY27" fmla="*/ 4527 h 10007"/>
                <a:gd name="connsiteX28" fmla="*/ 6953 w 10000"/>
                <a:gd name="connsiteY28" fmla="*/ 4477 h 10007"/>
                <a:gd name="connsiteX29" fmla="*/ 6916 w 10000"/>
                <a:gd name="connsiteY29" fmla="*/ 4422 h 10007"/>
                <a:gd name="connsiteX30" fmla="*/ 6887 w 10000"/>
                <a:gd name="connsiteY30" fmla="*/ 4367 h 10007"/>
                <a:gd name="connsiteX31" fmla="*/ 6850 w 10000"/>
                <a:gd name="connsiteY31" fmla="*/ 4312 h 10007"/>
                <a:gd name="connsiteX32" fmla="*/ 6820 w 10000"/>
                <a:gd name="connsiteY32" fmla="*/ 4257 h 10007"/>
                <a:gd name="connsiteX33" fmla="*/ 6790 w 10000"/>
                <a:gd name="connsiteY33" fmla="*/ 4202 h 10007"/>
                <a:gd name="connsiteX34" fmla="*/ 6768 w 10000"/>
                <a:gd name="connsiteY34" fmla="*/ 4142 h 10007"/>
                <a:gd name="connsiteX35" fmla="*/ 6738 w 10000"/>
                <a:gd name="connsiteY35" fmla="*/ 4087 h 10007"/>
                <a:gd name="connsiteX36" fmla="*/ 6723 w 10000"/>
                <a:gd name="connsiteY36" fmla="*/ 4027 h 10007"/>
                <a:gd name="connsiteX37" fmla="*/ 6694 w 10000"/>
                <a:gd name="connsiteY37" fmla="*/ 3972 h 10007"/>
                <a:gd name="connsiteX38" fmla="*/ 6679 w 10000"/>
                <a:gd name="connsiteY38" fmla="*/ 3912 h 10007"/>
                <a:gd name="connsiteX39" fmla="*/ 6664 w 10000"/>
                <a:gd name="connsiteY39" fmla="*/ 3852 h 10007"/>
                <a:gd name="connsiteX40" fmla="*/ 6649 w 10000"/>
                <a:gd name="connsiteY40" fmla="*/ 3793 h 10007"/>
                <a:gd name="connsiteX41" fmla="*/ 6635 w 10000"/>
                <a:gd name="connsiteY41" fmla="*/ 3738 h 10007"/>
                <a:gd name="connsiteX42" fmla="*/ 6620 w 10000"/>
                <a:gd name="connsiteY42" fmla="*/ 3678 h 10007"/>
                <a:gd name="connsiteX43" fmla="*/ 6612 w 10000"/>
                <a:gd name="connsiteY43" fmla="*/ 3619 h 10007"/>
                <a:gd name="connsiteX44" fmla="*/ 6605 w 10000"/>
                <a:gd name="connsiteY44" fmla="*/ 3559 h 10007"/>
                <a:gd name="connsiteX45" fmla="*/ 6597 w 10000"/>
                <a:gd name="connsiteY45" fmla="*/ 3495 h 10007"/>
                <a:gd name="connsiteX46" fmla="*/ 6597 w 10000"/>
                <a:gd name="connsiteY46" fmla="*/ 3435 h 10007"/>
                <a:gd name="connsiteX47" fmla="*/ 6590 w 10000"/>
                <a:gd name="connsiteY47" fmla="*/ 3371 h 10007"/>
                <a:gd name="connsiteX48" fmla="*/ 6597 w 10000"/>
                <a:gd name="connsiteY48" fmla="*/ 3311 h 10007"/>
                <a:gd name="connsiteX49" fmla="*/ 6605 w 10000"/>
                <a:gd name="connsiteY49" fmla="*/ 3243 h 10007"/>
                <a:gd name="connsiteX50" fmla="*/ 6605 w 10000"/>
                <a:gd name="connsiteY50" fmla="*/ 3178 h 10007"/>
                <a:gd name="connsiteX51" fmla="*/ 6612 w 10000"/>
                <a:gd name="connsiteY51" fmla="*/ 3113 h 10007"/>
                <a:gd name="connsiteX52" fmla="*/ 6620 w 10000"/>
                <a:gd name="connsiteY52" fmla="*/ 3049 h 10007"/>
                <a:gd name="connsiteX53" fmla="*/ 6635 w 10000"/>
                <a:gd name="connsiteY53" fmla="*/ 2990 h 10007"/>
                <a:gd name="connsiteX54" fmla="*/ 6649 w 10000"/>
                <a:gd name="connsiteY54" fmla="*/ 2926 h 10007"/>
                <a:gd name="connsiteX55" fmla="*/ 6664 w 10000"/>
                <a:gd name="connsiteY55" fmla="*/ 2866 h 10007"/>
                <a:gd name="connsiteX56" fmla="*/ 6686 w 10000"/>
                <a:gd name="connsiteY56" fmla="*/ 2802 h 10007"/>
                <a:gd name="connsiteX57" fmla="*/ 6709 w 10000"/>
                <a:gd name="connsiteY57" fmla="*/ 2742 h 10007"/>
                <a:gd name="connsiteX58" fmla="*/ 6731 w 10000"/>
                <a:gd name="connsiteY58" fmla="*/ 2683 h 10007"/>
                <a:gd name="connsiteX59" fmla="*/ 6753 w 10000"/>
                <a:gd name="connsiteY59" fmla="*/ 2618 h 10007"/>
                <a:gd name="connsiteX60" fmla="*/ 6783 w 10000"/>
                <a:gd name="connsiteY60" fmla="*/ 2563 h 10007"/>
                <a:gd name="connsiteX61" fmla="*/ 6812 w 10000"/>
                <a:gd name="connsiteY61" fmla="*/ 2503 h 10007"/>
                <a:gd name="connsiteX62" fmla="*/ 6842 w 10000"/>
                <a:gd name="connsiteY62" fmla="*/ 2443 h 10007"/>
                <a:gd name="connsiteX63" fmla="*/ 6879 w 10000"/>
                <a:gd name="connsiteY63" fmla="*/ 2384 h 10007"/>
                <a:gd name="connsiteX64" fmla="*/ 6909 w 10000"/>
                <a:gd name="connsiteY64" fmla="*/ 2329 h 10007"/>
                <a:gd name="connsiteX65" fmla="*/ 6946 w 10000"/>
                <a:gd name="connsiteY65" fmla="*/ 2269 h 10007"/>
                <a:gd name="connsiteX66" fmla="*/ 6990 w 10000"/>
                <a:gd name="connsiteY66" fmla="*/ 2214 h 10007"/>
                <a:gd name="connsiteX67" fmla="*/ 7027 w 10000"/>
                <a:gd name="connsiteY67" fmla="*/ 2159 h 10007"/>
                <a:gd name="connsiteX68" fmla="*/ 7072 w 10000"/>
                <a:gd name="connsiteY68" fmla="*/ 2104 h 10007"/>
                <a:gd name="connsiteX69" fmla="*/ 7109 w 10000"/>
                <a:gd name="connsiteY69" fmla="*/ 2049 h 10007"/>
                <a:gd name="connsiteX70" fmla="*/ 7161 w 10000"/>
                <a:gd name="connsiteY70" fmla="*/ 1999 h 10007"/>
                <a:gd name="connsiteX71" fmla="*/ 7213 w 10000"/>
                <a:gd name="connsiteY71" fmla="*/ 1944 h 10007"/>
                <a:gd name="connsiteX72" fmla="*/ 7257 w 10000"/>
                <a:gd name="connsiteY72" fmla="*/ 1889 h 10007"/>
                <a:gd name="connsiteX73" fmla="*/ 7309 w 10000"/>
                <a:gd name="connsiteY73" fmla="*/ 1838 h 10007"/>
                <a:gd name="connsiteX74" fmla="*/ 7361 w 10000"/>
                <a:gd name="connsiteY74" fmla="*/ 1787 h 10007"/>
                <a:gd name="connsiteX75" fmla="*/ 7413 w 10000"/>
                <a:gd name="connsiteY75" fmla="*/ 1737 h 10007"/>
                <a:gd name="connsiteX76" fmla="*/ 7472 w 10000"/>
                <a:gd name="connsiteY76" fmla="*/ 1686 h 10007"/>
                <a:gd name="connsiteX77" fmla="*/ 7524 w 10000"/>
                <a:gd name="connsiteY77" fmla="*/ 1640 h 10007"/>
                <a:gd name="connsiteX78" fmla="*/ 7583 w 10000"/>
                <a:gd name="connsiteY78" fmla="*/ 1594 h 10007"/>
                <a:gd name="connsiteX79" fmla="*/ 7610 w 10000"/>
                <a:gd name="connsiteY79" fmla="*/ 1565 h 10007"/>
                <a:gd name="connsiteX80" fmla="*/ 5401 w 10000"/>
                <a:gd name="connsiteY80" fmla="*/ 6 h 10007"/>
                <a:gd name="connsiteX81" fmla="*/ 1423 w 10000"/>
                <a:gd name="connsiteY81" fmla="*/ 0 h 10007"/>
                <a:gd name="connsiteX82" fmla="*/ 1305 w 10000"/>
                <a:gd name="connsiteY82" fmla="*/ 121 h 10007"/>
                <a:gd name="connsiteX83" fmla="*/ 1223 w 10000"/>
                <a:gd name="connsiteY83" fmla="*/ 213 h 10007"/>
                <a:gd name="connsiteX84" fmla="*/ 1149 w 10000"/>
                <a:gd name="connsiteY84" fmla="*/ 309 h 10007"/>
                <a:gd name="connsiteX85" fmla="*/ 1067 w 10000"/>
                <a:gd name="connsiteY85" fmla="*/ 406 h 10007"/>
                <a:gd name="connsiteX86" fmla="*/ 1001 w 10000"/>
                <a:gd name="connsiteY86" fmla="*/ 503 h 10007"/>
                <a:gd name="connsiteX87" fmla="*/ 927 w 10000"/>
                <a:gd name="connsiteY87" fmla="*/ 599 h 10007"/>
                <a:gd name="connsiteX88" fmla="*/ 860 w 10000"/>
                <a:gd name="connsiteY88" fmla="*/ 700 h 10007"/>
                <a:gd name="connsiteX89" fmla="*/ 793 w 10000"/>
                <a:gd name="connsiteY89" fmla="*/ 801 h 10007"/>
                <a:gd name="connsiteX90" fmla="*/ 734 w 10000"/>
                <a:gd name="connsiteY90" fmla="*/ 897 h 10007"/>
                <a:gd name="connsiteX91" fmla="*/ 675 w 10000"/>
                <a:gd name="connsiteY91" fmla="*/ 998 h 10007"/>
                <a:gd name="connsiteX92" fmla="*/ 615 w 10000"/>
                <a:gd name="connsiteY92" fmla="*/ 1099 h 10007"/>
                <a:gd name="connsiteX93" fmla="*/ 556 w 10000"/>
                <a:gd name="connsiteY93" fmla="*/ 1205 h 10007"/>
                <a:gd name="connsiteX94" fmla="*/ 504 w 10000"/>
                <a:gd name="connsiteY94" fmla="*/ 1301 h 10007"/>
                <a:gd name="connsiteX95" fmla="*/ 452 w 10000"/>
                <a:gd name="connsiteY95" fmla="*/ 1407 h 10007"/>
                <a:gd name="connsiteX96" fmla="*/ 408 w 10000"/>
                <a:gd name="connsiteY96" fmla="*/ 1507 h 10007"/>
                <a:gd name="connsiteX97" fmla="*/ 363 w 10000"/>
                <a:gd name="connsiteY97" fmla="*/ 1613 h 10007"/>
                <a:gd name="connsiteX98" fmla="*/ 319 w 10000"/>
                <a:gd name="connsiteY98" fmla="*/ 1718 h 10007"/>
                <a:gd name="connsiteX99" fmla="*/ 282 w 10000"/>
                <a:gd name="connsiteY99" fmla="*/ 1825 h 10007"/>
                <a:gd name="connsiteX100" fmla="*/ 237 w 10000"/>
                <a:gd name="connsiteY100" fmla="*/ 1935 h 10007"/>
                <a:gd name="connsiteX101" fmla="*/ 208 w 10000"/>
                <a:gd name="connsiteY101" fmla="*/ 2040 h 10007"/>
                <a:gd name="connsiteX102" fmla="*/ 170 w 10000"/>
                <a:gd name="connsiteY102" fmla="*/ 2150 h 10007"/>
                <a:gd name="connsiteX103" fmla="*/ 148 w 10000"/>
                <a:gd name="connsiteY103" fmla="*/ 2260 h 10007"/>
                <a:gd name="connsiteX104" fmla="*/ 119 w 10000"/>
                <a:gd name="connsiteY104" fmla="*/ 2365 h 10007"/>
                <a:gd name="connsiteX105" fmla="*/ 96 w 10000"/>
                <a:gd name="connsiteY105" fmla="*/ 2475 h 10007"/>
                <a:gd name="connsiteX106" fmla="*/ 74 w 10000"/>
                <a:gd name="connsiteY106" fmla="*/ 2586 h 10007"/>
                <a:gd name="connsiteX107" fmla="*/ 52 w 10000"/>
                <a:gd name="connsiteY107" fmla="*/ 2701 h 10007"/>
                <a:gd name="connsiteX108" fmla="*/ 37 w 10000"/>
                <a:gd name="connsiteY108" fmla="*/ 2811 h 10007"/>
                <a:gd name="connsiteX109" fmla="*/ 22 w 10000"/>
                <a:gd name="connsiteY109" fmla="*/ 2921 h 10007"/>
                <a:gd name="connsiteX110" fmla="*/ 15 w 10000"/>
                <a:gd name="connsiteY110" fmla="*/ 3031 h 10007"/>
                <a:gd name="connsiteX111" fmla="*/ 7 w 10000"/>
                <a:gd name="connsiteY111" fmla="*/ 3145 h 10007"/>
                <a:gd name="connsiteX112" fmla="*/ 0 w 10000"/>
                <a:gd name="connsiteY112" fmla="*/ 3256 h 10007"/>
                <a:gd name="connsiteX113" fmla="*/ 0 w 10000"/>
                <a:gd name="connsiteY113" fmla="*/ 3371 h 10007"/>
                <a:gd name="connsiteX114" fmla="*/ 7 w 10000"/>
                <a:gd name="connsiteY114" fmla="*/ 3518 h 10007"/>
                <a:gd name="connsiteX115" fmla="*/ 7 w 10000"/>
                <a:gd name="connsiteY115" fmla="*/ 3664 h 10007"/>
                <a:gd name="connsiteX116" fmla="*/ 22 w 10000"/>
                <a:gd name="connsiteY116" fmla="*/ 3802 h 10007"/>
                <a:gd name="connsiteX117" fmla="*/ 37 w 10000"/>
                <a:gd name="connsiteY117" fmla="*/ 3945 h 10007"/>
                <a:gd name="connsiteX118" fmla="*/ 59 w 10000"/>
                <a:gd name="connsiteY118" fmla="*/ 4087 h 10007"/>
                <a:gd name="connsiteX119" fmla="*/ 89 w 10000"/>
                <a:gd name="connsiteY119" fmla="*/ 4229 h 10007"/>
                <a:gd name="connsiteX120" fmla="*/ 119 w 10000"/>
                <a:gd name="connsiteY120" fmla="*/ 4371 h 10007"/>
                <a:gd name="connsiteX121" fmla="*/ 148 w 10000"/>
                <a:gd name="connsiteY121" fmla="*/ 4513 h 10007"/>
                <a:gd name="connsiteX122" fmla="*/ 193 w 10000"/>
                <a:gd name="connsiteY122" fmla="*/ 4652 h 10007"/>
                <a:gd name="connsiteX123" fmla="*/ 237 w 10000"/>
                <a:gd name="connsiteY123" fmla="*/ 4789 h 10007"/>
                <a:gd name="connsiteX124" fmla="*/ 282 w 10000"/>
                <a:gd name="connsiteY124" fmla="*/ 4927 h 10007"/>
                <a:gd name="connsiteX125" fmla="*/ 334 w 10000"/>
                <a:gd name="connsiteY125" fmla="*/ 5064 h 10007"/>
                <a:gd name="connsiteX126" fmla="*/ 393 w 10000"/>
                <a:gd name="connsiteY126" fmla="*/ 5197 h 10007"/>
                <a:gd name="connsiteX127" fmla="*/ 452 w 10000"/>
                <a:gd name="connsiteY127" fmla="*/ 5330 h 10007"/>
                <a:gd name="connsiteX128" fmla="*/ 519 w 10000"/>
                <a:gd name="connsiteY128" fmla="*/ 5464 h 10007"/>
                <a:gd name="connsiteX129" fmla="*/ 586 w 10000"/>
                <a:gd name="connsiteY129" fmla="*/ 5597 h 10007"/>
                <a:gd name="connsiteX130" fmla="*/ 660 w 10000"/>
                <a:gd name="connsiteY130" fmla="*/ 5725 h 10007"/>
                <a:gd name="connsiteX131" fmla="*/ 741 w 10000"/>
                <a:gd name="connsiteY131" fmla="*/ 5853 h 10007"/>
                <a:gd name="connsiteX132" fmla="*/ 823 w 10000"/>
                <a:gd name="connsiteY132" fmla="*/ 5986 h 10007"/>
                <a:gd name="connsiteX133" fmla="*/ 904 w 10000"/>
                <a:gd name="connsiteY133" fmla="*/ 6111 h 10007"/>
                <a:gd name="connsiteX134" fmla="*/ 993 w 10000"/>
                <a:gd name="connsiteY134" fmla="*/ 6235 h 10007"/>
                <a:gd name="connsiteX135" fmla="*/ 1090 w 10000"/>
                <a:gd name="connsiteY135" fmla="*/ 6354 h 10007"/>
                <a:gd name="connsiteX136" fmla="*/ 1186 w 10000"/>
                <a:gd name="connsiteY136" fmla="*/ 6478 h 10007"/>
                <a:gd name="connsiteX137" fmla="*/ 1290 w 10000"/>
                <a:gd name="connsiteY137" fmla="*/ 6601 h 10007"/>
                <a:gd name="connsiteX138" fmla="*/ 1386 w 10000"/>
                <a:gd name="connsiteY138" fmla="*/ 6721 h 10007"/>
                <a:gd name="connsiteX139" fmla="*/ 1497 w 10000"/>
                <a:gd name="connsiteY139" fmla="*/ 6841 h 10007"/>
                <a:gd name="connsiteX140" fmla="*/ 1609 w 10000"/>
                <a:gd name="connsiteY140" fmla="*/ 6955 h 10007"/>
                <a:gd name="connsiteX141" fmla="*/ 1727 w 10000"/>
                <a:gd name="connsiteY141" fmla="*/ 7074 h 10007"/>
                <a:gd name="connsiteX142" fmla="*/ 1846 w 10000"/>
                <a:gd name="connsiteY142" fmla="*/ 7189 h 10007"/>
                <a:gd name="connsiteX143" fmla="*/ 1964 w 10000"/>
                <a:gd name="connsiteY143" fmla="*/ 7299 h 10007"/>
                <a:gd name="connsiteX144" fmla="*/ 2090 w 10000"/>
                <a:gd name="connsiteY144" fmla="*/ 7409 h 10007"/>
                <a:gd name="connsiteX145" fmla="*/ 2224 w 10000"/>
                <a:gd name="connsiteY145" fmla="*/ 7520 h 10007"/>
                <a:gd name="connsiteX146" fmla="*/ 2350 w 10000"/>
                <a:gd name="connsiteY146" fmla="*/ 7630 h 10007"/>
                <a:gd name="connsiteX147" fmla="*/ 2491 w 10000"/>
                <a:gd name="connsiteY147" fmla="*/ 7735 h 10007"/>
                <a:gd name="connsiteX148" fmla="*/ 2617 w 10000"/>
                <a:gd name="connsiteY148" fmla="*/ 7841 h 10007"/>
                <a:gd name="connsiteX149" fmla="*/ 2765 w 10000"/>
                <a:gd name="connsiteY149" fmla="*/ 7942 h 10007"/>
                <a:gd name="connsiteX150" fmla="*/ 2906 w 10000"/>
                <a:gd name="connsiteY150" fmla="*/ 8042 h 10007"/>
                <a:gd name="connsiteX151" fmla="*/ 3054 w 10000"/>
                <a:gd name="connsiteY151" fmla="*/ 8143 h 10007"/>
                <a:gd name="connsiteX152" fmla="*/ 3210 w 10000"/>
                <a:gd name="connsiteY152" fmla="*/ 8241 h 10007"/>
                <a:gd name="connsiteX153" fmla="*/ 3358 w 10000"/>
                <a:gd name="connsiteY153" fmla="*/ 8337 h 10007"/>
                <a:gd name="connsiteX154" fmla="*/ 3514 w 10000"/>
                <a:gd name="connsiteY154" fmla="*/ 8433 h 10007"/>
                <a:gd name="connsiteX155" fmla="*/ 3677 w 10000"/>
                <a:gd name="connsiteY155" fmla="*/ 8525 h 10007"/>
                <a:gd name="connsiteX156" fmla="*/ 3840 w 10000"/>
                <a:gd name="connsiteY156" fmla="*/ 8612 h 10007"/>
                <a:gd name="connsiteX157" fmla="*/ 4010 w 10000"/>
                <a:gd name="connsiteY157" fmla="*/ 8703 h 10007"/>
                <a:gd name="connsiteX158" fmla="*/ 4181 w 10000"/>
                <a:gd name="connsiteY158" fmla="*/ 8781 h 10007"/>
                <a:gd name="connsiteX159" fmla="*/ 4351 w 10000"/>
                <a:gd name="connsiteY159" fmla="*/ 8868 h 10007"/>
                <a:gd name="connsiteX160" fmla="*/ 4522 w 10000"/>
                <a:gd name="connsiteY160" fmla="*/ 8947 h 10007"/>
                <a:gd name="connsiteX161" fmla="*/ 4700 w 10000"/>
                <a:gd name="connsiteY161" fmla="*/ 9030 h 10007"/>
                <a:gd name="connsiteX162" fmla="*/ 4878 w 10000"/>
                <a:gd name="connsiteY162" fmla="*/ 9108 h 10007"/>
                <a:gd name="connsiteX163" fmla="*/ 5063 w 10000"/>
                <a:gd name="connsiteY163" fmla="*/ 9181 h 10007"/>
                <a:gd name="connsiteX164" fmla="*/ 5248 w 10000"/>
                <a:gd name="connsiteY164" fmla="*/ 9259 h 10007"/>
                <a:gd name="connsiteX165" fmla="*/ 5426 w 10000"/>
                <a:gd name="connsiteY165" fmla="*/ 9328 h 10007"/>
                <a:gd name="connsiteX166" fmla="*/ 5619 w 10000"/>
                <a:gd name="connsiteY166" fmla="*/ 9396 h 10007"/>
                <a:gd name="connsiteX167" fmla="*/ 5812 w 10000"/>
                <a:gd name="connsiteY167" fmla="*/ 9465 h 10007"/>
                <a:gd name="connsiteX168" fmla="*/ 6004 w 10000"/>
                <a:gd name="connsiteY168" fmla="*/ 9529 h 10007"/>
                <a:gd name="connsiteX169" fmla="*/ 6205 w 10000"/>
                <a:gd name="connsiteY169" fmla="*/ 9594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58 h 10007"/>
                <a:gd name="connsiteX179" fmla="*/ 10000 w 10000"/>
                <a:gd name="connsiteY179" fmla="*/ 6143 h 10007"/>
                <a:gd name="connsiteX0" fmla="*/ 10000 w 10000"/>
                <a:gd name="connsiteY0" fmla="*/ 6144 h 10008"/>
                <a:gd name="connsiteX1" fmla="*/ 10000 w 10000"/>
                <a:gd name="connsiteY1" fmla="*/ 6144 h 10008"/>
                <a:gd name="connsiteX2" fmla="*/ 9911 w 10000"/>
                <a:gd name="connsiteY2" fmla="*/ 6130 h 10008"/>
                <a:gd name="connsiteX3" fmla="*/ 9815 w 10000"/>
                <a:gd name="connsiteY3" fmla="*/ 6112 h 10008"/>
                <a:gd name="connsiteX4" fmla="*/ 9726 w 10000"/>
                <a:gd name="connsiteY4" fmla="*/ 6094 h 10008"/>
                <a:gd name="connsiteX5" fmla="*/ 9637 w 10000"/>
                <a:gd name="connsiteY5" fmla="*/ 6070 h 10008"/>
                <a:gd name="connsiteX6" fmla="*/ 9548 w 10000"/>
                <a:gd name="connsiteY6" fmla="*/ 6051 h 10008"/>
                <a:gd name="connsiteX7" fmla="*/ 9466 w 10000"/>
                <a:gd name="connsiteY7" fmla="*/ 6029 h 10008"/>
                <a:gd name="connsiteX8" fmla="*/ 9377 w 10000"/>
                <a:gd name="connsiteY8" fmla="*/ 6006 h 10008"/>
                <a:gd name="connsiteX9" fmla="*/ 9288 w 10000"/>
                <a:gd name="connsiteY9" fmla="*/ 5983 h 10008"/>
                <a:gd name="connsiteX10" fmla="*/ 9118 w 10000"/>
                <a:gd name="connsiteY10" fmla="*/ 5932 h 10008"/>
                <a:gd name="connsiteX11" fmla="*/ 8955 w 10000"/>
                <a:gd name="connsiteY11" fmla="*/ 5877 h 10008"/>
                <a:gd name="connsiteX12" fmla="*/ 8792 w 10000"/>
                <a:gd name="connsiteY12" fmla="*/ 5818 h 10008"/>
                <a:gd name="connsiteX13" fmla="*/ 8636 w 10000"/>
                <a:gd name="connsiteY13" fmla="*/ 5754 h 10008"/>
                <a:gd name="connsiteX14" fmla="*/ 8480 w 10000"/>
                <a:gd name="connsiteY14" fmla="*/ 5689 h 10008"/>
                <a:gd name="connsiteX15" fmla="*/ 8340 w 10000"/>
                <a:gd name="connsiteY15" fmla="*/ 5621 h 10008"/>
                <a:gd name="connsiteX16" fmla="*/ 8199 w 10000"/>
                <a:gd name="connsiteY16" fmla="*/ 5547 h 10008"/>
                <a:gd name="connsiteX17" fmla="*/ 8058 w 10000"/>
                <a:gd name="connsiteY17" fmla="*/ 5469 h 10008"/>
                <a:gd name="connsiteX18" fmla="*/ 7924 w 10000"/>
                <a:gd name="connsiteY18" fmla="*/ 5387 h 10008"/>
                <a:gd name="connsiteX19" fmla="*/ 7798 w 10000"/>
                <a:gd name="connsiteY19" fmla="*/ 5303 h 10008"/>
                <a:gd name="connsiteX20" fmla="*/ 7672 w 10000"/>
                <a:gd name="connsiteY20" fmla="*/ 5216 h 10008"/>
                <a:gd name="connsiteX21" fmla="*/ 7554 w 10000"/>
                <a:gd name="connsiteY21" fmla="*/ 5129 h 10008"/>
                <a:gd name="connsiteX22" fmla="*/ 7450 w 10000"/>
                <a:gd name="connsiteY22" fmla="*/ 5033 h 10008"/>
                <a:gd name="connsiteX23" fmla="*/ 7346 w 10000"/>
                <a:gd name="connsiteY23" fmla="*/ 4937 h 10008"/>
                <a:gd name="connsiteX24" fmla="*/ 7250 w 10000"/>
                <a:gd name="connsiteY24" fmla="*/ 4841 h 10008"/>
                <a:gd name="connsiteX25" fmla="*/ 7161 w 10000"/>
                <a:gd name="connsiteY25" fmla="*/ 4740 h 10008"/>
                <a:gd name="connsiteX26" fmla="*/ 7072 w 10000"/>
                <a:gd name="connsiteY26" fmla="*/ 4638 h 10008"/>
                <a:gd name="connsiteX27" fmla="*/ 6990 w 10000"/>
                <a:gd name="connsiteY27" fmla="*/ 4528 h 10008"/>
                <a:gd name="connsiteX28" fmla="*/ 6953 w 10000"/>
                <a:gd name="connsiteY28" fmla="*/ 4478 h 10008"/>
                <a:gd name="connsiteX29" fmla="*/ 6916 w 10000"/>
                <a:gd name="connsiteY29" fmla="*/ 4423 h 10008"/>
                <a:gd name="connsiteX30" fmla="*/ 6887 w 10000"/>
                <a:gd name="connsiteY30" fmla="*/ 4368 h 10008"/>
                <a:gd name="connsiteX31" fmla="*/ 6850 w 10000"/>
                <a:gd name="connsiteY31" fmla="*/ 4313 h 10008"/>
                <a:gd name="connsiteX32" fmla="*/ 6820 w 10000"/>
                <a:gd name="connsiteY32" fmla="*/ 4258 h 10008"/>
                <a:gd name="connsiteX33" fmla="*/ 6790 w 10000"/>
                <a:gd name="connsiteY33" fmla="*/ 4203 h 10008"/>
                <a:gd name="connsiteX34" fmla="*/ 6768 w 10000"/>
                <a:gd name="connsiteY34" fmla="*/ 4143 h 10008"/>
                <a:gd name="connsiteX35" fmla="*/ 6738 w 10000"/>
                <a:gd name="connsiteY35" fmla="*/ 4088 h 10008"/>
                <a:gd name="connsiteX36" fmla="*/ 6723 w 10000"/>
                <a:gd name="connsiteY36" fmla="*/ 4028 h 10008"/>
                <a:gd name="connsiteX37" fmla="*/ 6694 w 10000"/>
                <a:gd name="connsiteY37" fmla="*/ 3973 h 10008"/>
                <a:gd name="connsiteX38" fmla="*/ 6679 w 10000"/>
                <a:gd name="connsiteY38" fmla="*/ 3913 h 10008"/>
                <a:gd name="connsiteX39" fmla="*/ 6664 w 10000"/>
                <a:gd name="connsiteY39" fmla="*/ 3853 h 10008"/>
                <a:gd name="connsiteX40" fmla="*/ 6649 w 10000"/>
                <a:gd name="connsiteY40" fmla="*/ 3794 h 10008"/>
                <a:gd name="connsiteX41" fmla="*/ 6635 w 10000"/>
                <a:gd name="connsiteY41" fmla="*/ 3739 h 10008"/>
                <a:gd name="connsiteX42" fmla="*/ 6620 w 10000"/>
                <a:gd name="connsiteY42" fmla="*/ 3679 h 10008"/>
                <a:gd name="connsiteX43" fmla="*/ 6612 w 10000"/>
                <a:gd name="connsiteY43" fmla="*/ 3620 h 10008"/>
                <a:gd name="connsiteX44" fmla="*/ 6605 w 10000"/>
                <a:gd name="connsiteY44" fmla="*/ 3560 h 10008"/>
                <a:gd name="connsiteX45" fmla="*/ 6597 w 10000"/>
                <a:gd name="connsiteY45" fmla="*/ 3496 h 10008"/>
                <a:gd name="connsiteX46" fmla="*/ 6597 w 10000"/>
                <a:gd name="connsiteY46" fmla="*/ 3436 h 10008"/>
                <a:gd name="connsiteX47" fmla="*/ 6590 w 10000"/>
                <a:gd name="connsiteY47" fmla="*/ 3372 h 10008"/>
                <a:gd name="connsiteX48" fmla="*/ 6597 w 10000"/>
                <a:gd name="connsiteY48" fmla="*/ 3312 h 10008"/>
                <a:gd name="connsiteX49" fmla="*/ 6605 w 10000"/>
                <a:gd name="connsiteY49" fmla="*/ 3244 h 10008"/>
                <a:gd name="connsiteX50" fmla="*/ 6605 w 10000"/>
                <a:gd name="connsiteY50" fmla="*/ 3179 h 10008"/>
                <a:gd name="connsiteX51" fmla="*/ 6612 w 10000"/>
                <a:gd name="connsiteY51" fmla="*/ 3114 h 10008"/>
                <a:gd name="connsiteX52" fmla="*/ 6620 w 10000"/>
                <a:gd name="connsiteY52" fmla="*/ 3050 h 10008"/>
                <a:gd name="connsiteX53" fmla="*/ 6635 w 10000"/>
                <a:gd name="connsiteY53" fmla="*/ 2991 h 10008"/>
                <a:gd name="connsiteX54" fmla="*/ 6649 w 10000"/>
                <a:gd name="connsiteY54" fmla="*/ 2927 h 10008"/>
                <a:gd name="connsiteX55" fmla="*/ 6664 w 10000"/>
                <a:gd name="connsiteY55" fmla="*/ 2867 h 10008"/>
                <a:gd name="connsiteX56" fmla="*/ 6686 w 10000"/>
                <a:gd name="connsiteY56" fmla="*/ 2803 h 10008"/>
                <a:gd name="connsiteX57" fmla="*/ 6709 w 10000"/>
                <a:gd name="connsiteY57" fmla="*/ 2743 h 10008"/>
                <a:gd name="connsiteX58" fmla="*/ 6731 w 10000"/>
                <a:gd name="connsiteY58" fmla="*/ 2684 h 10008"/>
                <a:gd name="connsiteX59" fmla="*/ 6753 w 10000"/>
                <a:gd name="connsiteY59" fmla="*/ 2619 h 10008"/>
                <a:gd name="connsiteX60" fmla="*/ 6783 w 10000"/>
                <a:gd name="connsiteY60" fmla="*/ 2564 h 10008"/>
                <a:gd name="connsiteX61" fmla="*/ 6812 w 10000"/>
                <a:gd name="connsiteY61" fmla="*/ 2504 h 10008"/>
                <a:gd name="connsiteX62" fmla="*/ 6842 w 10000"/>
                <a:gd name="connsiteY62" fmla="*/ 2444 h 10008"/>
                <a:gd name="connsiteX63" fmla="*/ 6879 w 10000"/>
                <a:gd name="connsiteY63" fmla="*/ 2385 h 10008"/>
                <a:gd name="connsiteX64" fmla="*/ 6909 w 10000"/>
                <a:gd name="connsiteY64" fmla="*/ 2330 h 10008"/>
                <a:gd name="connsiteX65" fmla="*/ 6946 w 10000"/>
                <a:gd name="connsiteY65" fmla="*/ 2270 h 10008"/>
                <a:gd name="connsiteX66" fmla="*/ 6990 w 10000"/>
                <a:gd name="connsiteY66" fmla="*/ 2215 h 10008"/>
                <a:gd name="connsiteX67" fmla="*/ 7027 w 10000"/>
                <a:gd name="connsiteY67" fmla="*/ 2160 h 10008"/>
                <a:gd name="connsiteX68" fmla="*/ 7072 w 10000"/>
                <a:gd name="connsiteY68" fmla="*/ 2105 h 10008"/>
                <a:gd name="connsiteX69" fmla="*/ 7109 w 10000"/>
                <a:gd name="connsiteY69" fmla="*/ 2050 h 10008"/>
                <a:gd name="connsiteX70" fmla="*/ 7161 w 10000"/>
                <a:gd name="connsiteY70" fmla="*/ 2000 h 10008"/>
                <a:gd name="connsiteX71" fmla="*/ 7213 w 10000"/>
                <a:gd name="connsiteY71" fmla="*/ 1945 h 10008"/>
                <a:gd name="connsiteX72" fmla="*/ 7257 w 10000"/>
                <a:gd name="connsiteY72" fmla="*/ 1890 h 10008"/>
                <a:gd name="connsiteX73" fmla="*/ 7309 w 10000"/>
                <a:gd name="connsiteY73" fmla="*/ 1839 h 10008"/>
                <a:gd name="connsiteX74" fmla="*/ 7361 w 10000"/>
                <a:gd name="connsiteY74" fmla="*/ 1788 h 10008"/>
                <a:gd name="connsiteX75" fmla="*/ 7413 w 10000"/>
                <a:gd name="connsiteY75" fmla="*/ 1738 h 10008"/>
                <a:gd name="connsiteX76" fmla="*/ 7472 w 10000"/>
                <a:gd name="connsiteY76" fmla="*/ 1687 h 10008"/>
                <a:gd name="connsiteX77" fmla="*/ 7524 w 10000"/>
                <a:gd name="connsiteY77" fmla="*/ 1641 h 10008"/>
                <a:gd name="connsiteX78" fmla="*/ 7583 w 10000"/>
                <a:gd name="connsiteY78" fmla="*/ 1595 h 10008"/>
                <a:gd name="connsiteX79" fmla="*/ 7610 w 10000"/>
                <a:gd name="connsiteY79" fmla="*/ 1566 h 10008"/>
                <a:gd name="connsiteX80" fmla="*/ 5412 w 10000"/>
                <a:gd name="connsiteY80" fmla="*/ 0 h 10008"/>
                <a:gd name="connsiteX81" fmla="*/ 1423 w 10000"/>
                <a:gd name="connsiteY81" fmla="*/ 1 h 10008"/>
                <a:gd name="connsiteX82" fmla="*/ 1305 w 10000"/>
                <a:gd name="connsiteY82" fmla="*/ 122 h 10008"/>
                <a:gd name="connsiteX83" fmla="*/ 1223 w 10000"/>
                <a:gd name="connsiteY83" fmla="*/ 214 h 10008"/>
                <a:gd name="connsiteX84" fmla="*/ 1149 w 10000"/>
                <a:gd name="connsiteY84" fmla="*/ 310 h 10008"/>
                <a:gd name="connsiteX85" fmla="*/ 1067 w 10000"/>
                <a:gd name="connsiteY85" fmla="*/ 407 h 10008"/>
                <a:gd name="connsiteX86" fmla="*/ 1001 w 10000"/>
                <a:gd name="connsiteY86" fmla="*/ 504 h 10008"/>
                <a:gd name="connsiteX87" fmla="*/ 927 w 10000"/>
                <a:gd name="connsiteY87" fmla="*/ 600 h 10008"/>
                <a:gd name="connsiteX88" fmla="*/ 860 w 10000"/>
                <a:gd name="connsiteY88" fmla="*/ 701 h 10008"/>
                <a:gd name="connsiteX89" fmla="*/ 793 w 10000"/>
                <a:gd name="connsiteY89" fmla="*/ 802 h 10008"/>
                <a:gd name="connsiteX90" fmla="*/ 734 w 10000"/>
                <a:gd name="connsiteY90" fmla="*/ 898 h 10008"/>
                <a:gd name="connsiteX91" fmla="*/ 675 w 10000"/>
                <a:gd name="connsiteY91" fmla="*/ 999 h 10008"/>
                <a:gd name="connsiteX92" fmla="*/ 615 w 10000"/>
                <a:gd name="connsiteY92" fmla="*/ 1100 h 10008"/>
                <a:gd name="connsiteX93" fmla="*/ 556 w 10000"/>
                <a:gd name="connsiteY93" fmla="*/ 1206 h 10008"/>
                <a:gd name="connsiteX94" fmla="*/ 504 w 10000"/>
                <a:gd name="connsiteY94" fmla="*/ 1302 h 10008"/>
                <a:gd name="connsiteX95" fmla="*/ 452 w 10000"/>
                <a:gd name="connsiteY95" fmla="*/ 1408 h 10008"/>
                <a:gd name="connsiteX96" fmla="*/ 408 w 10000"/>
                <a:gd name="connsiteY96" fmla="*/ 1508 h 10008"/>
                <a:gd name="connsiteX97" fmla="*/ 363 w 10000"/>
                <a:gd name="connsiteY97" fmla="*/ 1614 h 10008"/>
                <a:gd name="connsiteX98" fmla="*/ 319 w 10000"/>
                <a:gd name="connsiteY98" fmla="*/ 1719 h 10008"/>
                <a:gd name="connsiteX99" fmla="*/ 282 w 10000"/>
                <a:gd name="connsiteY99" fmla="*/ 1826 h 10008"/>
                <a:gd name="connsiteX100" fmla="*/ 237 w 10000"/>
                <a:gd name="connsiteY100" fmla="*/ 1936 h 10008"/>
                <a:gd name="connsiteX101" fmla="*/ 208 w 10000"/>
                <a:gd name="connsiteY101" fmla="*/ 2041 h 10008"/>
                <a:gd name="connsiteX102" fmla="*/ 170 w 10000"/>
                <a:gd name="connsiteY102" fmla="*/ 2151 h 10008"/>
                <a:gd name="connsiteX103" fmla="*/ 148 w 10000"/>
                <a:gd name="connsiteY103" fmla="*/ 2261 h 10008"/>
                <a:gd name="connsiteX104" fmla="*/ 119 w 10000"/>
                <a:gd name="connsiteY104" fmla="*/ 2366 h 10008"/>
                <a:gd name="connsiteX105" fmla="*/ 96 w 10000"/>
                <a:gd name="connsiteY105" fmla="*/ 2476 h 10008"/>
                <a:gd name="connsiteX106" fmla="*/ 74 w 10000"/>
                <a:gd name="connsiteY106" fmla="*/ 2587 h 10008"/>
                <a:gd name="connsiteX107" fmla="*/ 52 w 10000"/>
                <a:gd name="connsiteY107" fmla="*/ 2702 h 10008"/>
                <a:gd name="connsiteX108" fmla="*/ 37 w 10000"/>
                <a:gd name="connsiteY108" fmla="*/ 2812 h 10008"/>
                <a:gd name="connsiteX109" fmla="*/ 22 w 10000"/>
                <a:gd name="connsiteY109" fmla="*/ 2922 h 10008"/>
                <a:gd name="connsiteX110" fmla="*/ 15 w 10000"/>
                <a:gd name="connsiteY110" fmla="*/ 3032 h 10008"/>
                <a:gd name="connsiteX111" fmla="*/ 7 w 10000"/>
                <a:gd name="connsiteY111" fmla="*/ 3146 h 10008"/>
                <a:gd name="connsiteX112" fmla="*/ 0 w 10000"/>
                <a:gd name="connsiteY112" fmla="*/ 3257 h 10008"/>
                <a:gd name="connsiteX113" fmla="*/ 0 w 10000"/>
                <a:gd name="connsiteY113" fmla="*/ 3372 h 10008"/>
                <a:gd name="connsiteX114" fmla="*/ 7 w 10000"/>
                <a:gd name="connsiteY114" fmla="*/ 3519 h 10008"/>
                <a:gd name="connsiteX115" fmla="*/ 7 w 10000"/>
                <a:gd name="connsiteY115" fmla="*/ 3665 h 10008"/>
                <a:gd name="connsiteX116" fmla="*/ 22 w 10000"/>
                <a:gd name="connsiteY116" fmla="*/ 3803 h 10008"/>
                <a:gd name="connsiteX117" fmla="*/ 37 w 10000"/>
                <a:gd name="connsiteY117" fmla="*/ 3946 h 10008"/>
                <a:gd name="connsiteX118" fmla="*/ 59 w 10000"/>
                <a:gd name="connsiteY118" fmla="*/ 4088 h 10008"/>
                <a:gd name="connsiteX119" fmla="*/ 89 w 10000"/>
                <a:gd name="connsiteY119" fmla="*/ 4230 h 10008"/>
                <a:gd name="connsiteX120" fmla="*/ 119 w 10000"/>
                <a:gd name="connsiteY120" fmla="*/ 4372 h 10008"/>
                <a:gd name="connsiteX121" fmla="*/ 148 w 10000"/>
                <a:gd name="connsiteY121" fmla="*/ 4514 h 10008"/>
                <a:gd name="connsiteX122" fmla="*/ 193 w 10000"/>
                <a:gd name="connsiteY122" fmla="*/ 4653 h 10008"/>
                <a:gd name="connsiteX123" fmla="*/ 237 w 10000"/>
                <a:gd name="connsiteY123" fmla="*/ 4790 h 10008"/>
                <a:gd name="connsiteX124" fmla="*/ 282 w 10000"/>
                <a:gd name="connsiteY124" fmla="*/ 4928 h 10008"/>
                <a:gd name="connsiteX125" fmla="*/ 334 w 10000"/>
                <a:gd name="connsiteY125" fmla="*/ 5065 h 10008"/>
                <a:gd name="connsiteX126" fmla="*/ 393 w 10000"/>
                <a:gd name="connsiteY126" fmla="*/ 5198 h 10008"/>
                <a:gd name="connsiteX127" fmla="*/ 452 w 10000"/>
                <a:gd name="connsiteY127" fmla="*/ 5331 h 10008"/>
                <a:gd name="connsiteX128" fmla="*/ 519 w 10000"/>
                <a:gd name="connsiteY128" fmla="*/ 5465 h 10008"/>
                <a:gd name="connsiteX129" fmla="*/ 586 w 10000"/>
                <a:gd name="connsiteY129" fmla="*/ 5598 h 10008"/>
                <a:gd name="connsiteX130" fmla="*/ 660 w 10000"/>
                <a:gd name="connsiteY130" fmla="*/ 5726 h 10008"/>
                <a:gd name="connsiteX131" fmla="*/ 741 w 10000"/>
                <a:gd name="connsiteY131" fmla="*/ 5854 h 10008"/>
                <a:gd name="connsiteX132" fmla="*/ 823 w 10000"/>
                <a:gd name="connsiteY132" fmla="*/ 5987 h 10008"/>
                <a:gd name="connsiteX133" fmla="*/ 904 w 10000"/>
                <a:gd name="connsiteY133" fmla="*/ 6112 h 10008"/>
                <a:gd name="connsiteX134" fmla="*/ 993 w 10000"/>
                <a:gd name="connsiteY134" fmla="*/ 6236 h 10008"/>
                <a:gd name="connsiteX135" fmla="*/ 1090 w 10000"/>
                <a:gd name="connsiteY135" fmla="*/ 6355 h 10008"/>
                <a:gd name="connsiteX136" fmla="*/ 1186 w 10000"/>
                <a:gd name="connsiteY136" fmla="*/ 6479 h 10008"/>
                <a:gd name="connsiteX137" fmla="*/ 1290 w 10000"/>
                <a:gd name="connsiteY137" fmla="*/ 6602 h 10008"/>
                <a:gd name="connsiteX138" fmla="*/ 1386 w 10000"/>
                <a:gd name="connsiteY138" fmla="*/ 6722 h 10008"/>
                <a:gd name="connsiteX139" fmla="*/ 1497 w 10000"/>
                <a:gd name="connsiteY139" fmla="*/ 6842 h 10008"/>
                <a:gd name="connsiteX140" fmla="*/ 1609 w 10000"/>
                <a:gd name="connsiteY140" fmla="*/ 6956 h 10008"/>
                <a:gd name="connsiteX141" fmla="*/ 1727 w 10000"/>
                <a:gd name="connsiteY141" fmla="*/ 7075 h 10008"/>
                <a:gd name="connsiteX142" fmla="*/ 1846 w 10000"/>
                <a:gd name="connsiteY142" fmla="*/ 7190 h 10008"/>
                <a:gd name="connsiteX143" fmla="*/ 1964 w 10000"/>
                <a:gd name="connsiteY143" fmla="*/ 7300 h 10008"/>
                <a:gd name="connsiteX144" fmla="*/ 2090 w 10000"/>
                <a:gd name="connsiteY144" fmla="*/ 7410 h 10008"/>
                <a:gd name="connsiteX145" fmla="*/ 2224 w 10000"/>
                <a:gd name="connsiteY145" fmla="*/ 7521 h 10008"/>
                <a:gd name="connsiteX146" fmla="*/ 2350 w 10000"/>
                <a:gd name="connsiteY146" fmla="*/ 7631 h 10008"/>
                <a:gd name="connsiteX147" fmla="*/ 2491 w 10000"/>
                <a:gd name="connsiteY147" fmla="*/ 7736 h 10008"/>
                <a:gd name="connsiteX148" fmla="*/ 2617 w 10000"/>
                <a:gd name="connsiteY148" fmla="*/ 7842 h 10008"/>
                <a:gd name="connsiteX149" fmla="*/ 2765 w 10000"/>
                <a:gd name="connsiteY149" fmla="*/ 7943 h 10008"/>
                <a:gd name="connsiteX150" fmla="*/ 2906 w 10000"/>
                <a:gd name="connsiteY150" fmla="*/ 8043 h 10008"/>
                <a:gd name="connsiteX151" fmla="*/ 3054 w 10000"/>
                <a:gd name="connsiteY151" fmla="*/ 8144 h 10008"/>
                <a:gd name="connsiteX152" fmla="*/ 3210 w 10000"/>
                <a:gd name="connsiteY152" fmla="*/ 8242 h 10008"/>
                <a:gd name="connsiteX153" fmla="*/ 3358 w 10000"/>
                <a:gd name="connsiteY153" fmla="*/ 8338 h 10008"/>
                <a:gd name="connsiteX154" fmla="*/ 3514 w 10000"/>
                <a:gd name="connsiteY154" fmla="*/ 8434 h 10008"/>
                <a:gd name="connsiteX155" fmla="*/ 3677 w 10000"/>
                <a:gd name="connsiteY155" fmla="*/ 8526 h 10008"/>
                <a:gd name="connsiteX156" fmla="*/ 3840 w 10000"/>
                <a:gd name="connsiteY156" fmla="*/ 8613 h 10008"/>
                <a:gd name="connsiteX157" fmla="*/ 4010 w 10000"/>
                <a:gd name="connsiteY157" fmla="*/ 8704 h 10008"/>
                <a:gd name="connsiteX158" fmla="*/ 4181 w 10000"/>
                <a:gd name="connsiteY158" fmla="*/ 8782 h 10008"/>
                <a:gd name="connsiteX159" fmla="*/ 4351 w 10000"/>
                <a:gd name="connsiteY159" fmla="*/ 8869 h 10008"/>
                <a:gd name="connsiteX160" fmla="*/ 4522 w 10000"/>
                <a:gd name="connsiteY160" fmla="*/ 8948 h 10008"/>
                <a:gd name="connsiteX161" fmla="*/ 4700 w 10000"/>
                <a:gd name="connsiteY161" fmla="*/ 9031 h 10008"/>
                <a:gd name="connsiteX162" fmla="*/ 4878 w 10000"/>
                <a:gd name="connsiteY162" fmla="*/ 9109 h 10008"/>
                <a:gd name="connsiteX163" fmla="*/ 5063 w 10000"/>
                <a:gd name="connsiteY163" fmla="*/ 9182 h 10008"/>
                <a:gd name="connsiteX164" fmla="*/ 5248 w 10000"/>
                <a:gd name="connsiteY164" fmla="*/ 9260 h 10008"/>
                <a:gd name="connsiteX165" fmla="*/ 5426 w 10000"/>
                <a:gd name="connsiteY165" fmla="*/ 9329 h 10008"/>
                <a:gd name="connsiteX166" fmla="*/ 5619 w 10000"/>
                <a:gd name="connsiteY166" fmla="*/ 9397 h 10008"/>
                <a:gd name="connsiteX167" fmla="*/ 5812 w 10000"/>
                <a:gd name="connsiteY167" fmla="*/ 9466 h 10008"/>
                <a:gd name="connsiteX168" fmla="*/ 6004 w 10000"/>
                <a:gd name="connsiteY168" fmla="*/ 9530 h 10008"/>
                <a:gd name="connsiteX169" fmla="*/ 6205 w 10000"/>
                <a:gd name="connsiteY169" fmla="*/ 9595 h 10008"/>
                <a:gd name="connsiteX170" fmla="*/ 6397 w 10000"/>
                <a:gd name="connsiteY170" fmla="*/ 9655 h 10008"/>
                <a:gd name="connsiteX171" fmla="*/ 6605 w 10000"/>
                <a:gd name="connsiteY171" fmla="*/ 9710 h 10008"/>
                <a:gd name="connsiteX172" fmla="*/ 6805 w 10000"/>
                <a:gd name="connsiteY172" fmla="*/ 9765 h 10008"/>
                <a:gd name="connsiteX173" fmla="*/ 7005 w 10000"/>
                <a:gd name="connsiteY173" fmla="*/ 9820 h 10008"/>
                <a:gd name="connsiteX174" fmla="*/ 7213 w 10000"/>
                <a:gd name="connsiteY174" fmla="*/ 9871 h 10008"/>
                <a:gd name="connsiteX175" fmla="*/ 7420 w 10000"/>
                <a:gd name="connsiteY175" fmla="*/ 9916 h 10008"/>
                <a:gd name="connsiteX176" fmla="*/ 7628 w 10000"/>
                <a:gd name="connsiteY176" fmla="*/ 9962 h 10008"/>
                <a:gd name="connsiteX177" fmla="*/ 7835 w 10000"/>
                <a:gd name="connsiteY177" fmla="*/ 10008 h 10008"/>
                <a:gd name="connsiteX178" fmla="*/ 7539 w 10000"/>
                <a:gd name="connsiteY178" fmla="*/ 7759 h 10008"/>
                <a:gd name="connsiteX179" fmla="*/ 10000 w 10000"/>
                <a:gd name="connsiteY179" fmla="*/ 6144 h 10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10000" h="10008">
                  <a:moveTo>
                    <a:pt x="10000" y="6144"/>
                  </a:moveTo>
                  <a:lnTo>
                    <a:pt x="10000" y="6144"/>
                  </a:lnTo>
                  <a:lnTo>
                    <a:pt x="9911" y="6130"/>
                  </a:lnTo>
                  <a:lnTo>
                    <a:pt x="9815" y="6112"/>
                  </a:lnTo>
                  <a:lnTo>
                    <a:pt x="9726" y="6094"/>
                  </a:lnTo>
                  <a:lnTo>
                    <a:pt x="9637" y="6070"/>
                  </a:lnTo>
                  <a:cubicBezTo>
                    <a:pt x="9607" y="6064"/>
                    <a:pt x="9578" y="6057"/>
                    <a:pt x="9548" y="6051"/>
                  </a:cubicBezTo>
                  <a:lnTo>
                    <a:pt x="9466" y="6029"/>
                  </a:lnTo>
                  <a:lnTo>
                    <a:pt x="9377" y="6006"/>
                  </a:lnTo>
                  <a:lnTo>
                    <a:pt x="9288" y="5983"/>
                  </a:lnTo>
                  <a:lnTo>
                    <a:pt x="9118" y="5932"/>
                  </a:lnTo>
                  <a:lnTo>
                    <a:pt x="8955" y="5877"/>
                  </a:lnTo>
                  <a:lnTo>
                    <a:pt x="8792" y="5818"/>
                  </a:lnTo>
                  <a:lnTo>
                    <a:pt x="8636" y="5754"/>
                  </a:lnTo>
                  <a:lnTo>
                    <a:pt x="8480" y="5689"/>
                  </a:lnTo>
                  <a:lnTo>
                    <a:pt x="8340" y="5621"/>
                  </a:lnTo>
                  <a:lnTo>
                    <a:pt x="8199" y="5547"/>
                  </a:lnTo>
                  <a:lnTo>
                    <a:pt x="8058" y="5469"/>
                  </a:lnTo>
                  <a:cubicBezTo>
                    <a:pt x="8013" y="5442"/>
                    <a:pt x="7969" y="5414"/>
                    <a:pt x="7924" y="5387"/>
                  </a:cubicBezTo>
                  <a:lnTo>
                    <a:pt x="7798" y="5303"/>
                  </a:lnTo>
                  <a:lnTo>
                    <a:pt x="7672" y="5216"/>
                  </a:lnTo>
                  <a:lnTo>
                    <a:pt x="7554" y="5129"/>
                  </a:lnTo>
                  <a:lnTo>
                    <a:pt x="7450" y="5033"/>
                  </a:lnTo>
                  <a:lnTo>
                    <a:pt x="7346" y="4937"/>
                  </a:lnTo>
                  <a:lnTo>
                    <a:pt x="7250" y="4841"/>
                  </a:lnTo>
                  <a:lnTo>
                    <a:pt x="7161" y="4740"/>
                  </a:lnTo>
                  <a:cubicBezTo>
                    <a:pt x="7131" y="4706"/>
                    <a:pt x="7102" y="4672"/>
                    <a:pt x="7072" y="4638"/>
                  </a:cubicBezTo>
                  <a:cubicBezTo>
                    <a:pt x="7045" y="4601"/>
                    <a:pt x="7017" y="4565"/>
                    <a:pt x="6990" y="4528"/>
                  </a:cubicBezTo>
                  <a:cubicBezTo>
                    <a:pt x="6978" y="4511"/>
                    <a:pt x="6965" y="4495"/>
                    <a:pt x="6953" y="4478"/>
                  </a:cubicBezTo>
                  <a:cubicBezTo>
                    <a:pt x="6941" y="4460"/>
                    <a:pt x="6928" y="4441"/>
                    <a:pt x="6916" y="4423"/>
                  </a:cubicBezTo>
                  <a:cubicBezTo>
                    <a:pt x="6906" y="4405"/>
                    <a:pt x="6897" y="4386"/>
                    <a:pt x="6887" y="4368"/>
                  </a:cubicBezTo>
                  <a:cubicBezTo>
                    <a:pt x="6875" y="4350"/>
                    <a:pt x="6862" y="4331"/>
                    <a:pt x="6850" y="4313"/>
                  </a:cubicBezTo>
                  <a:cubicBezTo>
                    <a:pt x="6840" y="4295"/>
                    <a:pt x="6830" y="4276"/>
                    <a:pt x="6820" y="4258"/>
                  </a:cubicBezTo>
                  <a:cubicBezTo>
                    <a:pt x="6810" y="4240"/>
                    <a:pt x="6800" y="4221"/>
                    <a:pt x="6790" y="4203"/>
                  </a:cubicBezTo>
                  <a:cubicBezTo>
                    <a:pt x="6783" y="4183"/>
                    <a:pt x="6775" y="4163"/>
                    <a:pt x="6768" y="4143"/>
                  </a:cubicBezTo>
                  <a:cubicBezTo>
                    <a:pt x="6758" y="4125"/>
                    <a:pt x="6748" y="4106"/>
                    <a:pt x="6738" y="4088"/>
                  </a:cubicBezTo>
                  <a:lnTo>
                    <a:pt x="6723" y="4028"/>
                  </a:lnTo>
                  <a:cubicBezTo>
                    <a:pt x="6713" y="4010"/>
                    <a:pt x="6704" y="3991"/>
                    <a:pt x="6694" y="3973"/>
                  </a:cubicBezTo>
                  <a:lnTo>
                    <a:pt x="6679" y="3913"/>
                  </a:lnTo>
                  <a:lnTo>
                    <a:pt x="6664" y="3853"/>
                  </a:lnTo>
                  <a:cubicBezTo>
                    <a:pt x="6659" y="3833"/>
                    <a:pt x="6654" y="3814"/>
                    <a:pt x="6649" y="3794"/>
                  </a:cubicBezTo>
                  <a:cubicBezTo>
                    <a:pt x="6644" y="3776"/>
                    <a:pt x="6640" y="3757"/>
                    <a:pt x="6635" y="3739"/>
                  </a:cubicBezTo>
                  <a:lnTo>
                    <a:pt x="6620" y="3679"/>
                  </a:lnTo>
                  <a:cubicBezTo>
                    <a:pt x="6617" y="3659"/>
                    <a:pt x="6615" y="3640"/>
                    <a:pt x="6612" y="3620"/>
                  </a:cubicBezTo>
                  <a:cubicBezTo>
                    <a:pt x="6610" y="3600"/>
                    <a:pt x="6607" y="3580"/>
                    <a:pt x="6605" y="3560"/>
                  </a:cubicBezTo>
                  <a:cubicBezTo>
                    <a:pt x="6602" y="3539"/>
                    <a:pt x="6600" y="3517"/>
                    <a:pt x="6597" y="3496"/>
                  </a:cubicBezTo>
                  <a:lnTo>
                    <a:pt x="6597" y="3436"/>
                  </a:lnTo>
                  <a:cubicBezTo>
                    <a:pt x="6595" y="3415"/>
                    <a:pt x="6592" y="3393"/>
                    <a:pt x="6590" y="3372"/>
                  </a:cubicBezTo>
                  <a:cubicBezTo>
                    <a:pt x="6592" y="3352"/>
                    <a:pt x="6595" y="3332"/>
                    <a:pt x="6597" y="3312"/>
                  </a:cubicBezTo>
                  <a:cubicBezTo>
                    <a:pt x="6600" y="3289"/>
                    <a:pt x="6602" y="3267"/>
                    <a:pt x="6605" y="3244"/>
                  </a:cubicBezTo>
                  <a:lnTo>
                    <a:pt x="6605" y="3179"/>
                  </a:lnTo>
                  <a:cubicBezTo>
                    <a:pt x="6607" y="3157"/>
                    <a:pt x="6610" y="3136"/>
                    <a:pt x="6612" y="3114"/>
                  </a:cubicBezTo>
                  <a:cubicBezTo>
                    <a:pt x="6615" y="3093"/>
                    <a:pt x="6617" y="3071"/>
                    <a:pt x="6620" y="3050"/>
                  </a:cubicBezTo>
                  <a:cubicBezTo>
                    <a:pt x="6625" y="3030"/>
                    <a:pt x="6630" y="3011"/>
                    <a:pt x="6635" y="2991"/>
                  </a:cubicBezTo>
                  <a:cubicBezTo>
                    <a:pt x="6640" y="2970"/>
                    <a:pt x="6644" y="2948"/>
                    <a:pt x="6649" y="2927"/>
                  </a:cubicBezTo>
                  <a:lnTo>
                    <a:pt x="6664" y="2867"/>
                  </a:lnTo>
                  <a:cubicBezTo>
                    <a:pt x="6671" y="2846"/>
                    <a:pt x="6679" y="2824"/>
                    <a:pt x="6686" y="2803"/>
                  </a:cubicBezTo>
                  <a:cubicBezTo>
                    <a:pt x="6694" y="2783"/>
                    <a:pt x="6701" y="2763"/>
                    <a:pt x="6709" y="2743"/>
                  </a:cubicBezTo>
                  <a:cubicBezTo>
                    <a:pt x="6716" y="2723"/>
                    <a:pt x="6724" y="2704"/>
                    <a:pt x="6731" y="2684"/>
                  </a:cubicBezTo>
                  <a:cubicBezTo>
                    <a:pt x="6738" y="2662"/>
                    <a:pt x="6746" y="2641"/>
                    <a:pt x="6753" y="2619"/>
                  </a:cubicBezTo>
                  <a:cubicBezTo>
                    <a:pt x="6763" y="2601"/>
                    <a:pt x="6773" y="2582"/>
                    <a:pt x="6783" y="2564"/>
                  </a:cubicBezTo>
                  <a:cubicBezTo>
                    <a:pt x="6793" y="2544"/>
                    <a:pt x="6802" y="2525"/>
                    <a:pt x="6812" y="2504"/>
                  </a:cubicBezTo>
                  <a:lnTo>
                    <a:pt x="6842" y="2444"/>
                  </a:lnTo>
                  <a:cubicBezTo>
                    <a:pt x="6854" y="2424"/>
                    <a:pt x="6867" y="2405"/>
                    <a:pt x="6879" y="2385"/>
                  </a:cubicBezTo>
                  <a:cubicBezTo>
                    <a:pt x="6889" y="2367"/>
                    <a:pt x="6899" y="2348"/>
                    <a:pt x="6909" y="2330"/>
                  </a:cubicBezTo>
                  <a:cubicBezTo>
                    <a:pt x="6921" y="2310"/>
                    <a:pt x="6934" y="2290"/>
                    <a:pt x="6946" y="2270"/>
                  </a:cubicBezTo>
                  <a:cubicBezTo>
                    <a:pt x="6961" y="2252"/>
                    <a:pt x="6975" y="2233"/>
                    <a:pt x="6990" y="2215"/>
                  </a:cubicBezTo>
                  <a:cubicBezTo>
                    <a:pt x="7002" y="2197"/>
                    <a:pt x="7015" y="2178"/>
                    <a:pt x="7027" y="2160"/>
                  </a:cubicBezTo>
                  <a:cubicBezTo>
                    <a:pt x="7042" y="2142"/>
                    <a:pt x="7057" y="2123"/>
                    <a:pt x="7072" y="2105"/>
                  </a:cubicBezTo>
                  <a:cubicBezTo>
                    <a:pt x="7084" y="2087"/>
                    <a:pt x="7097" y="2068"/>
                    <a:pt x="7109" y="2050"/>
                  </a:cubicBezTo>
                  <a:cubicBezTo>
                    <a:pt x="7126" y="2033"/>
                    <a:pt x="7144" y="2017"/>
                    <a:pt x="7161" y="2000"/>
                  </a:cubicBezTo>
                  <a:lnTo>
                    <a:pt x="7213" y="1945"/>
                  </a:lnTo>
                  <a:cubicBezTo>
                    <a:pt x="7228" y="1927"/>
                    <a:pt x="7242" y="1908"/>
                    <a:pt x="7257" y="1890"/>
                  </a:cubicBezTo>
                  <a:cubicBezTo>
                    <a:pt x="7274" y="1873"/>
                    <a:pt x="7292" y="1856"/>
                    <a:pt x="7309" y="1839"/>
                  </a:cubicBezTo>
                  <a:cubicBezTo>
                    <a:pt x="7326" y="1822"/>
                    <a:pt x="7344" y="1806"/>
                    <a:pt x="7361" y="1788"/>
                  </a:cubicBezTo>
                  <a:cubicBezTo>
                    <a:pt x="7378" y="1771"/>
                    <a:pt x="7396" y="1755"/>
                    <a:pt x="7413" y="1738"/>
                  </a:cubicBezTo>
                  <a:cubicBezTo>
                    <a:pt x="7433" y="1721"/>
                    <a:pt x="7452" y="1704"/>
                    <a:pt x="7472" y="1687"/>
                  </a:cubicBezTo>
                  <a:lnTo>
                    <a:pt x="7524" y="1641"/>
                  </a:lnTo>
                  <a:cubicBezTo>
                    <a:pt x="7544" y="1626"/>
                    <a:pt x="7563" y="1610"/>
                    <a:pt x="7583" y="1595"/>
                  </a:cubicBezTo>
                  <a:cubicBezTo>
                    <a:pt x="7603" y="1578"/>
                    <a:pt x="7590" y="1583"/>
                    <a:pt x="7610" y="1566"/>
                  </a:cubicBezTo>
                  <a:lnTo>
                    <a:pt x="5412" y="0"/>
                  </a:lnTo>
                  <a:lnTo>
                    <a:pt x="1423" y="1"/>
                  </a:lnTo>
                  <a:cubicBezTo>
                    <a:pt x="1391" y="44"/>
                    <a:pt x="1337" y="79"/>
                    <a:pt x="1305" y="122"/>
                  </a:cubicBezTo>
                  <a:cubicBezTo>
                    <a:pt x="1278" y="153"/>
                    <a:pt x="1250" y="183"/>
                    <a:pt x="1223" y="214"/>
                  </a:cubicBezTo>
                  <a:cubicBezTo>
                    <a:pt x="1198" y="246"/>
                    <a:pt x="1174" y="278"/>
                    <a:pt x="1149" y="310"/>
                  </a:cubicBezTo>
                  <a:lnTo>
                    <a:pt x="1067" y="407"/>
                  </a:lnTo>
                  <a:cubicBezTo>
                    <a:pt x="1045" y="439"/>
                    <a:pt x="1023" y="472"/>
                    <a:pt x="1001" y="504"/>
                  </a:cubicBezTo>
                  <a:cubicBezTo>
                    <a:pt x="976" y="536"/>
                    <a:pt x="952" y="568"/>
                    <a:pt x="927" y="600"/>
                  </a:cubicBezTo>
                  <a:cubicBezTo>
                    <a:pt x="905" y="634"/>
                    <a:pt x="882" y="667"/>
                    <a:pt x="860" y="701"/>
                  </a:cubicBezTo>
                  <a:cubicBezTo>
                    <a:pt x="838" y="735"/>
                    <a:pt x="815" y="768"/>
                    <a:pt x="793" y="802"/>
                  </a:cubicBezTo>
                  <a:cubicBezTo>
                    <a:pt x="773" y="834"/>
                    <a:pt x="754" y="866"/>
                    <a:pt x="734" y="898"/>
                  </a:cubicBezTo>
                  <a:cubicBezTo>
                    <a:pt x="714" y="932"/>
                    <a:pt x="695" y="965"/>
                    <a:pt x="675" y="999"/>
                  </a:cubicBezTo>
                  <a:cubicBezTo>
                    <a:pt x="655" y="1032"/>
                    <a:pt x="635" y="1066"/>
                    <a:pt x="615" y="1100"/>
                  </a:cubicBezTo>
                  <a:cubicBezTo>
                    <a:pt x="595" y="1135"/>
                    <a:pt x="576" y="1171"/>
                    <a:pt x="556" y="1206"/>
                  </a:cubicBezTo>
                  <a:cubicBezTo>
                    <a:pt x="539" y="1238"/>
                    <a:pt x="521" y="1270"/>
                    <a:pt x="504" y="1302"/>
                  </a:cubicBezTo>
                  <a:cubicBezTo>
                    <a:pt x="487" y="1337"/>
                    <a:pt x="469" y="1373"/>
                    <a:pt x="452" y="1408"/>
                  </a:cubicBezTo>
                  <a:cubicBezTo>
                    <a:pt x="437" y="1441"/>
                    <a:pt x="423" y="1475"/>
                    <a:pt x="408" y="1508"/>
                  </a:cubicBezTo>
                  <a:cubicBezTo>
                    <a:pt x="393" y="1543"/>
                    <a:pt x="378" y="1579"/>
                    <a:pt x="363" y="1614"/>
                  </a:cubicBezTo>
                  <a:cubicBezTo>
                    <a:pt x="348" y="1649"/>
                    <a:pt x="334" y="1684"/>
                    <a:pt x="319" y="1719"/>
                  </a:cubicBezTo>
                  <a:cubicBezTo>
                    <a:pt x="307" y="1754"/>
                    <a:pt x="294" y="1790"/>
                    <a:pt x="282" y="1826"/>
                  </a:cubicBezTo>
                  <a:cubicBezTo>
                    <a:pt x="267" y="1863"/>
                    <a:pt x="252" y="1899"/>
                    <a:pt x="237" y="1936"/>
                  </a:cubicBezTo>
                  <a:cubicBezTo>
                    <a:pt x="227" y="1971"/>
                    <a:pt x="218" y="2006"/>
                    <a:pt x="208" y="2041"/>
                  </a:cubicBezTo>
                  <a:cubicBezTo>
                    <a:pt x="195" y="2078"/>
                    <a:pt x="183" y="2114"/>
                    <a:pt x="170" y="2151"/>
                  </a:cubicBezTo>
                  <a:cubicBezTo>
                    <a:pt x="163" y="2188"/>
                    <a:pt x="155" y="2224"/>
                    <a:pt x="148" y="2261"/>
                  </a:cubicBezTo>
                  <a:cubicBezTo>
                    <a:pt x="138" y="2296"/>
                    <a:pt x="129" y="2331"/>
                    <a:pt x="119" y="2366"/>
                  </a:cubicBezTo>
                  <a:cubicBezTo>
                    <a:pt x="111" y="2403"/>
                    <a:pt x="104" y="2439"/>
                    <a:pt x="96" y="2476"/>
                  </a:cubicBezTo>
                  <a:cubicBezTo>
                    <a:pt x="89" y="2514"/>
                    <a:pt x="81" y="2550"/>
                    <a:pt x="74" y="2587"/>
                  </a:cubicBezTo>
                  <a:cubicBezTo>
                    <a:pt x="67" y="2625"/>
                    <a:pt x="59" y="2664"/>
                    <a:pt x="52" y="2702"/>
                  </a:cubicBezTo>
                  <a:cubicBezTo>
                    <a:pt x="47" y="2739"/>
                    <a:pt x="42" y="2775"/>
                    <a:pt x="37" y="2812"/>
                  </a:cubicBezTo>
                  <a:cubicBezTo>
                    <a:pt x="32" y="2849"/>
                    <a:pt x="27" y="2885"/>
                    <a:pt x="22" y="2922"/>
                  </a:cubicBezTo>
                  <a:cubicBezTo>
                    <a:pt x="20" y="2959"/>
                    <a:pt x="17" y="2995"/>
                    <a:pt x="15" y="3032"/>
                  </a:cubicBezTo>
                  <a:cubicBezTo>
                    <a:pt x="12" y="3070"/>
                    <a:pt x="10" y="3108"/>
                    <a:pt x="7" y="3146"/>
                  </a:cubicBezTo>
                  <a:cubicBezTo>
                    <a:pt x="5" y="3183"/>
                    <a:pt x="2" y="3219"/>
                    <a:pt x="0" y="3257"/>
                  </a:cubicBezTo>
                  <a:lnTo>
                    <a:pt x="0" y="3372"/>
                  </a:lnTo>
                  <a:cubicBezTo>
                    <a:pt x="2" y="3421"/>
                    <a:pt x="5" y="3470"/>
                    <a:pt x="7" y="3519"/>
                  </a:cubicBezTo>
                  <a:lnTo>
                    <a:pt x="7" y="3665"/>
                  </a:lnTo>
                  <a:lnTo>
                    <a:pt x="22" y="3803"/>
                  </a:lnTo>
                  <a:cubicBezTo>
                    <a:pt x="27" y="3850"/>
                    <a:pt x="32" y="3898"/>
                    <a:pt x="37" y="3946"/>
                  </a:cubicBezTo>
                  <a:cubicBezTo>
                    <a:pt x="44" y="3993"/>
                    <a:pt x="52" y="4041"/>
                    <a:pt x="59" y="4088"/>
                  </a:cubicBezTo>
                  <a:cubicBezTo>
                    <a:pt x="69" y="4135"/>
                    <a:pt x="79" y="4183"/>
                    <a:pt x="89" y="4230"/>
                  </a:cubicBezTo>
                  <a:cubicBezTo>
                    <a:pt x="99" y="4277"/>
                    <a:pt x="109" y="4325"/>
                    <a:pt x="119" y="4372"/>
                  </a:cubicBezTo>
                  <a:cubicBezTo>
                    <a:pt x="129" y="4419"/>
                    <a:pt x="138" y="4467"/>
                    <a:pt x="148" y="4514"/>
                  </a:cubicBezTo>
                  <a:cubicBezTo>
                    <a:pt x="163" y="4560"/>
                    <a:pt x="178" y="4607"/>
                    <a:pt x="193" y="4653"/>
                  </a:cubicBezTo>
                  <a:cubicBezTo>
                    <a:pt x="208" y="4699"/>
                    <a:pt x="222" y="4744"/>
                    <a:pt x="237" y="4790"/>
                  </a:cubicBezTo>
                  <a:lnTo>
                    <a:pt x="282" y="4928"/>
                  </a:lnTo>
                  <a:cubicBezTo>
                    <a:pt x="299" y="4974"/>
                    <a:pt x="317" y="5019"/>
                    <a:pt x="334" y="5065"/>
                  </a:cubicBezTo>
                  <a:cubicBezTo>
                    <a:pt x="354" y="5109"/>
                    <a:pt x="373" y="5154"/>
                    <a:pt x="393" y="5198"/>
                  </a:cubicBezTo>
                  <a:cubicBezTo>
                    <a:pt x="413" y="5242"/>
                    <a:pt x="432" y="5287"/>
                    <a:pt x="452" y="5331"/>
                  </a:cubicBezTo>
                  <a:cubicBezTo>
                    <a:pt x="474" y="5376"/>
                    <a:pt x="497" y="5421"/>
                    <a:pt x="519" y="5465"/>
                  </a:cubicBezTo>
                  <a:cubicBezTo>
                    <a:pt x="541" y="5509"/>
                    <a:pt x="564" y="5554"/>
                    <a:pt x="586" y="5598"/>
                  </a:cubicBezTo>
                  <a:lnTo>
                    <a:pt x="660" y="5726"/>
                  </a:lnTo>
                  <a:cubicBezTo>
                    <a:pt x="687" y="5769"/>
                    <a:pt x="714" y="5811"/>
                    <a:pt x="741" y="5854"/>
                  </a:cubicBezTo>
                  <a:lnTo>
                    <a:pt x="823" y="5987"/>
                  </a:lnTo>
                  <a:cubicBezTo>
                    <a:pt x="850" y="6028"/>
                    <a:pt x="877" y="6070"/>
                    <a:pt x="904" y="6112"/>
                  </a:cubicBezTo>
                  <a:cubicBezTo>
                    <a:pt x="934" y="6153"/>
                    <a:pt x="963" y="6195"/>
                    <a:pt x="993" y="6236"/>
                  </a:cubicBezTo>
                  <a:cubicBezTo>
                    <a:pt x="1025" y="6276"/>
                    <a:pt x="1058" y="6315"/>
                    <a:pt x="1090" y="6355"/>
                  </a:cubicBezTo>
                  <a:cubicBezTo>
                    <a:pt x="1122" y="6396"/>
                    <a:pt x="1154" y="6438"/>
                    <a:pt x="1186" y="6479"/>
                  </a:cubicBezTo>
                  <a:cubicBezTo>
                    <a:pt x="1221" y="6520"/>
                    <a:pt x="1255" y="6561"/>
                    <a:pt x="1290" y="6602"/>
                  </a:cubicBezTo>
                  <a:lnTo>
                    <a:pt x="1386" y="6722"/>
                  </a:lnTo>
                  <a:lnTo>
                    <a:pt x="1497" y="6842"/>
                  </a:lnTo>
                  <a:lnTo>
                    <a:pt x="1609" y="6956"/>
                  </a:lnTo>
                  <a:cubicBezTo>
                    <a:pt x="1648" y="6996"/>
                    <a:pt x="1688" y="7035"/>
                    <a:pt x="1727" y="7075"/>
                  </a:cubicBezTo>
                  <a:cubicBezTo>
                    <a:pt x="1767" y="7113"/>
                    <a:pt x="1806" y="7152"/>
                    <a:pt x="1846" y="7190"/>
                  </a:cubicBezTo>
                  <a:cubicBezTo>
                    <a:pt x="1885" y="7227"/>
                    <a:pt x="1925" y="7263"/>
                    <a:pt x="1964" y="7300"/>
                  </a:cubicBezTo>
                  <a:lnTo>
                    <a:pt x="2090" y="7410"/>
                  </a:lnTo>
                  <a:lnTo>
                    <a:pt x="2224" y="7521"/>
                  </a:lnTo>
                  <a:lnTo>
                    <a:pt x="2350" y="7631"/>
                  </a:lnTo>
                  <a:lnTo>
                    <a:pt x="2491" y="7736"/>
                  </a:lnTo>
                  <a:lnTo>
                    <a:pt x="2617" y="7842"/>
                  </a:lnTo>
                  <a:cubicBezTo>
                    <a:pt x="2666" y="7876"/>
                    <a:pt x="2716" y="7909"/>
                    <a:pt x="2765" y="7943"/>
                  </a:cubicBezTo>
                  <a:lnTo>
                    <a:pt x="2906" y="8043"/>
                  </a:lnTo>
                  <a:cubicBezTo>
                    <a:pt x="2955" y="8077"/>
                    <a:pt x="3005" y="8110"/>
                    <a:pt x="3054" y="8144"/>
                  </a:cubicBezTo>
                  <a:lnTo>
                    <a:pt x="3210" y="8242"/>
                  </a:lnTo>
                  <a:lnTo>
                    <a:pt x="3358" y="8338"/>
                  </a:lnTo>
                  <a:lnTo>
                    <a:pt x="3514" y="8434"/>
                  </a:lnTo>
                  <a:lnTo>
                    <a:pt x="3677" y="8526"/>
                  </a:lnTo>
                  <a:lnTo>
                    <a:pt x="3840" y="8613"/>
                  </a:lnTo>
                  <a:lnTo>
                    <a:pt x="4010" y="8704"/>
                  </a:lnTo>
                  <a:lnTo>
                    <a:pt x="4181" y="8782"/>
                  </a:lnTo>
                  <a:lnTo>
                    <a:pt x="4351" y="8869"/>
                  </a:lnTo>
                  <a:lnTo>
                    <a:pt x="4522" y="8948"/>
                  </a:lnTo>
                  <a:lnTo>
                    <a:pt x="4700" y="9031"/>
                  </a:lnTo>
                  <a:lnTo>
                    <a:pt x="4878" y="9109"/>
                  </a:lnTo>
                  <a:lnTo>
                    <a:pt x="5063" y="9182"/>
                  </a:lnTo>
                  <a:lnTo>
                    <a:pt x="5248" y="9260"/>
                  </a:lnTo>
                  <a:lnTo>
                    <a:pt x="5426" y="9329"/>
                  </a:lnTo>
                  <a:lnTo>
                    <a:pt x="5619" y="9397"/>
                  </a:lnTo>
                  <a:lnTo>
                    <a:pt x="5812" y="9466"/>
                  </a:lnTo>
                  <a:lnTo>
                    <a:pt x="6004" y="9530"/>
                  </a:lnTo>
                  <a:lnTo>
                    <a:pt x="6205" y="9595"/>
                  </a:lnTo>
                  <a:lnTo>
                    <a:pt x="6397" y="9655"/>
                  </a:lnTo>
                  <a:lnTo>
                    <a:pt x="6605" y="9710"/>
                  </a:lnTo>
                  <a:lnTo>
                    <a:pt x="6805" y="9765"/>
                  </a:lnTo>
                  <a:lnTo>
                    <a:pt x="7005" y="9820"/>
                  </a:lnTo>
                  <a:lnTo>
                    <a:pt x="7213" y="9871"/>
                  </a:lnTo>
                  <a:lnTo>
                    <a:pt x="7420" y="9916"/>
                  </a:lnTo>
                  <a:lnTo>
                    <a:pt x="7628" y="9962"/>
                  </a:lnTo>
                  <a:lnTo>
                    <a:pt x="7835" y="10008"/>
                  </a:lnTo>
                  <a:cubicBezTo>
                    <a:pt x="7736" y="9258"/>
                    <a:pt x="7638" y="8509"/>
                    <a:pt x="7539" y="7759"/>
                  </a:cubicBezTo>
                  <a:lnTo>
                    <a:pt x="10000" y="6144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/>
            </a:p>
          </p:txBody>
        </p:sp>
        <p:sp>
          <p:nvSpPr>
            <p:cNvPr id="66" name="Freeform 6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-53453586" y="-1173127"/>
              <a:ext cx="60999224" cy="43890433"/>
            </a:xfrm>
            <a:custGeom>
              <a:avLst/>
              <a:gdLst>
                <a:gd name="T0" fmla="*/ 2147483647 w 5608"/>
                <a:gd name="T1" fmla="*/ 2147483647 h 4036"/>
                <a:gd name="T2" fmla="*/ 2147483647 w 5608"/>
                <a:gd name="T3" fmla="*/ 2147483647 h 4036"/>
                <a:gd name="T4" fmla="*/ 2147483647 w 5608"/>
                <a:gd name="T5" fmla="*/ 2147483647 h 4036"/>
                <a:gd name="T6" fmla="*/ 2147483647 w 5608"/>
                <a:gd name="T7" fmla="*/ 2147483647 h 4036"/>
                <a:gd name="T8" fmla="*/ 2147483647 w 5608"/>
                <a:gd name="T9" fmla="*/ 2147483647 h 4036"/>
                <a:gd name="T10" fmla="*/ 2147483647 w 5608"/>
                <a:gd name="T11" fmla="*/ 2147483647 h 4036"/>
                <a:gd name="T12" fmla="*/ 2147483647 w 5608"/>
                <a:gd name="T13" fmla="*/ 2147483647 h 4036"/>
                <a:gd name="T14" fmla="*/ 2147483647 w 5608"/>
                <a:gd name="T15" fmla="*/ 2147483647 h 4036"/>
                <a:gd name="T16" fmla="*/ 2147483647 w 5608"/>
                <a:gd name="T17" fmla="*/ 2147483647 h 4036"/>
                <a:gd name="T18" fmla="*/ 2147483647 w 5608"/>
                <a:gd name="T19" fmla="*/ 2147483647 h 4036"/>
                <a:gd name="T20" fmla="*/ 2147483647 w 5608"/>
                <a:gd name="T21" fmla="*/ 2147483647 h 4036"/>
                <a:gd name="T22" fmla="*/ 2147483647 w 5608"/>
                <a:gd name="T23" fmla="*/ 2147483647 h 4036"/>
                <a:gd name="T24" fmla="*/ 2147483647 w 5608"/>
                <a:gd name="T25" fmla="*/ 2147483647 h 4036"/>
                <a:gd name="T26" fmla="*/ 2147483647 w 5608"/>
                <a:gd name="T27" fmla="*/ 2147483647 h 4036"/>
                <a:gd name="T28" fmla="*/ 2147483647 w 5608"/>
                <a:gd name="T29" fmla="*/ 2147483647 h 4036"/>
                <a:gd name="T30" fmla="*/ 2147483647 w 5608"/>
                <a:gd name="T31" fmla="*/ 2147483647 h 4036"/>
                <a:gd name="T32" fmla="*/ 2147483647 w 5608"/>
                <a:gd name="T33" fmla="*/ 2147483647 h 4036"/>
                <a:gd name="T34" fmla="*/ 2147483647 w 5608"/>
                <a:gd name="T35" fmla="*/ 2147483647 h 4036"/>
                <a:gd name="T36" fmla="*/ 2147483647 w 5608"/>
                <a:gd name="T37" fmla="*/ 2147483647 h 4036"/>
                <a:gd name="T38" fmla="*/ 2147483647 w 5608"/>
                <a:gd name="T39" fmla="*/ 2147483647 h 4036"/>
                <a:gd name="T40" fmla="*/ 2147483647 w 5608"/>
                <a:gd name="T41" fmla="*/ 2147483647 h 4036"/>
                <a:gd name="T42" fmla="*/ 2147483647 w 5608"/>
                <a:gd name="T43" fmla="*/ 2147483647 h 4036"/>
                <a:gd name="T44" fmla="*/ 2147483647 w 5608"/>
                <a:gd name="T45" fmla="*/ 2147483647 h 4036"/>
                <a:gd name="T46" fmla="*/ 2147483647 w 5608"/>
                <a:gd name="T47" fmla="*/ 2147483647 h 4036"/>
                <a:gd name="T48" fmla="*/ 2147483647 w 5608"/>
                <a:gd name="T49" fmla="*/ 2147483647 h 4036"/>
                <a:gd name="T50" fmla="*/ 2147483647 w 5608"/>
                <a:gd name="T51" fmla="*/ 2147483647 h 4036"/>
                <a:gd name="T52" fmla="*/ 2147483647 w 5608"/>
                <a:gd name="T53" fmla="*/ 2147483647 h 4036"/>
                <a:gd name="T54" fmla="*/ 2147483647 w 5608"/>
                <a:gd name="T55" fmla="*/ 2147483647 h 4036"/>
                <a:gd name="T56" fmla="*/ 2147483647 w 5608"/>
                <a:gd name="T57" fmla="*/ 2147483647 h 4036"/>
                <a:gd name="T58" fmla="*/ 2147483647 w 5608"/>
                <a:gd name="T59" fmla="*/ 2147483647 h 4036"/>
                <a:gd name="T60" fmla="*/ 2147483647 w 5608"/>
                <a:gd name="T61" fmla="*/ 2147483647 h 4036"/>
                <a:gd name="T62" fmla="*/ 2147483647 w 5608"/>
                <a:gd name="T63" fmla="*/ 2147483647 h 4036"/>
                <a:gd name="T64" fmla="*/ 2147483647 w 5608"/>
                <a:gd name="T65" fmla="*/ 2147483647 h 4036"/>
                <a:gd name="T66" fmla="*/ 2147483647 w 5608"/>
                <a:gd name="T67" fmla="*/ 2147483647 h 4036"/>
                <a:gd name="T68" fmla="*/ 2147483647 w 5608"/>
                <a:gd name="T69" fmla="*/ 2147483647 h 4036"/>
                <a:gd name="T70" fmla="*/ 2147483647 w 5608"/>
                <a:gd name="T71" fmla="*/ 2147483647 h 4036"/>
                <a:gd name="T72" fmla="*/ 2147483647 w 5608"/>
                <a:gd name="T73" fmla="*/ 2147483647 h 4036"/>
                <a:gd name="T74" fmla="*/ 2147483647 w 5608"/>
                <a:gd name="T75" fmla="*/ 2147483647 h 4036"/>
                <a:gd name="T76" fmla="*/ 2147483647 w 5608"/>
                <a:gd name="T77" fmla="*/ 2147483647 h 4036"/>
                <a:gd name="T78" fmla="*/ 2147483647 w 5608"/>
                <a:gd name="T79" fmla="*/ 2147483647 h 4036"/>
                <a:gd name="T80" fmla="*/ 2147483647 w 5608"/>
                <a:gd name="T81" fmla="*/ 2147483647 h 4036"/>
                <a:gd name="T82" fmla="*/ 2147483647 w 5608"/>
                <a:gd name="T83" fmla="*/ 2147483647 h 4036"/>
                <a:gd name="T84" fmla="*/ 2147483647 w 5608"/>
                <a:gd name="T85" fmla="*/ 2147483647 h 4036"/>
                <a:gd name="T86" fmla="*/ 2147483647 w 5608"/>
                <a:gd name="T87" fmla="*/ 2147483647 h 4036"/>
                <a:gd name="T88" fmla="*/ 2147483647 w 5608"/>
                <a:gd name="T89" fmla="*/ 2147483647 h 4036"/>
                <a:gd name="T90" fmla="*/ 2147483647 w 5608"/>
                <a:gd name="T91" fmla="*/ 2147483647 h 4036"/>
                <a:gd name="T92" fmla="*/ 2147483647 w 5608"/>
                <a:gd name="T93" fmla="*/ 2147483647 h 4036"/>
                <a:gd name="T94" fmla="*/ 2147483647 w 5608"/>
                <a:gd name="T95" fmla="*/ 2147483647 h 4036"/>
                <a:gd name="T96" fmla="*/ 2147483647 w 5608"/>
                <a:gd name="T97" fmla="*/ 2147483647 h 4036"/>
                <a:gd name="T98" fmla="*/ 2147483647 w 5608"/>
                <a:gd name="T99" fmla="*/ 2147483647 h 4036"/>
                <a:gd name="T100" fmla="*/ 2147483647 w 5608"/>
                <a:gd name="T101" fmla="*/ 2147483647 h 4036"/>
                <a:gd name="T102" fmla="*/ 2147483647 w 5608"/>
                <a:gd name="T103" fmla="*/ 2147483647 h 4036"/>
                <a:gd name="T104" fmla="*/ 2147483647 w 5608"/>
                <a:gd name="T105" fmla="*/ 2147483647 h 40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608"/>
                <a:gd name="T160" fmla="*/ 0 h 4036"/>
                <a:gd name="T161" fmla="*/ 5608 w 5608"/>
                <a:gd name="T162" fmla="*/ 4036 h 4036"/>
                <a:gd name="connsiteX0" fmla="*/ 5615 w 9995"/>
                <a:gd name="connsiteY0" fmla="*/ 0 h 10000"/>
                <a:gd name="connsiteX1" fmla="*/ 5615 w 9995"/>
                <a:gd name="connsiteY1" fmla="*/ 0 h 10000"/>
                <a:gd name="connsiteX2" fmla="*/ 5606 w 9995"/>
                <a:gd name="connsiteY2" fmla="*/ 99 h 10000"/>
                <a:gd name="connsiteX3" fmla="*/ 5592 w 9995"/>
                <a:gd name="connsiteY3" fmla="*/ 201 h 10000"/>
                <a:gd name="connsiteX4" fmla="*/ 5580 w 9995"/>
                <a:gd name="connsiteY4" fmla="*/ 300 h 10000"/>
                <a:gd name="connsiteX5" fmla="*/ 5565 w 9995"/>
                <a:gd name="connsiteY5" fmla="*/ 394 h 10000"/>
                <a:gd name="connsiteX6" fmla="*/ 5547 w 9995"/>
                <a:gd name="connsiteY6" fmla="*/ 491 h 10000"/>
                <a:gd name="connsiteX7" fmla="*/ 5528 w 9995"/>
                <a:gd name="connsiteY7" fmla="*/ 587 h 10000"/>
                <a:gd name="connsiteX8" fmla="*/ 5508 w 9995"/>
                <a:gd name="connsiteY8" fmla="*/ 684 h 10000"/>
                <a:gd name="connsiteX9" fmla="*/ 5487 w 9995"/>
                <a:gd name="connsiteY9" fmla="*/ 778 h 10000"/>
                <a:gd name="connsiteX10" fmla="*/ 5465 w 9995"/>
                <a:gd name="connsiteY10" fmla="*/ 870 h 10000"/>
                <a:gd name="connsiteX11" fmla="*/ 5439 w 9995"/>
                <a:gd name="connsiteY11" fmla="*/ 961 h 10000"/>
                <a:gd name="connsiteX12" fmla="*/ 5415 w 9995"/>
                <a:gd name="connsiteY12" fmla="*/ 1053 h 10000"/>
                <a:gd name="connsiteX13" fmla="*/ 5387 w 9995"/>
                <a:gd name="connsiteY13" fmla="*/ 1145 h 10000"/>
                <a:gd name="connsiteX14" fmla="*/ 5358 w 9995"/>
                <a:gd name="connsiteY14" fmla="*/ 1231 h 10000"/>
                <a:gd name="connsiteX15" fmla="*/ 5328 w 9995"/>
                <a:gd name="connsiteY15" fmla="*/ 1318 h 10000"/>
                <a:gd name="connsiteX16" fmla="*/ 5298 w 9995"/>
                <a:gd name="connsiteY16" fmla="*/ 1405 h 10000"/>
                <a:gd name="connsiteX17" fmla="*/ 5266 w 9995"/>
                <a:gd name="connsiteY17" fmla="*/ 1494 h 10000"/>
                <a:gd name="connsiteX18" fmla="*/ 5232 w 9995"/>
                <a:gd name="connsiteY18" fmla="*/ 1578 h 10000"/>
                <a:gd name="connsiteX19" fmla="*/ 5196 w 9995"/>
                <a:gd name="connsiteY19" fmla="*/ 1663 h 10000"/>
                <a:gd name="connsiteX20" fmla="*/ 5160 w 9995"/>
                <a:gd name="connsiteY20" fmla="*/ 1742 h 10000"/>
                <a:gd name="connsiteX21" fmla="*/ 5121 w 9995"/>
                <a:gd name="connsiteY21" fmla="*/ 1824 h 10000"/>
                <a:gd name="connsiteX22" fmla="*/ 5082 w 9995"/>
                <a:gd name="connsiteY22" fmla="*/ 1903 h 10000"/>
                <a:gd name="connsiteX23" fmla="*/ 5043 w 9995"/>
                <a:gd name="connsiteY23" fmla="*/ 1985 h 10000"/>
                <a:gd name="connsiteX24" fmla="*/ 5002 w 9995"/>
                <a:gd name="connsiteY24" fmla="*/ 2059 h 10000"/>
                <a:gd name="connsiteX25" fmla="*/ 4959 w 9995"/>
                <a:gd name="connsiteY25" fmla="*/ 2133 h 10000"/>
                <a:gd name="connsiteX26" fmla="*/ 4914 w 9995"/>
                <a:gd name="connsiteY26" fmla="*/ 2210 h 10000"/>
                <a:gd name="connsiteX27" fmla="*/ 4870 w 9995"/>
                <a:gd name="connsiteY27" fmla="*/ 2282 h 10000"/>
                <a:gd name="connsiteX28" fmla="*/ 4823 w 9995"/>
                <a:gd name="connsiteY28" fmla="*/ 2354 h 10000"/>
                <a:gd name="connsiteX29" fmla="*/ 4777 w 9995"/>
                <a:gd name="connsiteY29" fmla="*/ 2426 h 10000"/>
                <a:gd name="connsiteX30" fmla="*/ 4729 w 9995"/>
                <a:gd name="connsiteY30" fmla="*/ 2495 h 10000"/>
                <a:gd name="connsiteX31" fmla="*/ 4679 w 9995"/>
                <a:gd name="connsiteY31" fmla="*/ 2562 h 10000"/>
                <a:gd name="connsiteX32" fmla="*/ 4629 w 9995"/>
                <a:gd name="connsiteY32" fmla="*/ 2626 h 10000"/>
                <a:gd name="connsiteX33" fmla="*/ 4577 w 9995"/>
                <a:gd name="connsiteY33" fmla="*/ 2691 h 10000"/>
                <a:gd name="connsiteX34" fmla="*/ 4526 w 9995"/>
                <a:gd name="connsiteY34" fmla="*/ 2753 h 10000"/>
                <a:gd name="connsiteX35" fmla="*/ 4470 w 9995"/>
                <a:gd name="connsiteY35" fmla="*/ 2817 h 10000"/>
                <a:gd name="connsiteX36" fmla="*/ 4417 w 9995"/>
                <a:gd name="connsiteY36" fmla="*/ 2874 h 10000"/>
                <a:gd name="connsiteX37" fmla="*/ 4362 w 9995"/>
                <a:gd name="connsiteY37" fmla="*/ 2934 h 10000"/>
                <a:gd name="connsiteX38" fmla="*/ 4305 w 9995"/>
                <a:gd name="connsiteY38" fmla="*/ 2988 h 10000"/>
                <a:gd name="connsiteX39" fmla="*/ 4248 w 9995"/>
                <a:gd name="connsiteY39" fmla="*/ 3043 h 10000"/>
                <a:gd name="connsiteX40" fmla="*/ 4190 w 9995"/>
                <a:gd name="connsiteY40" fmla="*/ 3097 h 10000"/>
                <a:gd name="connsiteX41" fmla="*/ 4132 w 9995"/>
                <a:gd name="connsiteY41" fmla="*/ 3149 h 10000"/>
                <a:gd name="connsiteX42" fmla="*/ 4071 w 9995"/>
                <a:gd name="connsiteY42" fmla="*/ 3196 h 10000"/>
                <a:gd name="connsiteX43" fmla="*/ 4010 w 9995"/>
                <a:gd name="connsiteY43" fmla="*/ 3243 h 10000"/>
                <a:gd name="connsiteX44" fmla="*/ 3950 w 9995"/>
                <a:gd name="connsiteY44" fmla="*/ 3290 h 10000"/>
                <a:gd name="connsiteX45" fmla="*/ 3887 w 9995"/>
                <a:gd name="connsiteY45" fmla="*/ 3335 h 10000"/>
                <a:gd name="connsiteX46" fmla="*/ 3823 w 9995"/>
                <a:gd name="connsiteY46" fmla="*/ 3377 h 10000"/>
                <a:gd name="connsiteX47" fmla="*/ 3759 w 9995"/>
                <a:gd name="connsiteY47" fmla="*/ 3417 h 10000"/>
                <a:gd name="connsiteX48" fmla="*/ 3695 w 9995"/>
                <a:gd name="connsiteY48" fmla="*/ 3454 h 10000"/>
                <a:gd name="connsiteX49" fmla="*/ 3629 w 9995"/>
                <a:gd name="connsiteY49" fmla="*/ 3491 h 10000"/>
                <a:gd name="connsiteX50" fmla="*/ 3565 w 9995"/>
                <a:gd name="connsiteY50" fmla="*/ 3523 h 10000"/>
                <a:gd name="connsiteX51" fmla="*/ 3497 w 9995"/>
                <a:gd name="connsiteY51" fmla="*/ 3558 h 10000"/>
                <a:gd name="connsiteX52" fmla="*/ 3429 w 9995"/>
                <a:gd name="connsiteY52" fmla="*/ 3588 h 10000"/>
                <a:gd name="connsiteX53" fmla="*/ 3361 w 9995"/>
                <a:gd name="connsiteY53" fmla="*/ 3615 h 10000"/>
                <a:gd name="connsiteX54" fmla="*/ 3292 w 9995"/>
                <a:gd name="connsiteY54" fmla="*/ 3642 h 10000"/>
                <a:gd name="connsiteX55" fmla="*/ 3222 w 9995"/>
                <a:gd name="connsiteY55" fmla="*/ 3665 h 10000"/>
                <a:gd name="connsiteX56" fmla="*/ 3153 w 9995"/>
                <a:gd name="connsiteY56" fmla="*/ 3687 h 10000"/>
                <a:gd name="connsiteX57" fmla="*/ 3081 w 9995"/>
                <a:gd name="connsiteY57" fmla="*/ 3707 h 10000"/>
                <a:gd name="connsiteX58" fmla="*/ 3012 w 9995"/>
                <a:gd name="connsiteY58" fmla="*/ 3724 h 10000"/>
                <a:gd name="connsiteX59" fmla="*/ 2940 w 9995"/>
                <a:gd name="connsiteY59" fmla="*/ 3739 h 10000"/>
                <a:gd name="connsiteX60" fmla="*/ 2867 w 9995"/>
                <a:gd name="connsiteY60" fmla="*/ 3754 h 10000"/>
                <a:gd name="connsiteX61" fmla="*/ 2796 w 9995"/>
                <a:gd name="connsiteY61" fmla="*/ 3761 h 10000"/>
                <a:gd name="connsiteX62" fmla="*/ 2721 w 9995"/>
                <a:gd name="connsiteY62" fmla="*/ 3771 h 10000"/>
                <a:gd name="connsiteX63" fmla="*/ 2648 w 9995"/>
                <a:gd name="connsiteY63" fmla="*/ 3776 h 10000"/>
                <a:gd name="connsiteX64" fmla="*/ 2575 w 9995"/>
                <a:gd name="connsiteY64" fmla="*/ 3781 h 10000"/>
                <a:gd name="connsiteX65" fmla="*/ 2498 w 9995"/>
                <a:gd name="connsiteY65" fmla="*/ 3781 h 10000"/>
                <a:gd name="connsiteX66" fmla="*/ 2393 w 9995"/>
                <a:gd name="connsiteY66" fmla="*/ 3781 h 10000"/>
                <a:gd name="connsiteX67" fmla="*/ 2284 w 9995"/>
                <a:gd name="connsiteY67" fmla="*/ 3771 h 10000"/>
                <a:gd name="connsiteX68" fmla="*/ 2179 w 9995"/>
                <a:gd name="connsiteY68" fmla="*/ 3759 h 10000"/>
                <a:gd name="connsiteX69" fmla="*/ 2074 w 9995"/>
                <a:gd name="connsiteY69" fmla="*/ 3741 h 10000"/>
                <a:gd name="connsiteX70" fmla="*/ 1970 w 9995"/>
                <a:gd name="connsiteY70" fmla="*/ 3719 h 10000"/>
                <a:gd name="connsiteX71" fmla="*/ 1867 w 9995"/>
                <a:gd name="connsiteY71" fmla="*/ 3692 h 10000"/>
                <a:gd name="connsiteX72" fmla="*/ 1765 w 9995"/>
                <a:gd name="connsiteY72" fmla="*/ 3662 h 10000"/>
                <a:gd name="connsiteX73" fmla="*/ 1665 w 9995"/>
                <a:gd name="connsiteY73" fmla="*/ 3627 h 10000"/>
                <a:gd name="connsiteX74" fmla="*/ 0 w 9995"/>
                <a:gd name="connsiteY74" fmla="*/ 6085 h 10000"/>
                <a:gd name="connsiteX75" fmla="*/ 209 w 9995"/>
                <a:gd name="connsiteY75" fmla="*/ 9512 h 10000"/>
                <a:gd name="connsiteX76" fmla="*/ 344 w 9995"/>
                <a:gd name="connsiteY76" fmla="*/ 9569 h 10000"/>
                <a:gd name="connsiteX77" fmla="*/ 481 w 9995"/>
                <a:gd name="connsiteY77" fmla="*/ 9623 h 10000"/>
                <a:gd name="connsiteX78" fmla="*/ 621 w 9995"/>
                <a:gd name="connsiteY78" fmla="*/ 9673 h 10000"/>
                <a:gd name="connsiteX79" fmla="*/ 758 w 9995"/>
                <a:gd name="connsiteY79" fmla="*/ 9720 h 10000"/>
                <a:gd name="connsiteX80" fmla="*/ 899 w 9995"/>
                <a:gd name="connsiteY80" fmla="*/ 9765 h 10000"/>
                <a:gd name="connsiteX81" fmla="*/ 1040 w 9995"/>
                <a:gd name="connsiteY81" fmla="*/ 9804 h 10000"/>
                <a:gd name="connsiteX82" fmla="*/ 1182 w 9995"/>
                <a:gd name="connsiteY82" fmla="*/ 9839 h 10000"/>
                <a:gd name="connsiteX83" fmla="*/ 1325 w 9995"/>
                <a:gd name="connsiteY83" fmla="*/ 9874 h 10000"/>
                <a:gd name="connsiteX84" fmla="*/ 1471 w 9995"/>
                <a:gd name="connsiteY84" fmla="*/ 9903 h 10000"/>
                <a:gd name="connsiteX85" fmla="*/ 1614 w 9995"/>
                <a:gd name="connsiteY85" fmla="*/ 9926 h 10000"/>
                <a:gd name="connsiteX86" fmla="*/ 1760 w 9995"/>
                <a:gd name="connsiteY86" fmla="*/ 9948 h 10000"/>
                <a:gd name="connsiteX87" fmla="*/ 1906 w 9995"/>
                <a:gd name="connsiteY87" fmla="*/ 9965 h 10000"/>
                <a:gd name="connsiteX88" fmla="*/ 2052 w 9995"/>
                <a:gd name="connsiteY88" fmla="*/ 9980 h 10000"/>
                <a:gd name="connsiteX89" fmla="*/ 2202 w 9995"/>
                <a:gd name="connsiteY89" fmla="*/ 9990 h 10000"/>
                <a:gd name="connsiteX90" fmla="*/ 2350 w 9995"/>
                <a:gd name="connsiteY90" fmla="*/ 9995 h 10000"/>
                <a:gd name="connsiteX91" fmla="*/ 2498 w 9995"/>
                <a:gd name="connsiteY91" fmla="*/ 10000 h 10000"/>
                <a:gd name="connsiteX92" fmla="*/ 2677 w 9995"/>
                <a:gd name="connsiteY92" fmla="*/ 9995 h 10000"/>
                <a:gd name="connsiteX93" fmla="*/ 2850 w 9995"/>
                <a:gd name="connsiteY93" fmla="*/ 9988 h 10000"/>
                <a:gd name="connsiteX94" fmla="*/ 3024 w 9995"/>
                <a:gd name="connsiteY94" fmla="*/ 9975 h 10000"/>
                <a:gd name="connsiteX95" fmla="*/ 3195 w 9995"/>
                <a:gd name="connsiteY95" fmla="*/ 9953 h 10000"/>
                <a:gd name="connsiteX96" fmla="*/ 3368 w 9995"/>
                <a:gd name="connsiteY96" fmla="*/ 9931 h 10000"/>
                <a:gd name="connsiteX97" fmla="*/ 3538 w 9995"/>
                <a:gd name="connsiteY97" fmla="*/ 9898 h 10000"/>
                <a:gd name="connsiteX98" fmla="*/ 3709 w 9995"/>
                <a:gd name="connsiteY98" fmla="*/ 9866 h 10000"/>
                <a:gd name="connsiteX99" fmla="*/ 3877 w 9995"/>
                <a:gd name="connsiteY99" fmla="*/ 9824 h 10000"/>
                <a:gd name="connsiteX100" fmla="*/ 4042 w 9995"/>
                <a:gd name="connsiteY100" fmla="*/ 9779 h 10000"/>
                <a:gd name="connsiteX101" fmla="*/ 4210 w 9995"/>
                <a:gd name="connsiteY101" fmla="*/ 9730 h 10000"/>
                <a:gd name="connsiteX102" fmla="*/ 4372 w 9995"/>
                <a:gd name="connsiteY102" fmla="*/ 9673 h 10000"/>
                <a:gd name="connsiteX103" fmla="*/ 4536 w 9995"/>
                <a:gd name="connsiteY103" fmla="*/ 9616 h 10000"/>
                <a:gd name="connsiteX104" fmla="*/ 4697 w 9995"/>
                <a:gd name="connsiteY104" fmla="*/ 9552 h 10000"/>
                <a:gd name="connsiteX105" fmla="*/ 4857 w 9995"/>
                <a:gd name="connsiteY105" fmla="*/ 9482 h 10000"/>
                <a:gd name="connsiteX106" fmla="*/ 5014 w 9995"/>
                <a:gd name="connsiteY106" fmla="*/ 9405 h 10000"/>
                <a:gd name="connsiteX107" fmla="*/ 5171 w 9995"/>
                <a:gd name="connsiteY107" fmla="*/ 9329 h 10000"/>
                <a:gd name="connsiteX108" fmla="*/ 5326 w 9995"/>
                <a:gd name="connsiteY108" fmla="*/ 9244 h 10000"/>
                <a:gd name="connsiteX109" fmla="*/ 5480 w 9995"/>
                <a:gd name="connsiteY109" fmla="*/ 9158 h 10000"/>
                <a:gd name="connsiteX110" fmla="*/ 5631 w 9995"/>
                <a:gd name="connsiteY110" fmla="*/ 9063 h 10000"/>
                <a:gd name="connsiteX111" fmla="*/ 5781 w 9995"/>
                <a:gd name="connsiteY111" fmla="*/ 8967 h 10000"/>
                <a:gd name="connsiteX112" fmla="*/ 5931 w 9995"/>
                <a:gd name="connsiteY112" fmla="*/ 8865 h 10000"/>
                <a:gd name="connsiteX113" fmla="*/ 6075 w 9995"/>
                <a:gd name="connsiteY113" fmla="*/ 8759 h 10000"/>
                <a:gd name="connsiteX114" fmla="*/ 6221 w 9995"/>
                <a:gd name="connsiteY114" fmla="*/ 8652 h 10000"/>
                <a:gd name="connsiteX115" fmla="*/ 6364 w 9995"/>
                <a:gd name="connsiteY115" fmla="*/ 8536 h 10000"/>
                <a:gd name="connsiteX116" fmla="*/ 6505 w 9995"/>
                <a:gd name="connsiteY116" fmla="*/ 8417 h 10000"/>
                <a:gd name="connsiteX117" fmla="*/ 6642 w 9995"/>
                <a:gd name="connsiteY117" fmla="*/ 8295 h 10000"/>
                <a:gd name="connsiteX118" fmla="*/ 6780 w 9995"/>
                <a:gd name="connsiteY118" fmla="*/ 8169 h 10000"/>
                <a:gd name="connsiteX119" fmla="*/ 6913 w 9995"/>
                <a:gd name="connsiteY119" fmla="*/ 8040 h 10000"/>
                <a:gd name="connsiteX120" fmla="*/ 7045 w 9995"/>
                <a:gd name="connsiteY120" fmla="*/ 7904 h 10000"/>
                <a:gd name="connsiteX121" fmla="*/ 7175 w 9995"/>
                <a:gd name="connsiteY121" fmla="*/ 7768 h 10000"/>
                <a:gd name="connsiteX122" fmla="*/ 7304 w 9995"/>
                <a:gd name="connsiteY122" fmla="*/ 7624 h 10000"/>
                <a:gd name="connsiteX123" fmla="*/ 7429 w 9995"/>
                <a:gd name="connsiteY123" fmla="*/ 7480 h 10000"/>
                <a:gd name="connsiteX124" fmla="*/ 7552 w 9995"/>
                <a:gd name="connsiteY124" fmla="*/ 7329 h 10000"/>
                <a:gd name="connsiteX125" fmla="*/ 7673 w 9995"/>
                <a:gd name="connsiteY125" fmla="*/ 7178 h 10000"/>
                <a:gd name="connsiteX126" fmla="*/ 7792 w 9995"/>
                <a:gd name="connsiteY126" fmla="*/ 7024 h 10000"/>
                <a:gd name="connsiteX127" fmla="*/ 7907 w 9995"/>
                <a:gd name="connsiteY127" fmla="*/ 6861 h 10000"/>
                <a:gd name="connsiteX128" fmla="*/ 8022 w 9995"/>
                <a:gd name="connsiteY128" fmla="*/ 6697 h 10000"/>
                <a:gd name="connsiteX129" fmla="*/ 8133 w 9995"/>
                <a:gd name="connsiteY129" fmla="*/ 6534 h 10000"/>
                <a:gd name="connsiteX130" fmla="*/ 8240 w 9995"/>
                <a:gd name="connsiteY130" fmla="*/ 6365 h 10000"/>
                <a:gd name="connsiteX131" fmla="*/ 8347 w 9995"/>
                <a:gd name="connsiteY131" fmla="*/ 6189 h 10000"/>
                <a:gd name="connsiteX132" fmla="*/ 8450 w 9995"/>
                <a:gd name="connsiteY132" fmla="*/ 6016 h 10000"/>
                <a:gd name="connsiteX133" fmla="*/ 8552 w 9995"/>
                <a:gd name="connsiteY133" fmla="*/ 5835 h 10000"/>
                <a:gd name="connsiteX134" fmla="*/ 8650 w 9995"/>
                <a:gd name="connsiteY134" fmla="*/ 5652 h 10000"/>
                <a:gd name="connsiteX135" fmla="*/ 8745 w 9995"/>
                <a:gd name="connsiteY135" fmla="*/ 5468 h 10000"/>
                <a:gd name="connsiteX136" fmla="*/ 8837 w 9995"/>
                <a:gd name="connsiteY136" fmla="*/ 5278 h 10000"/>
                <a:gd name="connsiteX137" fmla="*/ 8927 w 9995"/>
                <a:gd name="connsiteY137" fmla="*/ 5089 h 10000"/>
                <a:gd name="connsiteX138" fmla="*/ 9014 w 9995"/>
                <a:gd name="connsiteY138" fmla="*/ 4893 h 10000"/>
                <a:gd name="connsiteX139" fmla="*/ 9098 w 9995"/>
                <a:gd name="connsiteY139" fmla="*/ 4698 h 10000"/>
                <a:gd name="connsiteX140" fmla="*/ 9178 w 9995"/>
                <a:gd name="connsiteY140" fmla="*/ 4500 h 10000"/>
                <a:gd name="connsiteX141" fmla="*/ 9256 w 9995"/>
                <a:gd name="connsiteY141" fmla="*/ 4294 h 10000"/>
                <a:gd name="connsiteX142" fmla="*/ 9330 w 9995"/>
                <a:gd name="connsiteY142" fmla="*/ 4091 h 10000"/>
                <a:gd name="connsiteX143" fmla="*/ 9401 w 9995"/>
                <a:gd name="connsiteY143" fmla="*/ 3885 h 10000"/>
                <a:gd name="connsiteX144" fmla="*/ 9470 w 9995"/>
                <a:gd name="connsiteY144" fmla="*/ 3674 h 10000"/>
                <a:gd name="connsiteX145" fmla="*/ 9535 w 9995"/>
                <a:gd name="connsiteY145" fmla="*/ 3464 h 10000"/>
                <a:gd name="connsiteX146" fmla="*/ 9599 w 9995"/>
                <a:gd name="connsiteY146" fmla="*/ 3248 h 10000"/>
                <a:gd name="connsiteX147" fmla="*/ 9656 w 9995"/>
                <a:gd name="connsiteY147" fmla="*/ 3030 h 10000"/>
                <a:gd name="connsiteX148" fmla="*/ 9711 w 9995"/>
                <a:gd name="connsiteY148" fmla="*/ 2815 h 10000"/>
                <a:gd name="connsiteX149" fmla="*/ 9763 w 9995"/>
                <a:gd name="connsiteY149" fmla="*/ 2592 h 10000"/>
                <a:gd name="connsiteX150" fmla="*/ 9813 w 9995"/>
                <a:gd name="connsiteY150" fmla="*/ 2369 h 10000"/>
                <a:gd name="connsiteX151" fmla="*/ 9856 w 9995"/>
                <a:gd name="connsiteY151" fmla="*/ 2143 h 10000"/>
                <a:gd name="connsiteX152" fmla="*/ 9898 w 9995"/>
                <a:gd name="connsiteY152" fmla="*/ 1918 h 10000"/>
                <a:gd name="connsiteX153" fmla="*/ 9936 w 9995"/>
                <a:gd name="connsiteY153" fmla="*/ 1690 h 10000"/>
                <a:gd name="connsiteX154" fmla="*/ 9970 w 9995"/>
                <a:gd name="connsiteY154" fmla="*/ 1457 h 10000"/>
                <a:gd name="connsiteX155" fmla="*/ 9995 w 9995"/>
                <a:gd name="connsiteY155" fmla="*/ 1217 h 10000"/>
                <a:gd name="connsiteX156" fmla="*/ 7611 w 9995"/>
                <a:gd name="connsiteY156" fmla="*/ 1876 h 10000"/>
                <a:gd name="connsiteX157" fmla="*/ 5615 w 9995"/>
                <a:gd name="connsiteY157" fmla="*/ 0 h 10000"/>
                <a:gd name="connsiteX0" fmla="*/ 5618 w 10002"/>
                <a:gd name="connsiteY0" fmla="*/ 0 h 10000"/>
                <a:gd name="connsiteX1" fmla="*/ 5618 w 10002"/>
                <a:gd name="connsiteY1" fmla="*/ 0 h 10000"/>
                <a:gd name="connsiteX2" fmla="*/ 5609 w 10002"/>
                <a:gd name="connsiteY2" fmla="*/ 99 h 10000"/>
                <a:gd name="connsiteX3" fmla="*/ 5595 w 10002"/>
                <a:gd name="connsiteY3" fmla="*/ 201 h 10000"/>
                <a:gd name="connsiteX4" fmla="*/ 5583 w 10002"/>
                <a:gd name="connsiteY4" fmla="*/ 300 h 10000"/>
                <a:gd name="connsiteX5" fmla="*/ 5568 w 10002"/>
                <a:gd name="connsiteY5" fmla="*/ 394 h 10000"/>
                <a:gd name="connsiteX6" fmla="*/ 5550 w 10002"/>
                <a:gd name="connsiteY6" fmla="*/ 491 h 10000"/>
                <a:gd name="connsiteX7" fmla="*/ 5531 w 10002"/>
                <a:gd name="connsiteY7" fmla="*/ 587 h 10000"/>
                <a:gd name="connsiteX8" fmla="*/ 5511 w 10002"/>
                <a:gd name="connsiteY8" fmla="*/ 684 h 10000"/>
                <a:gd name="connsiteX9" fmla="*/ 5490 w 10002"/>
                <a:gd name="connsiteY9" fmla="*/ 778 h 10000"/>
                <a:gd name="connsiteX10" fmla="*/ 5468 w 10002"/>
                <a:gd name="connsiteY10" fmla="*/ 870 h 10000"/>
                <a:gd name="connsiteX11" fmla="*/ 5442 w 10002"/>
                <a:gd name="connsiteY11" fmla="*/ 961 h 10000"/>
                <a:gd name="connsiteX12" fmla="*/ 5418 w 10002"/>
                <a:gd name="connsiteY12" fmla="*/ 1053 h 10000"/>
                <a:gd name="connsiteX13" fmla="*/ 5390 w 10002"/>
                <a:gd name="connsiteY13" fmla="*/ 1145 h 10000"/>
                <a:gd name="connsiteX14" fmla="*/ 5361 w 10002"/>
                <a:gd name="connsiteY14" fmla="*/ 1231 h 10000"/>
                <a:gd name="connsiteX15" fmla="*/ 5331 w 10002"/>
                <a:gd name="connsiteY15" fmla="*/ 1318 h 10000"/>
                <a:gd name="connsiteX16" fmla="*/ 5301 w 10002"/>
                <a:gd name="connsiteY16" fmla="*/ 1405 h 10000"/>
                <a:gd name="connsiteX17" fmla="*/ 5269 w 10002"/>
                <a:gd name="connsiteY17" fmla="*/ 1494 h 10000"/>
                <a:gd name="connsiteX18" fmla="*/ 5235 w 10002"/>
                <a:gd name="connsiteY18" fmla="*/ 1578 h 10000"/>
                <a:gd name="connsiteX19" fmla="*/ 5199 w 10002"/>
                <a:gd name="connsiteY19" fmla="*/ 1663 h 10000"/>
                <a:gd name="connsiteX20" fmla="*/ 5163 w 10002"/>
                <a:gd name="connsiteY20" fmla="*/ 1742 h 10000"/>
                <a:gd name="connsiteX21" fmla="*/ 5124 w 10002"/>
                <a:gd name="connsiteY21" fmla="*/ 1824 h 10000"/>
                <a:gd name="connsiteX22" fmla="*/ 5085 w 10002"/>
                <a:gd name="connsiteY22" fmla="*/ 1903 h 10000"/>
                <a:gd name="connsiteX23" fmla="*/ 5046 w 10002"/>
                <a:gd name="connsiteY23" fmla="*/ 1985 h 10000"/>
                <a:gd name="connsiteX24" fmla="*/ 5005 w 10002"/>
                <a:gd name="connsiteY24" fmla="*/ 2059 h 10000"/>
                <a:gd name="connsiteX25" fmla="*/ 4961 w 10002"/>
                <a:gd name="connsiteY25" fmla="*/ 2133 h 10000"/>
                <a:gd name="connsiteX26" fmla="*/ 4916 w 10002"/>
                <a:gd name="connsiteY26" fmla="*/ 2210 h 10000"/>
                <a:gd name="connsiteX27" fmla="*/ 4872 w 10002"/>
                <a:gd name="connsiteY27" fmla="*/ 2282 h 10000"/>
                <a:gd name="connsiteX28" fmla="*/ 4825 w 10002"/>
                <a:gd name="connsiteY28" fmla="*/ 2354 h 10000"/>
                <a:gd name="connsiteX29" fmla="*/ 4779 w 10002"/>
                <a:gd name="connsiteY29" fmla="*/ 2426 h 10000"/>
                <a:gd name="connsiteX30" fmla="*/ 4731 w 10002"/>
                <a:gd name="connsiteY30" fmla="*/ 2495 h 10000"/>
                <a:gd name="connsiteX31" fmla="*/ 4681 w 10002"/>
                <a:gd name="connsiteY31" fmla="*/ 2562 h 10000"/>
                <a:gd name="connsiteX32" fmla="*/ 4631 w 10002"/>
                <a:gd name="connsiteY32" fmla="*/ 2626 h 10000"/>
                <a:gd name="connsiteX33" fmla="*/ 4579 w 10002"/>
                <a:gd name="connsiteY33" fmla="*/ 2691 h 10000"/>
                <a:gd name="connsiteX34" fmla="*/ 4528 w 10002"/>
                <a:gd name="connsiteY34" fmla="*/ 2753 h 10000"/>
                <a:gd name="connsiteX35" fmla="*/ 4472 w 10002"/>
                <a:gd name="connsiteY35" fmla="*/ 2817 h 10000"/>
                <a:gd name="connsiteX36" fmla="*/ 4419 w 10002"/>
                <a:gd name="connsiteY36" fmla="*/ 2874 h 10000"/>
                <a:gd name="connsiteX37" fmla="*/ 4364 w 10002"/>
                <a:gd name="connsiteY37" fmla="*/ 2934 h 10000"/>
                <a:gd name="connsiteX38" fmla="*/ 4307 w 10002"/>
                <a:gd name="connsiteY38" fmla="*/ 2988 h 10000"/>
                <a:gd name="connsiteX39" fmla="*/ 4250 w 10002"/>
                <a:gd name="connsiteY39" fmla="*/ 3043 h 10000"/>
                <a:gd name="connsiteX40" fmla="*/ 4192 w 10002"/>
                <a:gd name="connsiteY40" fmla="*/ 3097 h 10000"/>
                <a:gd name="connsiteX41" fmla="*/ 4134 w 10002"/>
                <a:gd name="connsiteY41" fmla="*/ 3149 h 10000"/>
                <a:gd name="connsiteX42" fmla="*/ 4073 w 10002"/>
                <a:gd name="connsiteY42" fmla="*/ 3196 h 10000"/>
                <a:gd name="connsiteX43" fmla="*/ 4012 w 10002"/>
                <a:gd name="connsiteY43" fmla="*/ 3243 h 10000"/>
                <a:gd name="connsiteX44" fmla="*/ 3952 w 10002"/>
                <a:gd name="connsiteY44" fmla="*/ 3290 h 10000"/>
                <a:gd name="connsiteX45" fmla="*/ 3889 w 10002"/>
                <a:gd name="connsiteY45" fmla="*/ 3335 h 10000"/>
                <a:gd name="connsiteX46" fmla="*/ 3825 w 10002"/>
                <a:gd name="connsiteY46" fmla="*/ 3377 h 10000"/>
                <a:gd name="connsiteX47" fmla="*/ 3761 w 10002"/>
                <a:gd name="connsiteY47" fmla="*/ 3417 h 10000"/>
                <a:gd name="connsiteX48" fmla="*/ 3697 w 10002"/>
                <a:gd name="connsiteY48" fmla="*/ 3454 h 10000"/>
                <a:gd name="connsiteX49" fmla="*/ 3631 w 10002"/>
                <a:gd name="connsiteY49" fmla="*/ 3491 h 10000"/>
                <a:gd name="connsiteX50" fmla="*/ 3567 w 10002"/>
                <a:gd name="connsiteY50" fmla="*/ 3523 h 10000"/>
                <a:gd name="connsiteX51" fmla="*/ 3499 w 10002"/>
                <a:gd name="connsiteY51" fmla="*/ 3558 h 10000"/>
                <a:gd name="connsiteX52" fmla="*/ 3431 w 10002"/>
                <a:gd name="connsiteY52" fmla="*/ 3588 h 10000"/>
                <a:gd name="connsiteX53" fmla="*/ 3363 w 10002"/>
                <a:gd name="connsiteY53" fmla="*/ 3615 h 10000"/>
                <a:gd name="connsiteX54" fmla="*/ 3294 w 10002"/>
                <a:gd name="connsiteY54" fmla="*/ 3642 h 10000"/>
                <a:gd name="connsiteX55" fmla="*/ 3224 w 10002"/>
                <a:gd name="connsiteY55" fmla="*/ 3665 h 10000"/>
                <a:gd name="connsiteX56" fmla="*/ 3155 w 10002"/>
                <a:gd name="connsiteY56" fmla="*/ 3687 h 10000"/>
                <a:gd name="connsiteX57" fmla="*/ 3083 w 10002"/>
                <a:gd name="connsiteY57" fmla="*/ 3707 h 10000"/>
                <a:gd name="connsiteX58" fmla="*/ 3014 w 10002"/>
                <a:gd name="connsiteY58" fmla="*/ 3724 h 10000"/>
                <a:gd name="connsiteX59" fmla="*/ 2941 w 10002"/>
                <a:gd name="connsiteY59" fmla="*/ 3739 h 10000"/>
                <a:gd name="connsiteX60" fmla="*/ 2868 w 10002"/>
                <a:gd name="connsiteY60" fmla="*/ 3754 h 10000"/>
                <a:gd name="connsiteX61" fmla="*/ 2797 w 10002"/>
                <a:gd name="connsiteY61" fmla="*/ 3761 h 10000"/>
                <a:gd name="connsiteX62" fmla="*/ 2722 w 10002"/>
                <a:gd name="connsiteY62" fmla="*/ 3771 h 10000"/>
                <a:gd name="connsiteX63" fmla="*/ 2649 w 10002"/>
                <a:gd name="connsiteY63" fmla="*/ 3776 h 10000"/>
                <a:gd name="connsiteX64" fmla="*/ 2576 w 10002"/>
                <a:gd name="connsiteY64" fmla="*/ 3781 h 10000"/>
                <a:gd name="connsiteX65" fmla="*/ 2499 w 10002"/>
                <a:gd name="connsiteY65" fmla="*/ 3781 h 10000"/>
                <a:gd name="connsiteX66" fmla="*/ 2394 w 10002"/>
                <a:gd name="connsiteY66" fmla="*/ 3781 h 10000"/>
                <a:gd name="connsiteX67" fmla="*/ 2285 w 10002"/>
                <a:gd name="connsiteY67" fmla="*/ 3771 h 10000"/>
                <a:gd name="connsiteX68" fmla="*/ 2180 w 10002"/>
                <a:gd name="connsiteY68" fmla="*/ 3759 h 10000"/>
                <a:gd name="connsiteX69" fmla="*/ 2075 w 10002"/>
                <a:gd name="connsiteY69" fmla="*/ 3741 h 10000"/>
                <a:gd name="connsiteX70" fmla="*/ 1971 w 10002"/>
                <a:gd name="connsiteY70" fmla="*/ 3719 h 10000"/>
                <a:gd name="connsiteX71" fmla="*/ 1868 w 10002"/>
                <a:gd name="connsiteY71" fmla="*/ 3692 h 10000"/>
                <a:gd name="connsiteX72" fmla="*/ 1766 w 10002"/>
                <a:gd name="connsiteY72" fmla="*/ 3662 h 10000"/>
                <a:gd name="connsiteX73" fmla="*/ 1666 w 10002"/>
                <a:gd name="connsiteY73" fmla="*/ 3627 h 10000"/>
                <a:gd name="connsiteX74" fmla="*/ 0 w 10002"/>
                <a:gd name="connsiteY74" fmla="*/ 6085 h 10000"/>
                <a:gd name="connsiteX75" fmla="*/ 209 w 10002"/>
                <a:gd name="connsiteY75" fmla="*/ 9512 h 10000"/>
                <a:gd name="connsiteX76" fmla="*/ 344 w 10002"/>
                <a:gd name="connsiteY76" fmla="*/ 9569 h 10000"/>
                <a:gd name="connsiteX77" fmla="*/ 481 w 10002"/>
                <a:gd name="connsiteY77" fmla="*/ 9623 h 10000"/>
                <a:gd name="connsiteX78" fmla="*/ 621 w 10002"/>
                <a:gd name="connsiteY78" fmla="*/ 9673 h 10000"/>
                <a:gd name="connsiteX79" fmla="*/ 758 w 10002"/>
                <a:gd name="connsiteY79" fmla="*/ 9720 h 10000"/>
                <a:gd name="connsiteX80" fmla="*/ 899 w 10002"/>
                <a:gd name="connsiteY80" fmla="*/ 9765 h 10000"/>
                <a:gd name="connsiteX81" fmla="*/ 1041 w 10002"/>
                <a:gd name="connsiteY81" fmla="*/ 9804 h 10000"/>
                <a:gd name="connsiteX82" fmla="*/ 1183 w 10002"/>
                <a:gd name="connsiteY82" fmla="*/ 9839 h 10000"/>
                <a:gd name="connsiteX83" fmla="*/ 1326 w 10002"/>
                <a:gd name="connsiteY83" fmla="*/ 9874 h 10000"/>
                <a:gd name="connsiteX84" fmla="*/ 1472 w 10002"/>
                <a:gd name="connsiteY84" fmla="*/ 9903 h 10000"/>
                <a:gd name="connsiteX85" fmla="*/ 1615 w 10002"/>
                <a:gd name="connsiteY85" fmla="*/ 9926 h 10000"/>
                <a:gd name="connsiteX86" fmla="*/ 1761 w 10002"/>
                <a:gd name="connsiteY86" fmla="*/ 9948 h 10000"/>
                <a:gd name="connsiteX87" fmla="*/ 1907 w 10002"/>
                <a:gd name="connsiteY87" fmla="*/ 9965 h 10000"/>
                <a:gd name="connsiteX88" fmla="*/ 2053 w 10002"/>
                <a:gd name="connsiteY88" fmla="*/ 9980 h 10000"/>
                <a:gd name="connsiteX89" fmla="*/ 2203 w 10002"/>
                <a:gd name="connsiteY89" fmla="*/ 9990 h 10000"/>
                <a:gd name="connsiteX90" fmla="*/ 2351 w 10002"/>
                <a:gd name="connsiteY90" fmla="*/ 9995 h 10000"/>
                <a:gd name="connsiteX91" fmla="*/ 2499 w 10002"/>
                <a:gd name="connsiteY91" fmla="*/ 10000 h 10000"/>
                <a:gd name="connsiteX92" fmla="*/ 2678 w 10002"/>
                <a:gd name="connsiteY92" fmla="*/ 9995 h 10000"/>
                <a:gd name="connsiteX93" fmla="*/ 2851 w 10002"/>
                <a:gd name="connsiteY93" fmla="*/ 9988 h 10000"/>
                <a:gd name="connsiteX94" fmla="*/ 3026 w 10002"/>
                <a:gd name="connsiteY94" fmla="*/ 9975 h 10000"/>
                <a:gd name="connsiteX95" fmla="*/ 3197 w 10002"/>
                <a:gd name="connsiteY95" fmla="*/ 9953 h 10000"/>
                <a:gd name="connsiteX96" fmla="*/ 3370 w 10002"/>
                <a:gd name="connsiteY96" fmla="*/ 9931 h 10000"/>
                <a:gd name="connsiteX97" fmla="*/ 3540 w 10002"/>
                <a:gd name="connsiteY97" fmla="*/ 9898 h 10000"/>
                <a:gd name="connsiteX98" fmla="*/ 3711 w 10002"/>
                <a:gd name="connsiteY98" fmla="*/ 9866 h 10000"/>
                <a:gd name="connsiteX99" fmla="*/ 3879 w 10002"/>
                <a:gd name="connsiteY99" fmla="*/ 9824 h 10000"/>
                <a:gd name="connsiteX100" fmla="*/ 4044 w 10002"/>
                <a:gd name="connsiteY100" fmla="*/ 9779 h 10000"/>
                <a:gd name="connsiteX101" fmla="*/ 4212 w 10002"/>
                <a:gd name="connsiteY101" fmla="*/ 9730 h 10000"/>
                <a:gd name="connsiteX102" fmla="*/ 4374 w 10002"/>
                <a:gd name="connsiteY102" fmla="*/ 9673 h 10000"/>
                <a:gd name="connsiteX103" fmla="*/ 4538 w 10002"/>
                <a:gd name="connsiteY103" fmla="*/ 9616 h 10000"/>
                <a:gd name="connsiteX104" fmla="*/ 4699 w 10002"/>
                <a:gd name="connsiteY104" fmla="*/ 9552 h 10000"/>
                <a:gd name="connsiteX105" fmla="*/ 4859 w 10002"/>
                <a:gd name="connsiteY105" fmla="*/ 9482 h 10000"/>
                <a:gd name="connsiteX106" fmla="*/ 5017 w 10002"/>
                <a:gd name="connsiteY106" fmla="*/ 9405 h 10000"/>
                <a:gd name="connsiteX107" fmla="*/ 5174 w 10002"/>
                <a:gd name="connsiteY107" fmla="*/ 9329 h 10000"/>
                <a:gd name="connsiteX108" fmla="*/ 5329 w 10002"/>
                <a:gd name="connsiteY108" fmla="*/ 9244 h 10000"/>
                <a:gd name="connsiteX109" fmla="*/ 5483 w 10002"/>
                <a:gd name="connsiteY109" fmla="*/ 9158 h 10000"/>
                <a:gd name="connsiteX110" fmla="*/ 5634 w 10002"/>
                <a:gd name="connsiteY110" fmla="*/ 9063 h 10000"/>
                <a:gd name="connsiteX111" fmla="*/ 5784 w 10002"/>
                <a:gd name="connsiteY111" fmla="*/ 8967 h 10000"/>
                <a:gd name="connsiteX112" fmla="*/ 5934 w 10002"/>
                <a:gd name="connsiteY112" fmla="*/ 8865 h 10000"/>
                <a:gd name="connsiteX113" fmla="*/ 6078 w 10002"/>
                <a:gd name="connsiteY113" fmla="*/ 8759 h 10000"/>
                <a:gd name="connsiteX114" fmla="*/ 6224 w 10002"/>
                <a:gd name="connsiteY114" fmla="*/ 8652 h 10000"/>
                <a:gd name="connsiteX115" fmla="*/ 6367 w 10002"/>
                <a:gd name="connsiteY115" fmla="*/ 8536 h 10000"/>
                <a:gd name="connsiteX116" fmla="*/ 6508 w 10002"/>
                <a:gd name="connsiteY116" fmla="*/ 8417 h 10000"/>
                <a:gd name="connsiteX117" fmla="*/ 6645 w 10002"/>
                <a:gd name="connsiteY117" fmla="*/ 8295 h 10000"/>
                <a:gd name="connsiteX118" fmla="*/ 6783 w 10002"/>
                <a:gd name="connsiteY118" fmla="*/ 8169 h 10000"/>
                <a:gd name="connsiteX119" fmla="*/ 6916 w 10002"/>
                <a:gd name="connsiteY119" fmla="*/ 8040 h 10000"/>
                <a:gd name="connsiteX120" fmla="*/ 7049 w 10002"/>
                <a:gd name="connsiteY120" fmla="*/ 7904 h 10000"/>
                <a:gd name="connsiteX121" fmla="*/ 7179 w 10002"/>
                <a:gd name="connsiteY121" fmla="*/ 7768 h 10000"/>
                <a:gd name="connsiteX122" fmla="*/ 7308 w 10002"/>
                <a:gd name="connsiteY122" fmla="*/ 7624 h 10000"/>
                <a:gd name="connsiteX123" fmla="*/ 7433 w 10002"/>
                <a:gd name="connsiteY123" fmla="*/ 7480 h 10000"/>
                <a:gd name="connsiteX124" fmla="*/ 7556 w 10002"/>
                <a:gd name="connsiteY124" fmla="*/ 7329 h 10000"/>
                <a:gd name="connsiteX125" fmla="*/ 7677 w 10002"/>
                <a:gd name="connsiteY125" fmla="*/ 7178 h 10000"/>
                <a:gd name="connsiteX126" fmla="*/ 7796 w 10002"/>
                <a:gd name="connsiteY126" fmla="*/ 7024 h 10000"/>
                <a:gd name="connsiteX127" fmla="*/ 7911 w 10002"/>
                <a:gd name="connsiteY127" fmla="*/ 6861 h 10000"/>
                <a:gd name="connsiteX128" fmla="*/ 8026 w 10002"/>
                <a:gd name="connsiteY128" fmla="*/ 6697 h 10000"/>
                <a:gd name="connsiteX129" fmla="*/ 8137 w 10002"/>
                <a:gd name="connsiteY129" fmla="*/ 6534 h 10000"/>
                <a:gd name="connsiteX130" fmla="*/ 8244 w 10002"/>
                <a:gd name="connsiteY130" fmla="*/ 6365 h 10000"/>
                <a:gd name="connsiteX131" fmla="*/ 8351 w 10002"/>
                <a:gd name="connsiteY131" fmla="*/ 6189 h 10000"/>
                <a:gd name="connsiteX132" fmla="*/ 8454 w 10002"/>
                <a:gd name="connsiteY132" fmla="*/ 6016 h 10000"/>
                <a:gd name="connsiteX133" fmla="*/ 8556 w 10002"/>
                <a:gd name="connsiteY133" fmla="*/ 5835 h 10000"/>
                <a:gd name="connsiteX134" fmla="*/ 8654 w 10002"/>
                <a:gd name="connsiteY134" fmla="*/ 5652 h 10000"/>
                <a:gd name="connsiteX135" fmla="*/ 8749 w 10002"/>
                <a:gd name="connsiteY135" fmla="*/ 5468 h 10000"/>
                <a:gd name="connsiteX136" fmla="*/ 8841 w 10002"/>
                <a:gd name="connsiteY136" fmla="*/ 5278 h 10000"/>
                <a:gd name="connsiteX137" fmla="*/ 8931 w 10002"/>
                <a:gd name="connsiteY137" fmla="*/ 5089 h 10000"/>
                <a:gd name="connsiteX138" fmla="*/ 9019 w 10002"/>
                <a:gd name="connsiteY138" fmla="*/ 4893 h 10000"/>
                <a:gd name="connsiteX139" fmla="*/ 9103 w 10002"/>
                <a:gd name="connsiteY139" fmla="*/ 4698 h 10000"/>
                <a:gd name="connsiteX140" fmla="*/ 9183 w 10002"/>
                <a:gd name="connsiteY140" fmla="*/ 4500 h 10000"/>
                <a:gd name="connsiteX141" fmla="*/ 9261 w 10002"/>
                <a:gd name="connsiteY141" fmla="*/ 4294 h 10000"/>
                <a:gd name="connsiteX142" fmla="*/ 9335 w 10002"/>
                <a:gd name="connsiteY142" fmla="*/ 4091 h 10000"/>
                <a:gd name="connsiteX143" fmla="*/ 9406 w 10002"/>
                <a:gd name="connsiteY143" fmla="*/ 3885 h 10000"/>
                <a:gd name="connsiteX144" fmla="*/ 9475 w 10002"/>
                <a:gd name="connsiteY144" fmla="*/ 3674 h 10000"/>
                <a:gd name="connsiteX145" fmla="*/ 9540 w 10002"/>
                <a:gd name="connsiteY145" fmla="*/ 3464 h 10000"/>
                <a:gd name="connsiteX146" fmla="*/ 9604 w 10002"/>
                <a:gd name="connsiteY146" fmla="*/ 3248 h 10000"/>
                <a:gd name="connsiteX147" fmla="*/ 9661 w 10002"/>
                <a:gd name="connsiteY147" fmla="*/ 3030 h 10000"/>
                <a:gd name="connsiteX148" fmla="*/ 9716 w 10002"/>
                <a:gd name="connsiteY148" fmla="*/ 2815 h 10000"/>
                <a:gd name="connsiteX149" fmla="*/ 9768 w 10002"/>
                <a:gd name="connsiteY149" fmla="*/ 2592 h 10000"/>
                <a:gd name="connsiteX150" fmla="*/ 9818 w 10002"/>
                <a:gd name="connsiteY150" fmla="*/ 2369 h 10000"/>
                <a:gd name="connsiteX151" fmla="*/ 9861 w 10002"/>
                <a:gd name="connsiteY151" fmla="*/ 2143 h 10000"/>
                <a:gd name="connsiteX152" fmla="*/ 9903 w 10002"/>
                <a:gd name="connsiteY152" fmla="*/ 1918 h 10000"/>
                <a:gd name="connsiteX153" fmla="*/ 9941 w 10002"/>
                <a:gd name="connsiteY153" fmla="*/ 1690 h 10000"/>
                <a:gd name="connsiteX154" fmla="*/ 9975 w 10002"/>
                <a:gd name="connsiteY154" fmla="*/ 1457 h 10000"/>
                <a:gd name="connsiteX155" fmla="*/ 10002 w 10002"/>
                <a:gd name="connsiteY155" fmla="*/ 1216 h 10000"/>
                <a:gd name="connsiteX156" fmla="*/ 7615 w 10002"/>
                <a:gd name="connsiteY156" fmla="*/ 1876 h 10000"/>
                <a:gd name="connsiteX157" fmla="*/ 5618 w 10002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9 w 10001"/>
                <a:gd name="connsiteY75" fmla="*/ 9512 h 10000"/>
                <a:gd name="connsiteX76" fmla="*/ 344 w 10001"/>
                <a:gd name="connsiteY76" fmla="*/ 9569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9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6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6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6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</a:cxnLst>
              <a:rect l="l" t="t" r="r" b="b"/>
              <a:pathLst>
                <a:path w="10001" h="10000">
                  <a:moveTo>
                    <a:pt x="5618" y="0"/>
                  </a:moveTo>
                  <a:lnTo>
                    <a:pt x="5618" y="0"/>
                  </a:lnTo>
                  <a:lnTo>
                    <a:pt x="5609" y="99"/>
                  </a:lnTo>
                  <a:cubicBezTo>
                    <a:pt x="5604" y="133"/>
                    <a:pt x="5600" y="167"/>
                    <a:pt x="5595" y="201"/>
                  </a:cubicBezTo>
                  <a:lnTo>
                    <a:pt x="5583" y="300"/>
                  </a:lnTo>
                  <a:cubicBezTo>
                    <a:pt x="5578" y="331"/>
                    <a:pt x="5573" y="363"/>
                    <a:pt x="5568" y="394"/>
                  </a:cubicBezTo>
                  <a:cubicBezTo>
                    <a:pt x="5562" y="426"/>
                    <a:pt x="5556" y="459"/>
                    <a:pt x="5550" y="491"/>
                  </a:cubicBezTo>
                  <a:cubicBezTo>
                    <a:pt x="5544" y="523"/>
                    <a:pt x="5537" y="555"/>
                    <a:pt x="5531" y="587"/>
                  </a:cubicBezTo>
                  <a:cubicBezTo>
                    <a:pt x="5524" y="619"/>
                    <a:pt x="5518" y="652"/>
                    <a:pt x="5511" y="684"/>
                  </a:cubicBezTo>
                  <a:cubicBezTo>
                    <a:pt x="5504" y="715"/>
                    <a:pt x="5497" y="747"/>
                    <a:pt x="5490" y="778"/>
                  </a:cubicBezTo>
                  <a:cubicBezTo>
                    <a:pt x="5483" y="809"/>
                    <a:pt x="5475" y="839"/>
                    <a:pt x="5468" y="870"/>
                  </a:cubicBezTo>
                  <a:cubicBezTo>
                    <a:pt x="5459" y="900"/>
                    <a:pt x="5451" y="931"/>
                    <a:pt x="5442" y="961"/>
                  </a:cubicBezTo>
                  <a:cubicBezTo>
                    <a:pt x="5434" y="992"/>
                    <a:pt x="5426" y="1022"/>
                    <a:pt x="5418" y="1053"/>
                  </a:cubicBezTo>
                  <a:cubicBezTo>
                    <a:pt x="5409" y="1084"/>
                    <a:pt x="5399" y="1114"/>
                    <a:pt x="5390" y="1145"/>
                  </a:cubicBezTo>
                  <a:cubicBezTo>
                    <a:pt x="5380" y="1174"/>
                    <a:pt x="5371" y="1202"/>
                    <a:pt x="5361" y="1231"/>
                  </a:cubicBezTo>
                  <a:lnTo>
                    <a:pt x="5331" y="1318"/>
                  </a:lnTo>
                  <a:lnTo>
                    <a:pt x="5301" y="1405"/>
                  </a:lnTo>
                  <a:cubicBezTo>
                    <a:pt x="5290" y="1435"/>
                    <a:pt x="5280" y="1464"/>
                    <a:pt x="5269" y="1494"/>
                  </a:cubicBezTo>
                  <a:cubicBezTo>
                    <a:pt x="5258" y="1522"/>
                    <a:pt x="5246" y="1550"/>
                    <a:pt x="5235" y="1578"/>
                  </a:cubicBezTo>
                  <a:cubicBezTo>
                    <a:pt x="5223" y="1606"/>
                    <a:pt x="5211" y="1635"/>
                    <a:pt x="5199" y="1663"/>
                  </a:cubicBezTo>
                  <a:cubicBezTo>
                    <a:pt x="5187" y="1689"/>
                    <a:pt x="5175" y="1716"/>
                    <a:pt x="5163" y="1742"/>
                  </a:cubicBezTo>
                  <a:cubicBezTo>
                    <a:pt x="5150" y="1769"/>
                    <a:pt x="5137" y="1797"/>
                    <a:pt x="5124" y="1824"/>
                  </a:cubicBezTo>
                  <a:cubicBezTo>
                    <a:pt x="5111" y="1850"/>
                    <a:pt x="5098" y="1877"/>
                    <a:pt x="5085" y="1903"/>
                  </a:cubicBezTo>
                  <a:cubicBezTo>
                    <a:pt x="5072" y="1930"/>
                    <a:pt x="5059" y="1958"/>
                    <a:pt x="5046" y="1985"/>
                  </a:cubicBezTo>
                  <a:cubicBezTo>
                    <a:pt x="5032" y="2010"/>
                    <a:pt x="5019" y="2034"/>
                    <a:pt x="5005" y="2059"/>
                  </a:cubicBezTo>
                  <a:cubicBezTo>
                    <a:pt x="4990" y="2084"/>
                    <a:pt x="4975" y="2108"/>
                    <a:pt x="4961" y="2133"/>
                  </a:cubicBezTo>
                  <a:cubicBezTo>
                    <a:pt x="4946" y="2159"/>
                    <a:pt x="4931" y="2184"/>
                    <a:pt x="4916" y="2210"/>
                  </a:cubicBezTo>
                  <a:cubicBezTo>
                    <a:pt x="4901" y="2234"/>
                    <a:pt x="4887" y="2258"/>
                    <a:pt x="4872" y="2282"/>
                  </a:cubicBezTo>
                  <a:cubicBezTo>
                    <a:pt x="4856" y="2306"/>
                    <a:pt x="4841" y="2330"/>
                    <a:pt x="4825" y="2354"/>
                  </a:cubicBezTo>
                  <a:cubicBezTo>
                    <a:pt x="4810" y="2378"/>
                    <a:pt x="4794" y="2402"/>
                    <a:pt x="4779" y="2426"/>
                  </a:cubicBezTo>
                  <a:lnTo>
                    <a:pt x="4731" y="2495"/>
                  </a:lnTo>
                  <a:cubicBezTo>
                    <a:pt x="4714" y="2517"/>
                    <a:pt x="4698" y="2540"/>
                    <a:pt x="4681" y="2562"/>
                  </a:cubicBezTo>
                  <a:cubicBezTo>
                    <a:pt x="4664" y="2583"/>
                    <a:pt x="4648" y="2605"/>
                    <a:pt x="4631" y="2626"/>
                  </a:cubicBezTo>
                  <a:cubicBezTo>
                    <a:pt x="4614" y="2648"/>
                    <a:pt x="4596" y="2669"/>
                    <a:pt x="4579" y="2691"/>
                  </a:cubicBezTo>
                  <a:cubicBezTo>
                    <a:pt x="4562" y="2712"/>
                    <a:pt x="4545" y="2732"/>
                    <a:pt x="4528" y="2753"/>
                  </a:cubicBezTo>
                  <a:cubicBezTo>
                    <a:pt x="4509" y="2774"/>
                    <a:pt x="4491" y="2796"/>
                    <a:pt x="4472" y="2817"/>
                  </a:cubicBezTo>
                  <a:cubicBezTo>
                    <a:pt x="4454" y="2836"/>
                    <a:pt x="4437" y="2855"/>
                    <a:pt x="4419" y="2874"/>
                  </a:cubicBezTo>
                  <a:cubicBezTo>
                    <a:pt x="4401" y="2894"/>
                    <a:pt x="4382" y="2914"/>
                    <a:pt x="4364" y="2934"/>
                  </a:cubicBezTo>
                  <a:lnTo>
                    <a:pt x="4307" y="2988"/>
                  </a:lnTo>
                  <a:cubicBezTo>
                    <a:pt x="4288" y="3006"/>
                    <a:pt x="4269" y="3025"/>
                    <a:pt x="4250" y="3043"/>
                  </a:cubicBezTo>
                  <a:cubicBezTo>
                    <a:pt x="4231" y="3061"/>
                    <a:pt x="4211" y="3079"/>
                    <a:pt x="4192" y="3097"/>
                  </a:cubicBezTo>
                  <a:lnTo>
                    <a:pt x="4134" y="3149"/>
                  </a:lnTo>
                  <a:cubicBezTo>
                    <a:pt x="4114" y="3165"/>
                    <a:pt x="4093" y="3180"/>
                    <a:pt x="4073" y="3196"/>
                  </a:cubicBezTo>
                  <a:cubicBezTo>
                    <a:pt x="4053" y="3212"/>
                    <a:pt x="4032" y="3227"/>
                    <a:pt x="4012" y="3243"/>
                  </a:cubicBezTo>
                  <a:cubicBezTo>
                    <a:pt x="3992" y="3259"/>
                    <a:pt x="3972" y="3274"/>
                    <a:pt x="3952" y="3290"/>
                  </a:cubicBezTo>
                  <a:lnTo>
                    <a:pt x="3889" y="3335"/>
                  </a:lnTo>
                  <a:cubicBezTo>
                    <a:pt x="3868" y="3349"/>
                    <a:pt x="3846" y="3363"/>
                    <a:pt x="3825" y="3377"/>
                  </a:cubicBezTo>
                  <a:lnTo>
                    <a:pt x="3761" y="3417"/>
                  </a:lnTo>
                  <a:lnTo>
                    <a:pt x="3697" y="3454"/>
                  </a:lnTo>
                  <a:cubicBezTo>
                    <a:pt x="3675" y="3466"/>
                    <a:pt x="3653" y="3479"/>
                    <a:pt x="3631" y="3491"/>
                  </a:cubicBezTo>
                  <a:cubicBezTo>
                    <a:pt x="3610" y="3502"/>
                    <a:pt x="3588" y="3512"/>
                    <a:pt x="3567" y="3523"/>
                  </a:cubicBezTo>
                  <a:lnTo>
                    <a:pt x="3499" y="3558"/>
                  </a:lnTo>
                  <a:lnTo>
                    <a:pt x="3431" y="3588"/>
                  </a:lnTo>
                  <a:lnTo>
                    <a:pt x="3363" y="3615"/>
                  </a:lnTo>
                  <a:lnTo>
                    <a:pt x="3294" y="3642"/>
                  </a:lnTo>
                  <a:cubicBezTo>
                    <a:pt x="3271" y="3650"/>
                    <a:pt x="3247" y="3657"/>
                    <a:pt x="3224" y="3665"/>
                  </a:cubicBezTo>
                  <a:cubicBezTo>
                    <a:pt x="3201" y="3672"/>
                    <a:pt x="3178" y="3680"/>
                    <a:pt x="3155" y="3687"/>
                  </a:cubicBezTo>
                  <a:cubicBezTo>
                    <a:pt x="3131" y="3694"/>
                    <a:pt x="3107" y="3700"/>
                    <a:pt x="3083" y="3707"/>
                  </a:cubicBezTo>
                  <a:cubicBezTo>
                    <a:pt x="3060" y="3713"/>
                    <a:pt x="3037" y="3718"/>
                    <a:pt x="3014" y="3724"/>
                  </a:cubicBezTo>
                  <a:lnTo>
                    <a:pt x="2941" y="3739"/>
                  </a:lnTo>
                  <a:lnTo>
                    <a:pt x="2868" y="3754"/>
                  </a:lnTo>
                  <a:cubicBezTo>
                    <a:pt x="2844" y="3756"/>
                    <a:pt x="2821" y="3759"/>
                    <a:pt x="2797" y="3761"/>
                  </a:cubicBezTo>
                  <a:cubicBezTo>
                    <a:pt x="2772" y="3764"/>
                    <a:pt x="2747" y="3768"/>
                    <a:pt x="2722" y="3771"/>
                  </a:cubicBezTo>
                  <a:cubicBezTo>
                    <a:pt x="2698" y="3773"/>
                    <a:pt x="2673" y="3774"/>
                    <a:pt x="2649" y="3776"/>
                  </a:cubicBezTo>
                  <a:cubicBezTo>
                    <a:pt x="2625" y="3778"/>
                    <a:pt x="2600" y="3779"/>
                    <a:pt x="2576" y="3781"/>
                  </a:cubicBezTo>
                  <a:lnTo>
                    <a:pt x="2499" y="3781"/>
                  </a:lnTo>
                  <a:lnTo>
                    <a:pt x="2394" y="3781"/>
                  </a:lnTo>
                  <a:lnTo>
                    <a:pt x="2285" y="3771"/>
                  </a:lnTo>
                  <a:lnTo>
                    <a:pt x="2180" y="3759"/>
                  </a:lnTo>
                  <a:lnTo>
                    <a:pt x="2075" y="3741"/>
                  </a:lnTo>
                  <a:cubicBezTo>
                    <a:pt x="2040" y="3734"/>
                    <a:pt x="2006" y="3726"/>
                    <a:pt x="1971" y="3719"/>
                  </a:cubicBezTo>
                  <a:lnTo>
                    <a:pt x="1868" y="3692"/>
                  </a:lnTo>
                  <a:lnTo>
                    <a:pt x="1766" y="3662"/>
                  </a:lnTo>
                  <a:cubicBezTo>
                    <a:pt x="1733" y="3650"/>
                    <a:pt x="1699" y="3639"/>
                    <a:pt x="1666" y="3627"/>
                  </a:cubicBezTo>
                  <a:lnTo>
                    <a:pt x="0" y="6085"/>
                  </a:lnTo>
                  <a:cubicBezTo>
                    <a:pt x="70" y="7227"/>
                    <a:pt x="138" y="8352"/>
                    <a:pt x="208" y="9494"/>
                  </a:cubicBezTo>
                  <a:cubicBezTo>
                    <a:pt x="253" y="9518"/>
                    <a:pt x="259" y="9522"/>
                    <a:pt x="345" y="9563"/>
                  </a:cubicBezTo>
                  <a:cubicBezTo>
                    <a:pt x="390" y="9583"/>
                    <a:pt x="411" y="9593"/>
                    <a:pt x="481" y="9623"/>
                  </a:cubicBezTo>
                  <a:lnTo>
                    <a:pt x="621" y="9673"/>
                  </a:lnTo>
                  <a:lnTo>
                    <a:pt x="758" y="9720"/>
                  </a:lnTo>
                  <a:lnTo>
                    <a:pt x="899" y="9765"/>
                  </a:lnTo>
                  <a:lnTo>
                    <a:pt x="1041" y="9804"/>
                  </a:lnTo>
                  <a:lnTo>
                    <a:pt x="1183" y="9839"/>
                  </a:lnTo>
                  <a:lnTo>
                    <a:pt x="1326" y="9874"/>
                  </a:lnTo>
                  <a:lnTo>
                    <a:pt x="1472" y="9903"/>
                  </a:lnTo>
                  <a:lnTo>
                    <a:pt x="1615" y="9926"/>
                  </a:lnTo>
                  <a:lnTo>
                    <a:pt x="1761" y="9948"/>
                  </a:lnTo>
                  <a:lnTo>
                    <a:pt x="1907" y="9965"/>
                  </a:lnTo>
                  <a:lnTo>
                    <a:pt x="2053" y="9980"/>
                  </a:lnTo>
                  <a:lnTo>
                    <a:pt x="2203" y="9990"/>
                  </a:lnTo>
                  <a:lnTo>
                    <a:pt x="2351" y="9995"/>
                  </a:lnTo>
                  <a:lnTo>
                    <a:pt x="2499" y="10000"/>
                  </a:lnTo>
                  <a:lnTo>
                    <a:pt x="2678" y="9995"/>
                  </a:lnTo>
                  <a:lnTo>
                    <a:pt x="2851" y="9988"/>
                  </a:lnTo>
                  <a:lnTo>
                    <a:pt x="3026" y="9975"/>
                  </a:lnTo>
                  <a:lnTo>
                    <a:pt x="3197" y="9953"/>
                  </a:lnTo>
                  <a:lnTo>
                    <a:pt x="3370" y="9931"/>
                  </a:lnTo>
                  <a:lnTo>
                    <a:pt x="3540" y="9898"/>
                  </a:lnTo>
                  <a:lnTo>
                    <a:pt x="3711" y="9866"/>
                  </a:lnTo>
                  <a:lnTo>
                    <a:pt x="3879" y="9824"/>
                  </a:lnTo>
                  <a:lnTo>
                    <a:pt x="4044" y="9779"/>
                  </a:lnTo>
                  <a:lnTo>
                    <a:pt x="4212" y="9730"/>
                  </a:lnTo>
                  <a:lnTo>
                    <a:pt x="4374" y="9673"/>
                  </a:lnTo>
                  <a:lnTo>
                    <a:pt x="4538" y="9616"/>
                  </a:lnTo>
                  <a:lnTo>
                    <a:pt x="4699" y="9552"/>
                  </a:lnTo>
                  <a:lnTo>
                    <a:pt x="4859" y="9482"/>
                  </a:lnTo>
                  <a:lnTo>
                    <a:pt x="5017" y="9405"/>
                  </a:lnTo>
                  <a:lnTo>
                    <a:pt x="5174" y="9329"/>
                  </a:lnTo>
                  <a:lnTo>
                    <a:pt x="5329" y="9244"/>
                  </a:lnTo>
                  <a:cubicBezTo>
                    <a:pt x="5380" y="9215"/>
                    <a:pt x="5432" y="9187"/>
                    <a:pt x="5483" y="9158"/>
                  </a:cubicBezTo>
                  <a:cubicBezTo>
                    <a:pt x="5533" y="9126"/>
                    <a:pt x="5584" y="9095"/>
                    <a:pt x="5634" y="9063"/>
                  </a:cubicBezTo>
                  <a:lnTo>
                    <a:pt x="5784" y="8967"/>
                  </a:lnTo>
                  <a:lnTo>
                    <a:pt x="5934" y="8865"/>
                  </a:lnTo>
                  <a:lnTo>
                    <a:pt x="6078" y="8759"/>
                  </a:lnTo>
                  <a:lnTo>
                    <a:pt x="6224" y="8652"/>
                  </a:lnTo>
                  <a:lnTo>
                    <a:pt x="6367" y="8536"/>
                  </a:lnTo>
                  <a:lnTo>
                    <a:pt x="6508" y="8417"/>
                  </a:lnTo>
                  <a:lnTo>
                    <a:pt x="6645" y="8295"/>
                  </a:lnTo>
                  <a:lnTo>
                    <a:pt x="6783" y="8169"/>
                  </a:lnTo>
                  <a:lnTo>
                    <a:pt x="6916" y="8040"/>
                  </a:lnTo>
                  <a:lnTo>
                    <a:pt x="7049" y="7904"/>
                  </a:lnTo>
                  <a:lnTo>
                    <a:pt x="7179" y="7768"/>
                  </a:lnTo>
                  <a:lnTo>
                    <a:pt x="7308" y="7624"/>
                  </a:lnTo>
                  <a:lnTo>
                    <a:pt x="7433" y="7480"/>
                  </a:lnTo>
                  <a:lnTo>
                    <a:pt x="7556" y="7329"/>
                  </a:lnTo>
                  <a:lnTo>
                    <a:pt x="7677" y="7178"/>
                  </a:lnTo>
                  <a:cubicBezTo>
                    <a:pt x="7717" y="7127"/>
                    <a:pt x="7756" y="7075"/>
                    <a:pt x="7796" y="7024"/>
                  </a:cubicBezTo>
                  <a:lnTo>
                    <a:pt x="7911" y="6861"/>
                  </a:lnTo>
                  <a:cubicBezTo>
                    <a:pt x="7949" y="6806"/>
                    <a:pt x="7988" y="6752"/>
                    <a:pt x="8026" y="6697"/>
                  </a:cubicBezTo>
                  <a:lnTo>
                    <a:pt x="8137" y="6534"/>
                  </a:lnTo>
                  <a:cubicBezTo>
                    <a:pt x="8173" y="6478"/>
                    <a:pt x="8208" y="6421"/>
                    <a:pt x="8244" y="6365"/>
                  </a:cubicBezTo>
                  <a:lnTo>
                    <a:pt x="8351" y="6189"/>
                  </a:lnTo>
                  <a:cubicBezTo>
                    <a:pt x="8385" y="6131"/>
                    <a:pt x="8420" y="6074"/>
                    <a:pt x="8454" y="6016"/>
                  </a:cubicBezTo>
                  <a:lnTo>
                    <a:pt x="8556" y="5835"/>
                  </a:lnTo>
                  <a:cubicBezTo>
                    <a:pt x="8589" y="5774"/>
                    <a:pt x="8621" y="5713"/>
                    <a:pt x="8654" y="5652"/>
                  </a:cubicBezTo>
                  <a:cubicBezTo>
                    <a:pt x="8686" y="5591"/>
                    <a:pt x="8717" y="5529"/>
                    <a:pt x="8749" y="5468"/>
                  </a:cubicBezTo>
                  <a:cubicBezTo>
                    <a:pt x="8780" y="5405"/>
                    <a:pt x="8810" y="5341"/>
                    <a:pt x="8841" y="5278"/>
                  </a:cubicBezTo>
                  <a:lnTo>
                    <a:pt x="8931" y="5089"/>
                  </a:lnTo>
                  <a:cubicBezTo>
                    <a:pt x="8960" y="5024"/>
                    <a:pt x="8989" y="4958"/>
                    <a:pt x="9019" y="4893"/>
                  </a:cubicBezTo>
                  <a:lnTo>
                    <a:pt x="9103" y="4698"/>
                  </a:lnTo>
                  <a:cubicBezTo>
                    <a:pt x="9130" y="4632"/>
                    <a:pt x="9156" y="4566"/>
                    <a:pt x="9183" y="4500"/>
                  </a:cubicBezTo>
                  <a:cubicBezTo>
                    <a:pt x="9209" y="4431"/>
                    <a:pt x="9235" y="4363"/>
                    <a:pt x="9261" y="4294"/>
                  </a:cubicBezTo>
                  <a:cubicBezTo>
                    <a:pt x="9286" y="4226"/>
                    <a:pt x="9310" y="4159"/>
                    <a:pt x="9335" y="4091"/>
                  </a:cubicBezTo>
                  <a:cubicBezTo>
                    <a:pt x="9359" y="4022"/>
                    <a:pt x="9382" y="3954"/>
                    <a:pt x="9406" y="3885"/>
                  </a:cubicBezTo>
                  <a:cubicBezTo>
                    <a:pt x="9429" y="3815"/>
                    <a:pt x="9452" y="3744"/>
                    <a:pt x="9475" y="3674"/>
                  </a:cubicBezTo>
                  <a:cubicBezTo>
                    <a:pt x="9497" y="3604"/>
                    <a:pt x="9518" y="3534"/>
                    <a:pt x="9540" y="3464"/>
                  </a:cubicBezTo>
                  <a:cubicBezTo>
                    <a:pt x="9561" y="3392"/>
                    <a:pt x="9583" y="3320"/>
                    <a:pt x="9604" y="3248"/>
                  </a:cubicBezTo>
                  <a:cubicBezTo>
                    <a:pt x="9623" y="3175"/>
                    <a:pt x="9642" y="3103"/>
                    <a:pt x="9661" y="3030"/>
                  </a:cubicBezTo>
                  <a:cubicBezTo>
                    <a:pt x="9679" y="2958"/>
                    <a:pt x="9698" y="2887"/>
                    <a:pt x="9716" y="2815"/>
                  </a:cubicBezTo>
                  <a:cubicBezTo>
                    <a:pt x="9733" y="2741"/>
                    <a:pt x="9751" y="2666"/>
                    <a:pt x="9768" y="2592"/>
                  </a:cubicBezTo>
                  <a:cubicBezTo>
                    <a:pt x="9785" y="2518"/>
                    <a:pt x="9801" y="2443"/>
                    <a:pt x="9818" y="2369"/>
                  </a:cubicBezTo>
                  <a:cubicBezTo>
                    <a:pt x="9832" y="2294"/>
                    <a:pt x="9847" y="2218"/>
                    <a:pt x="9861" y="2143"/>
                  </a:cubicBezTo>
                  <a:lnTo>
                    <a:pt x="9903" y="1918"/>
                  </a:lnTo>
                  <a:cubicBezTo>
                    <a:pt x="9916" y="1842"/>
                    <a:pt x="9928" y="1766"/>
                    <a:pt x="9941" y="1690"/>
                  </a:cubicBezTo>
                  <a:cubicBezTo>
                    <a:pt x="9952" y="1612"/>
                    <a:pt x="9964" y="1535"/>
                    <a:pt x="9975" y="1457"/>
                  </a:cubicBezTo>
                  <a:cubicBezTo>
                    <a:pt x="9983" y="1377"/>
                    <a:pt x="9993" y="1295"/>
                    <a:pt x="10001" y="1215"/>
                  </a:cubicBezTo>
                  <a:lnTo>
                    <a:pt x="7615" y="1876"/>
                  </a:lnTo>
                  <a:lnTo>
                    <a:pt x="5618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70596" y="234864"/>
            <a:ext cx="8794113" cy="659459"/>
          </a:xfrm>
        </p:spPr>
        <p:txBody>
          <a:bodyPr/>
          <a:lstStyle/>
          <a:p>
            <a:r>
              <a:rPr lang="en-US" dirty="0"/>
              <a:t>Nth enables workers to drive social compliance by cataloguing and publically sharing violations and potential hazards</a:t>
            </a:r>
          </a:p>
        </p:txBody>
      </p:sp>
      <p:sp>
        <p:nvSpPr>
          <p:cNvPr id="20" name="Right Arrow 19"/>
          <p:cNvSpPr/>
          <p:nvPr/>
        </p:nvSpPr>
        <p:spPr bwMode="gray">
          <a:xfrm rot="18002456">
            <a:off x="5757084" y="2985613"/>
            <a:ext cx="1286382" cy="276183"/>
          </a:xfrm>
          <a:prstGeom prst="rightArrow">
            <a:avLst/>
          </a:prstGeom>
          <a:solidFill>
            <a:srgbClr val="7030A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1" name="Legend2"/>
          <p:cNvSpPr>
            <a:spLocks noChangeArrowheads="1"/>
          </p:cNvSpPr>
          <p:nvPr/>
        </p:nvSpPr>
        <p:spPr bwMode="gray">
          <a:xfrm>
            <a:off x="1238833" y="2987547"/>
            <a:ext cx="1722741" cy="6806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en-US" b="1" dirty="0" smtClean="0">
                <a:latin typeface="+mn-lt"/>
              </a:rPr>
              <a:t>Nth</a:t>
            </a:r>
          </a:p>
          <a:p>
            <a:pPr defTabSz="913526">
              <a:buClr>
                <a:schemeClr val="tx2"/>
              </a:buClr>
            </a:pPr>
            <a:r>
              <a:rPr lang="en-US" i="1" dirty="0" smtClean="0"/>
              <a:t>Twitter with a back-wards Snapchat</a:t>
            </a:r>
            <a:endParaRPr lang="en-US" i="1" dirty="0"/>
          </a:p>
          <a:p>
            <a:pPr defTabSz="913526">
              <a:buClr>
                <a:schemeClr val="tx2"/>
              </a:buClr>
            </a:pPr>
            <a:endParaRPr lang="en-US" b="1" dirty="0">
              <a:latin typeface="+mn-lt"/>
            </a:endParaRPr>
          </a:p>
        </p:txBody>
      </p:sp>
      <p:sp>
        <p:nvSpPr>
          <p:cNvPr id="23" name="Rectangle 6174"/>
          <p:cNvSpPr txBox="1"/>
          <p:nvPr/>
        </p:nvSpPr>
        <p:spPr bwMode="gray">
          <a:xfrm>
            <a:off x="392363" y="4144782"/>
            <a:ext cx="2420278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Workers photograph, share compliance violations, while auto-delete preserves individual  anonymity</a:t>
            </a:r>
          </a:p>
        </p:txBody>
      </p:sp>
      <p:sp>
        <p:nvSpPr>
          <p:cNvPr id="24" name="Rounded Rectangle 23"/>
          <p:cNvSpPr/>
          <p:nvPr/>
        </p:nvSpPr>
        <p:spPr bwMode="gray">
          <a:xfrm>
            <a:off x="302438" y="2988963"/>
            <a:ext cx="839725" cy="83967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2400" b="1" baseline="30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Legend2"/>
          <p:cNvSpPr>
            <a:spLocks noChangeArrowheads="1"/>
          </p:cNvSpPr>
          <p:nvPr/>
        </p:nvSpPr>
        <p:spPr bwMode="gray">
          <a:xfrm>
            <a:off x="527913" y="3124636"/>
            <a:ext cx="329503" cy="3329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en-US" sz="5500" b="1" dirty="0" smtClean="0">
                <a:solidFill>
                  <a:srgbClr val="FF0000"/>
                </a:solidFill>
                <a:latin typeface="+mn-lt"/>
              </a:rPr>
              <a:t>^</a:t>
            </a:r>
            <a:endParaRPr lang="en-US" sz="5500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26" name="RectangleLegend4"/>
          <p:cNvSpPr>
            <a:spLocks noChangeArrowheads="1"/>
          </p:cNvSpPr>
          <p:nvPr/>
        </p:nvSpPr>
        <p:spPr bwMode="gray">
          <a:xfrm>
            <a:off x="483090" y="5568005"/>
            <a:ext cx="168463" cy="163595"/>
          </a:xfrm>
          <a:prstGeom prst="rect">
            <a:avLst/>
          </a:prstGeom>
          <a:solidFill>
            <a:srgbClr val="7030A0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endParaRPr lang="en-US" sz="1400" dirty="0"/>
          </a:p>
        </p:txBody>
      </p:sp>
      <p:sp>
        <p:nvSpPr>
          <p:cNvPr id="27" name="Legend4"/>
          <p:cNvSpPr>
            <a:spLocks noChangeArrowheads="1"/>
          </p:cNvSpPr>
          <p:nvPr/>
        </p:nvSpPr>
        <p:spPr bwMode="gray">
          <a:xfrm>
            <a:off x="742264" y="5556668"/>
            <a:ext cx="181581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US" dirty="0" smtClean="0">
                <a:latin typeface="+mn-lt"/>
              </a:rPr>
              <a:t>Working conditions</a:t>
            </a:r>
            <a:endParaRPr lang="en-US" dirty="0">
              <a:latin typeface="+mn-lt"/>
            </a:endParaRPr>
          </a:p>
        </p:txBody>
      </p:sp>
      <p:sp>
        <p:nvSpPr>
          <p:cNvPr id="28" name="Right Arrow 27"/>
          <p:cNvSpPr/>
          <p:nvPr/>
        </p:nvSpPr>
        <p:spPr bwMode="gray">
          <a:xfrm rot="880846">
            <a:off x="5837087" y="3722550"/>
            <a:ext cx="1286457" cy="276167"/>
          </a:xfrm>
          <a:prstGeom prst="rightArrow">
            <a:avLst/>
          </a:prstGeom>
          <a:solidFill>
            <a:srgbClr val="7030A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9" name="Right Arrow 28"/>
          <p:cNvSpPr/>
          <p:nvPr/>
        </p:nvSpPr>
        <p:spPr bwMode="gray">
          <a:xfrm rot="5400000">
            <a:off x="5247496" y="3962718"/>
            <a:ext cx="1286382" cy="276183"/>
          </a:xfrm>
          <a:prstGeom prst="rightArrow">
            <a:avLst/>
          </a:prstGeom>
          <a:solidFill>
            <a:srgbClr val="7030A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0" name="Right Arrow 29"/>
          <p:cNvSpPr/>
          <p:nvPr/>
        </p:nvSpPr>
        <p:spPr bwMode="gray">
          <a:xfrm rot="20719154" flipH="1">
            <a:off x="4572284" y="3737879"/>
            <a:ext cx="1286457" cy="276167"/>
          </a:xfrm>
          <a:prstGeom prst="rightArrow">
            <a:avLst/>
          </a:prstGeom>
          <a:solidFill>
            <a:srgbClr val="7030A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1" name="Right Arrow 30"/>
          <p:cNvSpPr/>
          <p:nvPr/>
        </p:nvSpPr>
        <p:spPr bwMode="gray">
          <a:xfrm rot="3541684" flipH="1">
            <a:off x="4578220" y="2845085"/>
            <a:ext cx="1286382" cy="276183"/>
          </a:xfrm>
          <a:prstGeom prst="rightArrow">
            <a:avLst/>
          </a:prstGeom>
          <a:solidFill>
            <a:srgbClr val="7030A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2" name="McK 1. On-page tracker"/>
          <p:cNvSpPr>
            <a:spLocks noChangeArrowheads="1"/>
          </p:cNvSpPr>
          <p:nvPr/>
        </p:nvSpPr>
        <p:spPr bwMode="gray">
          <a:xfrm>
            <a:off x="121489" y="27537"/>
            <a:ext cx="29495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dirty="0" smtClean="0">
                <a:solidFill>
                  <a:srgbClr val="808080"/>
                </a:solidFill>
                <a:latin typeface="Arial Narrow" pitchFamily="34" charset="0"/>
                <a:ea typeface="+mj-ea"/>
              </a:rPr>
              <a:t>Nth</a:t>
            </a:r>
            <a:endParaRPr lang="en-US" b="1" baseline="0" noProof="0" dirty="0">
              <a:solidFill>
                <a:srgbClr val="FF0000"/>
              </a:solidFill>
              <a:latin typeface="Arial Narrow" pitchFamily="34" charset="0"/>
              <a:ea typeface="+mj-ea"/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1290025" y="1099333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Raw materials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3733035" y="1096978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ier 2/3 suppliers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6338549" y="1240249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ier 1 suppliers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5236251" y="4744931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tores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7130169" y="3209933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uyer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3312100" y="3209933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nsumers</a:t>
            </a:r>
          </a:p>
        </p:txBody>
      </p:sp>
      <p:sp>
        <p:nvSpPr>
          <p:cNvPr id="22" name="Oval 21"/>
          <p:cNvSpPr/>
          <p:nvPr/>
        </p:nvSpPr>
        <p:spPr bwMode="gray">
          <a:xfrm>
            <a:off x="5200122" y="3136431"/>
            <a:ext cx="1363310" cy="94911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48" tIns="46648" rIns="46648" bIns="46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Worker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526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068607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8" name="Rounded Rectangle 97"/>
          <p:cNvSpPr/>
          <p:nvPr/>
        </p:nvSpPr>
        <p:spPr bwMode="gray">
          <a:xfrm>
            <a:off x="224311" y="2907172"/>
            <a:ext cx="2627764" cy="3312178"/>
          </a:xfrm>
          <a:prstGeom prst="roundRect">
            <a:avLst>
              <a:gd name="adj" fmla="val 8274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8" name="Freeform 3"/>
          <p:cNvSpPr>
            <a:spLocks/>
          </p:cNvSpPr>
          <p:nvPr/>
        </p:nvSpPr>
        <p:spPr bwMode="gray">
          <a:xfrm>
            <a:off x="1117462" y="990403"/>
            <a:ext cx="5020369" cy="1542024"/>
          </a:xfrm>
          <a:custGeom>
            <a:avLst/>
            <a:gdLst>
              <a:gd name="T0" fmla="*/ 0 w 2554"/>
              <a:gd name="T1" fmla="*/ 0 h 890"/>
              <a:gd name="T2" fmla="*/ 2147483647 w 2554"/>
              <a:gd name="T3" fmla="*/ 0 h 890"/>
              <a:gd name="T4" fmla="*/ 2147483647 w 2554"/>
              <a:gd name="T5" fmla="*/ 2147483647 h 890"/>
              <a:gd name="T6" fmla="*/ 2147483647 w 2554"/>
              <a:gd name="T7" fmla="*/ 2147483647 h 890"/>
              <a:gd name="T8" fmla="*/ 0 w 2554"/>
              <a:gd name="T9" fmla="*/ 2147483647 h 890"/>
              <a:gd name="T10" fmla="*/ 0 w 2554"/>
              <a:gd name="T11" fmla="*/ 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554"/>
              <a:gd name="T19" fmla="*/ 0 h 890"/>
              <a:gd name="T20" fmla="*/ 2554 w 2554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554" h="890">
                <a:moveTo>
                  <a:pt x="0" y="0"/>
                </a:moveTo>
                <a:lnTo>
                  <a:pt x="2368" y="0"/>
                </a:lnTo>
                <a:lnTo>
                  <a:pt x="2554" y="457"/>
                </a:lnTo>
                <a:lnTo>
                  <a:pt x="2370" y="889"/>
                </a:lnTo>
                <a:lnTo>
                  <a:pt x="0" y="89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3296" tIns="46648" rIns="93296" bIns="46648">
            <a:noAutofit/>
          </a:bodyPr>
          <a:lstStyle/>
          <a:p>
            <a:endParaRPr lang="en-US" dirty="0"/>
          </a:p>
        </p:txBody>
      </p:sp>
      <p:grpSp>
        <p:nvGrpSpPr>
          <p:cNvPr id="3" name="Group 49"/>
          <p:cNvGrpSpPr>
            <a:grpSpLocks/>
          </p:cNvGrpSpPr>
          <p:nvPr/>
        </p:nvGrpSpPr>
        <p:grpSpPr bwMode="gray">
          <a:xfrm>
            <a:off x="3094956" y="986835"/>
            <a:ext cx="5611479" cy="5252515"/>
            <a:chOff x="-84370714" y="-50229900"/>
            <a:chExt cx="92615078" cy="92947206"/>
          </a:xfrm>
          <a:solidFill>
            <a:schemeClr val="bg2">
              <a:lumMod val="9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64" name="Freeform 5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-38375416" y="-50229900"/>
              <a:ext cx="46619780" cy="57270904"/>
            </a:xfrm>
            <a:custGeom>
              <a:avLst/>
              <a:gdLst>
                <a:gd name="T0" fmla="*/ 2147483647 w 1530"/>
                <a:gd name="T1" fmla="*/ 2147483647 h 1871"/>
                <a:gd name="T2" fmla="*/ 2147483647 w 1530"/>
                <a:gd name="T3" fmla="*/ 2147483647 h 1871"/>
                <a:gd name="T4" fmla="*/ 2147483647 w 1530"/>
                <a:gd name="T5" fmla="*/ 2147483647 h 1871"/>
                <a:gd name="T6" fmla="*/ 2147483647 w 1530"/>
                <a:gd name="T7" fmla="*/ 2147483647 h 1871"/>
                <a:gd name="T8" fmla="*/ 2147483647 w 1530"/>
                <a:gd name="T9" fmla="*/ 2147483647 h 1871"/>
                <a:gd name="T10" fmla="*/ 2147483647 w 1530"/>
                <a:gd name="T11" fmla="*/ 2147483647 h 1871"/>
                <a:gd name="T12" fmla="*/ 2147483647 w 1530"/>
                <a:gd name="T13" fmla="*/ 2147483647 h 1871"/>
                <a:gd name="T14" fmla="*/ 2147483647 w 1530"/>
                <a:gd name="T15" fmla="*/ 2147483647 h 1871"/>
                <a:gd name="T16" fmla="*/ 2147483647 w 1530"/>
                <a:gd name="T17" fmla="*/ 2147483647 h 1871"/>
                <a:gd name="T18" fmla="*/ 2147483647 w 1530"/>
                <a:gd name="T19" fmla="*/ 2147483647 h 1871"/>
                <a:gd name="T20" fmla="*/ 2147483647 w 1530"/>
                <a:gd name="T21" fmla="*/ 2147483647 h 1871"/>
                <a:gd name="T22" fmla="*/ 2147483647 w 1530"/>
                <a:gd name="T23" fmla="*/ 2147483647 h 1871"/>
                <a:gd name="T24" fmla="*/ 2147483647 w 1530"/>
                <a:gd name="T25" fmla="*/ 2147483647 h 1871"/>
                <a:gd name="T26" fmla="*/ 2147483647 w 1530"/>
                <a:gd name="T27" fmla="*/ 2147483647 h 1871"/>
                <a:gd name="T28" fmla="*/ 2147483647 w 1530"/>
                <a:gd name="T29" fmla="*/ 2147483647 h 1871"/>
                <a:gd name="T30" fmla="*/ 2147483647 w 1530"/>
                <a:gd name="T31" fmla="*/ 2147483647 h 1871"/>
                <a:gd name="T32" fmla="*/ 2147483647 w 1530"/>
                <a:gd name="T33" fmla="*/ 2147483647 h 1871"/>
                <a:gd name="T34" fmla="*/ 2147483647 w 1530"/>
                <a:gd name="T35" fmla="*/ 2147483647 h 1871"/>
                <a:gd name="T36" fmla="*/ 2147483647 w 1530"/>
                <a:gd name="T37" fmla="*/ 2147483647 h 1871"/>
                <a:gd name="T38" fmla="*/ 2147483647 w 1530"/>
                <a:gd name="T39" fmla="*/ 2147483647 h 1871"/>
                <a:gd name="T40" fmla="*/ 2147483647 w 1530"/>
                <a:gd name="T41" fmla="*/ 2147483647 h 1871"/>
                <a:gd name="T42" fmla="*/ 2147483647 w 1530"/>
                <a:gd name="T43" fmla="*/ 2147483647 h 1871"/>
                <a:gd name="T44" fmla="*/ 2147483647 w 1530"/>
                <a:gd name="T45" fmla="*/ 2147483647 h 1871"/>
                <a:gd name="T46" fmla="*/ 2147483647 w 1530"/>
                <a:gd name="T47" fmla="*/ 2147483647 h 1871"/>
                <a:gd name="T48" fmla="*/ 2147483647 w 1530"/>
                <a:gd name="T49" fmla="*/ 2147483647 h 1871"/>
                <a:gd name="T50" fmla="*/ 2147483647 w 1530"/>
                <a:gd name="T51" fmla="*/ 2147483647 h 1871"/>
                <a:gd name="T52" fmla="*/ 2147483647 w 1530"/>
                <a:gd name="T53" fmla="*/ 2147483647 h 1871"/>
                <a:gd name="T54" fmla="*/ 2147483647 w 1530"/>
                <a:gd name="T55" fmla="*/ 2147483647 h 1871"/>
                <a:gd name="T56" fmla="*/ 2147483647 w 1530"/>
                <a:gd name="T57" fmla="*/ 2147483647 h 1871"/>
                <a:gd name="T58" fmla="*/ 2147483647 w 1530"/>
                <a:gd name="T59" fmla="*/ 2147483647 h 1871"/>
                <a:gd name="T60" fmla="*/ 2147483647 w 1530"/>
                <a:gd name="T61" fmla="*/ 2147483647 h 1871"/>
                <a:gd name="T62" fmla="*/ 2147483647 w 1530"/>
                <a:gd name="T63" fmla="*/ 2147483647 h 1871"/>
                <a:gd name="T64" fmla="*/ 2147483647 w 1530"/>
                <a:gd name="T65" fmla="*/ 2147483647 h 1871"/>
                <a:gd name="T66" fmla="*/ 2147483647 w 1530"/>
                <a:gd name="T67" fmla="*/ 2147483647 h 1871"/>
                <a:gd name="T68" fmla="*/ 2147483647 w 1530"/>
                <a:gd name="T69" fmla="*/ 2147483647 h 1871"/>
                <a:gd name="T70" fmla="*/ 2147483647 w 1530"/>
                <a:gd name="T71" fmla="*/ 2147483647 h 1871"/>
                <a:gd name="T72" fmla="*/ 2147483647 w 1530"/>
                <a:gd name="T73" fmla="*/ 2147483647 h 1871"/>
                <a:gd name="T74" fmla="*/ 2147483647 w 1530"/>
                <a:gd name="T75" fmla="*/ 2147483647 h 1871"/>
                <a:gd name="T76" fmla="*/ 2147483647 w 1530"/>
                <a:gd name="T77" fmla="*/ 2147483647 h 1871"/>
                <a:gd name="T78" fmla="*/ 2147483647 w 1530"/>
                <a:gd name="T79" fmla="*/ 2147483647 h 1871"/>
                <a:gd name="T80" fmla="*/ 2147483647 w 1530"/>
                <a:gd name="T81" fmla="*/ 2147483647 h 1871"/>
                <a:gd name="T82" fmla="*/ 2147483647 w 1530"/>
                <a:gd name="T83" fmla="*/ 2147483647 h 1871"/>
                <a:gd name="T84" fmla="*/ 2147483647 w 1530"/>
                <a:gd name="T85" fmla="*/ 2147483647 h 1871"/>
                <a:gd name="T86" fmla="*/ 2147483647 w 1530"/>
                <a:gd name="T87" fmla="*/ 2147483647 h 1871"/>
                <a:gd name="T88" fmla="*/ 2147483647 w 1530"/>
                <a:gd name="T89" fmla="*/ 2147483647 h 1871"/>
                <a:gd name="T90" fmla="*/ 2147483647 w 1530"/>
                <a:gd name="T91" fmla="*/ 2147483647 h 1871"/>
                <a:gd name="T92" fmla="*/ 2147483647 w 1530"/>
                <a:gd name="T93" fmla="*/ 2147483647 h 1871"/>
                <a:gd name="T94" fmla="*/ 2147483647 w 1530"/>
                <a:gd name="T95" fmla="*/ 2147483647 h 1871"/>
                <a:gd name="T96" fmla="*/ 2147483647 w 1530"/>
                <a:gd name="T97" fmla="*/ 0 h 1871"/>
                <a:gd name="T98" fmla="*/ 2147483647 w 1530"/>
                <a:gd name="T99" fmla="*/ 2147483647 h 187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530"/>
                <a:gd name="T151" fmla="*/ 0 h 1871"/>
                <a:gd name="T152" fmla="*/ 1530 w 1530"/>
                <a:gd name="T153" fmla="*/ 1871 h 1871"/>
                <a:gd name="connsiteX0" fmla="*/ 26 w 10000"/>
                <a:gd name="connsiteY0" fmla="*/ 4768 h 10000"/>
                <a:gd name="connsiteX1" fmla="*/ 59 w 10000"/>
                <a:gd name="connsiteY1" fmla="*/ 4762 h 10000"/>
                <a:gd name="connsiteX2" fmla="*/ 163 w 10000"/>
                <a:gd name="connsiteY2" fmla="*/ 4762 h 10000"/>
                <a:gd name="connsiteX3" fmla="*/ 268 w 10000"/>
                <a:gd name="connsiteY3" fmla="*/ 4768 h 10000"/>
                <a:gd name="connsiteX4" fmla="*/ 373 w 10000"/>
                <a:gd name="connsiteY4" fmla="*/ 4773 h 10000"/>
                <a:gd name="connsiteX5" fmla="*/ 477 w 10000"/>
                <a:gd name="connsiteY5" fmla="*/ 4778 h 10000"/>
                <a:gd name="connsiteX6" fmla="*/ 582 w 10000"/>
                <a:gd name="connsiteY6" fmla="*/ 4794 h 10000"/>
                <a:gd name="connsiteX7" fmla="*/ 686 w 10000"/>
                <a:gd name="connsiteY7" fmla="*/ 4805 h 10000"/>
                <a:gd name="connsiteX8" fmla="*/ 784 w 10000"/>
                <a:gd name="connsiteY8" fmla="*/ 4816 h 10000"/>
                <a:gd name="connsiteX9" fmla="*/ 882 w 10000"/>
                <a:gd name="connsiteY9" fmla="*/ 4832 h 10000"/>
                <a:gd name="connsiteX10" fmla="*/ 987 w 10000"/>
                <a:gd name="connsiteY10" fmla="*/ 4848 h 10000"/>
                <a:gd name="connsiteX11" fmla="*/ 1085 w 10000"/>
                <a:gd name="connsiteY11" fmla="*/ 4869 h 10000"/>
                <a:gd name="connsiteX12" fmla="*/ 1183 w 10000"/>
                <a:gd name="connsiteY12" fmla="*/ 4890 h 10000"/>
                <a:gd name="connsiteX13" fmla="*/ 1281 w 10000"/>
                <a:gd name="connsiteY13" fmla="*/ 4912 h 10000"/>
                <a:gd name="connsiteX14" fmla="*/ 1373 w 10000"/>
                <a:gd name="connsiteY14" fmla="*/ 4939 h 10000"/>
                <a:gd name="connsiteX15" fmla="*/ 1471 w 10000"/>
                <a:gd name="connsiteY15" fmla="*/ 4965 h 10000"/>
                <a:gd name="connsiteX16" fmla="*/ 1562 w 10000"/>
                <a:gd name="connsiteY16" fmla="*/ 4997 h 10000"/>
                <a:gd name="connsiteX17" fmla="*/ 1654 w 10000"/>
                <a:gd name="connsiteY17" fmla="*/ 5029 h 10000"/>
                <a:gd name="connsiteX18" fmla="*/ 1745 w 10000"/>
                <a:gd name="connsiteY18" fmla="*/ 5061 h 10000"/>
                <a:gd name="connsiteX19" fmla="*/ 1837 w 10000"/>
                <a:gd name="connsiteY19" fmla="*/ 5094 h 10000"/>
                <a:gd name="connsiteX20" fmla="*/ 1928 w 10000"/>
                <a:gd name="connsiteY20" fmla="*/ 5131 h 10000"/>
                <a:gd name="connsiteX21" fmla="*/ 2020 w 10000"/>
                <a:gd name="connsiteY21" fmla="*/ 5168 h 10000"/>
                <a:gd name="connsiteX22" fmla="*/ 2105 w 10000"/>
                <a:gd name="connsiteY22" fmla="*/ 5211 h 10000"/>
                <a:gd name="connsiteX23" fmla="*/ 2190 w 10000"/>
                <a:gd name="connsiteY23" fmla="*/ 5249 h 10000"/>
                <a:gd name="connsiteX24" fmla="*/ 2275 w 10000"/>
                <a:gd name="connsiteY24" fmla="*/ 5291 h 10000"/>
                <a:gd name="connsiteX25" fmla="*/ 2353 w 10000"/>
                <a:gd name="connsiteY25" fmla="*/ 5334 h 10000"/>
                <a:gd name="connsiteX26" fmla="*/ 2438 w 10000"/>
                <a:gd name="connsiteY26" fmla="*/ 5382 h 10000"/>
                <a:gd name="connsiteX27" fmla="*/ 2516 w 10000"/>
                <a:gd name="connsiteY27" fmla="*/ 5430 h 10000"/>
                <a:gd name="connsiteX28" fmla="*/ 2595 w 10000"/>
                <a:gd name="connsiteY28" fmla="*/ 5478 h 10000"/>
                <a:gd name="connsiteX29" fmla="*/ 2673 w 10000"/>
                <a:gd name="connsiteY29" fmla="*/ 5526 h 10000"/>
                <a:gd name="connsiteX30" fmla="*/ 2752 w 10000"/>
                <a:gd name="connsiteY30" fmla="*/ 5580 h 10000"/>
                <a:gd name="connsiteX31" fmla="*/ 2824 w 10000"/>
                <a:gd name="connsiteY31" fmla="*/ 5633 h 10000"/>
                <a:gd name="connsiteX32" fmla="*/ 2895 w 10000"/>
                <a:gd name="connsiteY32" fmla="*/ 5687 h 10000"/>
                <a:gd name="connsiteX33" fmla="*/ 2967 w 10000"/>
                <a:gd name="connsiteY33" fmla="*/ 5746 h 10000"/>
                <a:gd name="connsiteX34" fmla="*/ 3033 w 10000"/>
                <a:gd name="connsiteY34" fmla="*/ 5804 h 10000"/>
                <a:gd name="connsiteX35" fmla="*/ 3105 w 10000"/>
                <a:gd name="connsiteY35" fmla="*/ 5863 h 10000"/>
                <a:gd name="connsiteX36" fmla="*/ 3170 w 10000"/>
                <a:gd name="connsiteY36" fmla="*/ 5922 h 10000"/>
                <a:gd name="connsiteX37" fmla="*/ 3229 w 10000"/>
                <a:gd name="connsiteY37" fmla="*/ 5986 h 10000"/>
                <a:gd name="connsiteX38" fmla="*/ 3294 w 10000"/>
                <a:gd name="connsiteY38" fmla="*/ 6045 h 10000"/>
                <a:gd name="connsiteX39" fmla="*/ 3353 w 10000"/>
                <a:gd name="connsiteY39" fmla="*/ 6109 h 10000"/>
                <a:gd name="connsiteX40" fmla="*/ 3412 w 10000"/>
                <a:gd name="connsiteY40" fmla="*/ 6173 h 10000"/>
                <a:gd name="connsiteX41" fmla="*/ 3471 w 10000"/>
                <a:gd name="connsiteY41" fmla="*/ 6237 h 10000"/>
                <a:gd name="connsiteX42" fmla="*/ 3523 w 10000"/>
                <a:gd name="connsiteY42" fmla="*/ 6307 h 10000"/>
                <a:gd name="connsiteX43" fmla="*/ 3575 w 10000"/>
                <a:gd name="connsiteY43" fmla="*/ 6376 h 10000"/>
                <a:gd name="connsiteX44" fmla="*/ 3627 w 10000"/>
                <a:gd name="connsiteY44" fmla="*/ 6446 h 10000"/>
                <a:gd name="connsiteX45" fmla="*/ 3680 w 10000"/>
                <a:gd name="connsiteY45" fmla="*/ 6515 h 10000"/>
                <a:gd name="connsiteX46" fmla="*/ 3719 w 10000"/>
                <a:gd name="connsiteY46" fmla="*/ 6590 h 10000"/>
                <a:gd name="connsiteX47" fmla="*/ 3771 w 10000"/>
                <a:gd name="connsiteY47" fmla="*/ 6665 h 10000"/>
                <a:gd name="connsiteX48" fmla="*/ 3810 w 10000"/>
                <a:gd name="connsiteY48" fmla="*/ 6734 h 10000"/>
                <a:gd name="connsiteX49" fmla="*/ 3850 w 10000"/>
                <a:gd name="connsiteY49" fmla="*/ 6809 h 10000"/>
                <a:gd name="connsiteX50" fmla="*/ 3889 w 10000"/>
                <a:gd name="connsiteY50" fmla="*/ 6884 h 10000"/>
                <a:gd name="connsiteX51" fmla="*/ 3922 w 10000"/>
                <a:gd name="connsiteY51" fmla="*/ 6959 h 10000"/>
                <a:gd name="connsiteX52" fmla="*/ 3954 w 10000"/>
                <a:gd name="connsiteY52" fmla="*/ 7039 h 10000"/>
                <a:gd name="connsiteX53" fmla="*/ 3987 w 10000"/>
                <a:gd name="connsiteY53" fmla="*/ 7119 h 10000"/>
                <a:gd name="connsiteX54" fmla="*/ 4020 w 10000"/>
                <a:gd name="connsiteY54" fmla="*/ 7194 h 10000"/>
                <a:gd name="connsiteX55" fmla="*/ 4046 w 10000"/>
                <a:gd name="connsiteY55" fmla="*/ 7274 h 10000"/>
                <a:gd name="connsiteX56" fmla="*/ 4065 w 10000"/>
                <a:gd name="connsiteY56" fmla="*/ 7354 h 10000"/>
                <a:gd name="connsiteX57" fmla="*/ 4092 w 10000"/>
                <a:gd name="connsiteY57" fmla="*/ 7440 h 10000"/>
                <a:gd name="connsiteX58" fmla="*/ 4111 w 10000"/>
                <a:gd name="connsiteY58" fmla="*/ 7520 h 10000"/>
                <a:gd name="connsiteX59" fmla="*/ 4131 w 10000"/>
                <a:gd name="connsiteY59" fmla="*/ 7600 h 10000"/>
                <a:gd name="connsiteX60" fmla="*/ 4144 w 10000"/>
                <a:gd name="connsiteY60" fmla="*/ 7686 h 10000"/>
                <a:gd name="connsiteX61" fmla="*/ 4157 w 10000"/>
                <a:gd name="connsiteY61" fmla="*/ 7771 h 10000"/>
                <a:gd name="connsiteX62" fmla="*/ 4163 w 10000"/>
                <a:gd name="connsiteY62" fmla="*/ 7857 h 10000"/>
                <a:gd name="connsiteX63" fmla="*/ 4170 w 10000"/>
                <a:gd name="connsiteY63" fmla="*/ 7942 h 10000"/>
                <a:gd name="connsiteX64" fmla="*/ 4170 w 10000"/>
                <a:gd name="connsiteY64" fmla="*/ 8028 h 10000"/>
                <a:gd name="connsiteX65" fmla="*/ 4176 w 10000"/>
                <a:gd name="connsiteY65" fmla="*/ 8113 h 10000"/>
                <a:gd name="connsiteX66" fmla="*/ 4170 w 10000"/>
                <a:gd name="connsiteY66" fmla="*/ 8226 h 10000"/>
                <a:gd name="connsiteX67" fmla="*/ 4163 w 10000"/>
                <a:gd name="connsiteY67" fmla="*/ 8343 h 10000"/>
                <a:gd name="connsiteX68" fmla="*/ 4157 w 10000"/>
                <a:gd name="connsiteY68" fmla="*/ 8450 h 10000"/>
                <a:gd name="connsiteX69" fmla="*/ 4137 w 10000"/>
                <a:gd name="connsiteY69" fmla="*/ 8562 h 10000"/>
                <a:gd name="connsiteX70" fmla="*/ 6739 w 10000"/>
                <a:gd name="connsiteY70" fmla="*/ 10000 h 10000"/>
                <a:gd name="connsiteX71" fmla="*/ 9850 w 10000"/>
                <a:gd name="connsiteY71" fmla="*/ 9498 h 10000"/>
                <a:gd name="connsiteX72" fmla="*/ 9889 w 10000"/>
                <a:gd name="connsiteY72" fmla="*/ 9332 h 10000"/>
                <a:gd name="connsiteX73" fmla="*/ 9915 w 10000"/>
                <a:gd name="connsiteY73" fmla="*/ 9161 h 10000"/>
                <a:gd name="connsiteX74" fmla="*/ 9941 w 10000"/>
                <a:gd name="connsiteY74" fmla="*/ 8990 h 10000"/>
                <a:gd name="connsiteX75" fmla="*/ 9961 w 10000"/>
                <a:gd name="connsiteY75" fmla="*/ 8813 h 10000"/>
                <a:gd name="connsiteX76" fmla="*/ 9974 w 10000"/>
                <a:gd name="connsiteY76" fmla="*/ 8637 h 10000"/>
                <a:gd name="connsiteX77" fmla="*/ 9987 w 10000"/>
                <a:gd name="connsiteY77" fmla="*/ 8466 h 10000"/>
                <a:gd name="connsiteX78" fmla="*/ 9993 w 10000"/>
                <a:gd name="connsiteY78" fmla="*/ 8290 h 10000"/>
                <a:gd name="connsiteX79" fmla="*/ 10000 w 10000"/>
                <a:gd name="connsiteY79" fmla="*/ 8113 h 10000"/>
                <a:gd name="connsiteX80" fmla="*/ 9993 w 10000"/>
                <a:gd name="connsiteY80" fmla="*/ 7900 h 10000"/>
                <a:gd name="connsiteX81" fmla="*/ 9987 w 10000"/>
                <a:gd name="connsiteY81" fmla="*/ 7696 h 10000"/>
                <a:gd name="connsiteX82" fmla="*/ 9967 w 10000"/>
                <a:gd name="connsiteY82" fmla="*/ 7488 h 10000"/>
                <a:gd name="connsiteX83" fmla="*/ 9948 w 10000"/>
                <a:gd name="connsiteY83" fmla="*/ 7285 h 10000"/>
                <a:gd name="connsiteX84" fmla="*/ 9915 w 10000"/>
                <a:gd name="connsiteY84" fmla="*/ 7076 h 10000"/>
                <a:gd name="connsiteX85" fmla="*/ 9882 w 10000"/>
                <a:gd name="connsiteY85" fmla="*/ 6879 h 10000"/>
                <a:gd name="connsiteX86" fmla="*/ 9843 w 10000"/>
                <a:gd name="connsiteY86" fmla="*/ 6676 h 10000"/>
                <a:gd name="connsiteX87" fmla="*/ 9797 w 10000"/>
                <a:gd name="connsiteY87" fmla="*/ 6478 h 10000"/>
                <a:gd name="connsiteX88" fmla="*/ 9745 w 10000"/>
                <a:gd name="connsiteY88" fmla="*/ 6280 h 10000"/>
                <a:gd name="connsiteX89" fmla="*/ 9686 w 10000"/>
                <a:gd name="connsiteY89" fmla="*/ 6088 h 10000"/>
                <a:gd name="connsiteX90" fmla="*/ 9621 w 10000"/>
                <a:gd name="connsiteY90" fmla="*/ 5890 h 10000"/>
                <a:gd name="connsiteX91" fmla="*/ 9556 w 10000"/>
                <a:gd name="connsiteY91" fmla="*/ 5697 h 10000"/>
                <a:gd name="connsiteX92" fmla="*/ 9477 w 10000"/>
                <a:gd name="connsiteY92" fmla="*/ 5510 h 10000"/>
                <a:gd name="connsiteX93" fmla="*/ 9399 w 10000"/>
                <a:gd name="connsiteY93" fmla="*/ 5323 h 10000"/>
                <a:gd name="connsiteX94" fmla="*/ 9307 w 10000"/>
                <a:gd name="connsiteY94" fmla="*/ 5136 h 10000"/>
                <a:gd name="connsiteX95" fmla="*/ 9216 w 10000"/>
                <a:gd name="connsiteY95" fmla="*/ 4955 h 10000"/>
                <a:gd name="connsiteX96" fmla="*/ 9124 w 10000"/>
                <a:gd name="connsiteY96" fmla="*/ 4773 h 10000"/>
                <a:gd name="connsiteX97" fmla="*/ 9020 w 10000"/>
                <a:gd name="connsiteY97" fmla="*/ 4596 h 10000"/>
                <a:gd name="connsiteX98" fmla="*/ 8915 w 10000"/>
                <a:gd name="connsiteY98" fmla="*/ 4420 h 10000"/>
                <a:gd name="connsiteX99" fmla="*/ 8804 w 10000"/>
                <a:gd name="connsiteY99" fmla="*/ 4244 h 10000"/>
                <a:gd name="connsiteX100" fmla="*/ 8686 w 10000"/>
                <a:gd name="connsiteY100" fmla="*/ 4073 h 10000"/>
                <a:gd name="connsiteX101" fmla="*/ 8562 w 10000"/>
                <a:gd name="connsiteY101" fmla="*/ 3907 h 10000"/>
                <a:gd name="connsiteX102" fmla="*/ 8438 w 10000"/>
                <a:gd name="connsiteY102" fmla="*/ 3741 h 10000"/>
                <a:gd name="connsiteX103" fmla="*/ 8307 w 10000"/>
                <a:gd name="connsiteY103" fmla="*/ 3576 h 10000"/>
                <a:gd name="connsiteX104" fmla="*/ 8170 w 10000"/>
                <a:gd name="connsiteY104" fmla="*/ 3415 h 10000"/>
                <a:gd name="connsiteX105" fmla="*/ 8026 w 10000"/>
                <a:gd name="connsiteY105" fmla="*/ 3260 h 10000"/>
                <a:gd name="connsiteX106" fmla="*/ 7882 w 10000"/>
                <a:gd name="connsiteY106" fmla="*/ 3105 h 10000"/>
                <a:gd name="connsiteX107" fmla="*/ 7732 w 10000"/>
                <a:gd name="connsiteY107" fmla="*/ 2950 h 10000"/>
                <a:gd name="connsiteX108" fmla="*/ 7582 w 10000"/>
                <a:gd name="connsiteY108" fmla="*/ 2806 h 10000"/>
                <a:gd name="connsiteX109" fmla="*/ 7418 w 10000"/>
                <a:gd name="connsiteY109" fmla="*/ 2662 h 10000"/>
                <a:gd name="connsiteX110" fmla="*/ 7261 w 10000"/>
                <a:gd name="connsiteY110" fmla="*/ 2517 h 10000"/>
                <a:gd name="connsiteX111" fmla="*/ 7092 w 10000"/>
                <a:gd name="connsiteY111" fmla="*/ 2373 h 10000"/>
                <a:gd name="connsiteX112" fmla="*/ 6922 w 10000"/>
                <a:gd name="connsiteY112" fmla="*/ 2239 h 10000"/>
                <a:gd name="connsiteX113" fmla="*/ 6752 w 10000"/>
                <a:gd name="connsiteY113" fmla="*/ 2106 h 10000"/>
                <a:gd name="connsiteX114" fmla="*/ 6569 w 10000"/>
                <a:gd name="connsiteY114" fmla="*/ 1978 h 10000"/>
                <a:gd name="connsiteX115" fmla="*/ 6386 w 10000"/>
                <a:gd name="connsiteY115" fmla="*/ 1855 h 10000"/>
                <a:gd name="connsiteX116" fmla="*/ 6203 w 10000"/>
                <a:gd name="connsiteY116" fmla="*/ 1732 h 10000"/>
                <a:gd name="connsiteX117" fmla="*/ 6013 w 10000"/>
                <a:gd name="connsiteY117" fmla="*/ 1614 h 10000"/>
                <a:gd name="connsiteX118" fmla="*/ 5817 w 10000"/>
                <a:gd name="connsiteY118" fmla="*/ 1497 h 10000"/>
                <a:gd name="connsiteX119" fmla="*/ 5621 w 10000"/>
                <a:gd name="connsiteY119" fmla="*/ 1384 h 10000"/>
                <a:gd name="connsiteX120" fmla="*/ 5425 w 10000"/>
                <a:gd name="connsiteY120" fmla="*/ 1277 h 10000"/>
                <a:gd name="connsiteX121" fmla="*/ 5222 w 10000"/>
                <a:gd name="connsiteY121" fmla="*/ 1176 h 10000"/>
                <a:gd name="connsiteX122" fmla="*/ 5020 w 10000"/>
                <a:gd name="connsiteY122" fmla="*/ 1074 h 10000"/>
                <a:gd name="connsiteX123" fmla="*/ 4804 w 10000"/>
                <a:gd name="connsiteY123" fmla="*/ 978 h 10000"/>
                <a:gd name="connsiteX124" fmla="*/ 4595 w 10000"/>
                <a:gd name="connsiteY124" fmla="*/ 887 h 10000"/>
                <a:gd name="connsiteX125" fmla="*/ 4379 w 10000"/>
                <a:gd name="connsiteY125" fmla="*/ 802 h 10000"/>
                <a:gd name="connsiteX126" fmla="*/ 4157 w 10000"/>
                <a:gd name="connsiteY126" fmla="*/ 716 h 10000"/>
                <a:gd name="connsiteX127" fmla="*/ 3941 w 10000"/>
                <a:gd name="connsiteY127" fmla="*/ 636 h 10000"/>
                <a:gd name="connsiteX128" fmla="*/ 3719 w 10000"/>
                <a:gd name="connsiteY128" fmla="*/ 567 h 10000"/>
                <a:gd name="connsiteX129" fmla="*/ 3490 w 10000"/>
                <a:gd name="connsiteY129" fmla="*/ 492 h 10000"/>
                <a:gd name="connsiteX130" fmla="*/ 3261 w 10000"/>
                <a:gd name="connsiteY130" fmla="*/ 428 h 10000"/>
                <a:gd name="connsiteX131" fmla="*/ 3026 w 10000"/>
                <a:gd name="connsiteY131" fmla="*/ 363 h 10000"/>
                <a:gd name="connsiteX132" fmla="*/ 2797 w 10000"/>
                <a:gd name="connsiteY132" fmla="*/ 310 h 10000"/>
                <a:gd name="connsiteX133" fmla="*/ 2556 w 10000"/>
                <a:gd name="connsiteY133" fmla="*/ 257 h 10000"/>
                <a:gd name="connsiteX134" fmla="*/ 2314 w 10000"/>
                <a:gd name="connsiteY134" fmla="*/ 208 h 10000"/>
                <a:gd name="connsiteX135" fmla="*/ 2078 w 10000"/>
                <a:gd name="connsiteY135" fmla="*/ 166 h 10000"/>
                <a:gd name="connsiteX136" fmla="*/ 1837 w 10000"/>
                <a:gd name="connsiteY136" fmla="*/ 128 h 10000"/>
                <a:gd name="connsiteX137" fmla="*/ 1588 w 10000"/>
                <a:gd name="connsiteY137" fmla="*/ 91 h 10000"/>
                <a:gd name="connsiteX138" fmla="*/ 1340 w 10000"/>
                <a:gd name="connsiteY138" fmla="*/ 64 h 10000"/>
                <a:gd name="connsiteX139" fmla="*/ 1092 w 10000"/>
                <a:gd name="connsiteY139" fmla="*/ 43 h 10000"/>
                <a:gd name="connsiteX140" fmla="*/ 843 w 10000"/>
                <a:gd name="connsiteY140" fmla="*/ 27 h 10000"/>
                <a:gd name="connsiteX141" fmla="*/ 588 w 10000"/>
                <a:gd name="connsiteY141" fmla="*/ 11 h 10000"/>
                <a:gd name="connsiteX142" fmla="*/ 333 w 10000"/>
                <a:gd name="connsiteY142" fmla="*/ 5 h 10000"/>
                <a:gd name="connsiteX143" fmla="*/ 78 w 10000"/>
                <a:gd name="connsiteY143" fmla="*/ 0 h 10000"/>
                <a:gd name="connsiteX144" fmla="*/ 0 w 10000"/>
                <a:gd name="connsiteY144" fmla="*/ 5 h 10000"/>
                <a:gd name="connsiteX145" fmla="*/ 1245 w 10000"/>
                <a:gd name="connsiteY145" fmla="*/ 2475 h 10000"/>
                <a:gd name="connsiteX146" fmla="*/ 26 w 10000"/>
                <a:gd name="connsiteY146" fmla="*/ 4768 h 10000"/>
                <a:gd name="connsiteX0" fmla="*/ 26 w 10000"/>
                <a:gd name="connsiteY0" fmla="*/ 4768 h 10000"/>
                <a:gd name="connsiteX1" fmla="*/ 59 w 10000"/>
                <a:gd name="connsiteY1" fmla="*/ 4762 h 10000"/>
                <a:gd name="connsiteX2" fmla="*/ 163 w 10000"/>
                <a:gd name="connsiteY2" fmla="*/ 4762 h 10000"/>
                <a:gd name="connsiteX3" fmla="*/ 268 w 10000"/>
                <a:gd name="connsiteY3" fmla="*/ 4768 h 10000"/>
                <a:gd name="connsiteX4" fmla="*/ 373 w 10000"/>
                <a:gd name="connsiteY4" fmla="*/ 4773 h 10000"/>
                <a:gd name="connsiteX5" fmla="*/ 477 w 10000"/>
                <a:gd name="connsiteY5" fmla="*/ 4778 h 10000"/>
                <a:gd name="connsiteX6" fmla="*/ 582 w 10000"/>
                <a:gd name="connsiteY6" fmla="*/ 4794 h 10000"/>
                <a:gd name="connsiteX7" fmla="*/ 686 w 10000"/>
                <a:gd name="connsiteY7" fmla="*/ 4805 h 10000"/>
                <a:gd name="connsiteX8" fmla="*/ 784 w 10000"/>
                <a:gd name="connsiteY8" fmla="*/ 4816 h 10000"/>
                <a:gd name="connsiteX9" fmla="*/ 882 w 10000"/>
                <a:gd name="connsiteY9" fmla="*/ 4832 h 10000"/>
                <a:gd name="connsiteX10" fmla="*/ 987 w 10000"/>
                <a:gd name="connsiteY10" fmla="*/ 4848 h 10000"/>
                <a:gd name="connsiteX11" fmla="*/ 1085 w 10000"/>
                <a:gd name="connsiteY11" fmla="*/ 4869 h 10000"/>
                <a:gd name="connsiteX12" fmla="*/ 1183 w 10000"/>
                <a:gd name="connsiteY12" fmla="*/ 4890 h 10000"/>
                <a:gd name="connsiteX13" fmla="*/ 1281 w 10000"/>
                <a:gd name="connsiteY13" fmla="*/ 4912 h 10000"/>
                <a:gd name="connsiteX14" fmla="*/ 1373 w 10000"/>
                <a:gd name="connsiteY14" fmla="*/ 4939 h 10000"/>
                <a:gd name="connsiteX15" fmla="*/ 1471 w 10000"/>
                <a:gd name="connsiteY15" fmla="*/ 4965 h 10000"/>
                <a:gd name="connsiteX16" fmla="*/ 1562 w 10000"/>
                <a:gd name="connsiteY16" fmla="*/ 4997 h 10000"/>
                <a:gd name="connsiteX17" fmla="*/ 1654 w 10000"/>
                <a:gd name="connsiteY17" fmla="*/ 5029 h 10000"/>
                <a:gd name="connsiteX18" fmla="*/ 1745 w 10000"/>
                <a:gd name="connsiteY18" fmla="*/ 5061 h 10000"/>
                <a:gd name="connsiteX19" fmla="*/ 1837 w 10000"/>
                <a:gd name="connsiteY19" fmla="*/ 5094 h 10000"/>
                <a:gd name="connsiteX20" fmla="*/ 1928 w 10000"/>
                <a:gd name="connsiteY20" fmla="*/ 5131 h 10000"/>
                <a:gd name="connsiteX21" fmla="*/ 2020 w 10000"/>
                <a:gd name="connsiteY21" fmla="*/ 5168 h 10000"/>
                <a:gd name="connsiteX22" fmla="*/ 2105 w 10000"/>
                <a:gd name="connsiteY22" fmla="*/ 5211 h 10000"/>
                <a:gd name="connsiteX23" fmla="*/ 2190 w 10000"/>
                <a:gd name="connsiteY23" fmla="*/ 5249 h 10000"/>
                <a:gd name="connsiteX24" fmla="*/ 2275 w 10000"/>
                <a:gd name="connsiteY24" fmla="*/ 5291 h 10000"/>
                <a:gd name="connsiteX25" fmla="*/ 2353 w 10000"/>
                <a:gd name="connsiteY25" fmla="*/ 5334 h 10000"/>
                <a:gd name="connsiteX26" fmla="*/ 2438 w 10000"/>
                <a:gd name="connsiteY26" fmla="*/ 5382 h 10000"/>
                <a:gd name="connsiteX27" fmla="*/ 2516 w 10000"/>
                <a:gd name="connsiteY27" fmla="*/ 5430 h 10000"/>
                <a:gd name="connsiteX28" fmla="*/ 2595 w 10000"/>
                <a:gd name="connsiteY28" fmla="*/ 5478 h 10000"/>
                <a:gd name="connsiteX29" fmla="*/ 2673 w 10000"/>
                <a:gd name="connsiteY29" fmla="*/ 5526 h 10000"/>
                <a:gd name="connsiteX30" fmla="*/ 2752 w 10000"/>
                <a:gd name="connsiteY30" fmla="*/ 5580 h 10000"/>
                <a:gd name="connsiteX31" fmla="*/ 2824 w 10000"/>
                <a:gd name="connsiteY31" fmla="*/ 5633 h 10000"/>
                <a:gd name="connsiteX32" fmla="*/ 2895 w 10000"/>
                <a:gd name="connsiteY32" fmla="*/ 5687 h 10000"/>
                <a:gd name="connsiteX33" fmla="*/ 2967 w 10000"/>
                <a:gd name="connsiteY33" fmla="*/ 5746 h 10000"/>
                <a:gd name="connsiteX34" fmla="*/ 3033 w 10000"/>
                <a:gd name="connsiteY34" fmla="*/ 5804 h 10000"/>
                <a:gd name="connsiteX35" fmla="*/ 3105 w 10000"/>
                <a:gd name="connsiteY35" fmla="*/ 5863 h 10000"/>
                <a:gd name="connsiteX36" fmla="*/ 3170 w 10000"/>
                <a:gd name="connsiteY36" fmla="*/ 5922 h 10000"/>
                <a:gd name="connsiteX37" fmla="*/ 3229 w 10000"/>
                <a:gd name="connsiteY37" fmla="*/ 5986 h 10000"/>
                <a:gd name="connsiteX38" fmla="*/ 3294 w 10000"/>
                <a:gd name="connsiteY38" fmla="*/ 6045 h 10000"/>
                <a:gd name="connsiteX39" fmla="*/ 3353 w 10000"/>
                <a:gd name="connsiteY39" fmla="*/ 6109 h 10000"/>
                <a:gd name="connsiteX40" fmla="*/ 3412 w 10000"/>
                <a:gd name="connsiteY40" fmla="*/ 6173 h 10000"/>
                <a:gd name="connsiteX41" fmla="*/ 3471 w 10000"/>
                <a:gd name="connsiteY41" fmla="*/ 6237 h 10000"/>
                <a:gd name="connsiteX42" fmla="*/ 3523 w 10000"/>
                <a:gd name="connsiteY42" fmla="*/ 6307 h 10000"/>
                <a:gd name="connsiteX43" fmla="*/ 3575 w 10000"/>
                <a:gd name="connsiteY43" fmla="*/ 6376 h 10000"/>
                <a:gd name="connsiteX44" fmla="*/ 3627 w 10000"/>
                <a:gd name="connsiteY44" fmla="*/ 6446 h 10000"/>
                <a:gd name="connsiteX45" fmla="*/ 3680 w 10000"/>
                <a:gd name="connsiteY45" fmla="*/ 6515 h 10000"/>
                <a:gd name="connsiteX46" fmla="*/ 3719 w 10000"/>
                <a:gd name="connsiteY46" fmla="*/ 6590 h 10000"/>
                <a:gd name="connsiteX47" fmla="*/ 3771 w 10000"/>
                <a:gd name="connsiteY47" fmla="*/ 6665 h 10000"/>
                <a:gd name="connsiteX48" fmla="*/ 3810 w 10000"/>
                <a:gd name="connsiteY48" fmla="*/ 6734 h 10000"/>
                <a:gd name="connsiteX49" fmla="*/ 3850 w 10000"/>
                <a:gd name="connsiteY49" fmla="*/ 6809 h 10000"/>
                <a:gd name="connsiteX50" fmla="*/ 3889 w 10000"/>
                <a:gd name="connsiteY50" fmla="*/ 6884 h 10000"/>
                <a:gd name="connsiteX51" fmla="*/ 3922 w 10000"/>
                <a:gd name="connsiteY51" fmla="*/ 6959 h 10000"/>
                <a:gd name="connsiteX52" fmla="*/ 3954 w 10000"/>
                <a:gd name="connsiteY52" fmla="*/ 7039 h 10000"/>
                <a:gd name="connsiteX53" fmla="*/ 3987 w 10000"/>
                <a:gd name="connsiteY53" fmla="*/ 7119 h 10000"/>
                <a:gd name="connsiteX54" fmla="*/ 4020 w 10000"/>
                <a:gd name="connsiteY54" fmla="*/ 7194 h 10000"/>
                <a:gd name="connsiteX55" fmla="*/ 4046 w 10000"/>
                <a:gd name="connsiteY55" fmla="*/ 7274 h 10000"/>
                <a:gd name="connsiteX56" fmla="*/ 4065 w 10000"/>
                <a:gd name="connsiteY56" fmla="*/ 7354 h 10000"/>
                <a:gd name="connsiteX57" fmla="*/ 4092 w 10000"/>
                <a:gd name="connsiteY57" fmla="*/ 7440 h 10000"/>
                <a:gd name="connsiteX58" fmla="*/ 4111 w 10000"/>
                <a:gd name="connsiteY58" fmla="*/ 7520 h 10000"/>
                <a:gd name="connsiteX59" fmla="*/ 4131 w 10000"/>
                <a:gd name="connsiteY59" fmla="*/ 7600 h 10000"/>
                <a:gd name="connsiteX60" fmla="*/ 4144 w 10000"/>
                <a:gd name="connsiteY60" fmla="*/ 7686 h 10000"/>
                <a:gd name="connsiteX61" fmla="*/ 4157 w 10000"/>
                <a:gd name="connsiteY61" fmla="*/ 7771 h 10000"/>
                <a:gd name="connsiteX62" fmla="*/ 4163 w 10000"/>
                <a:gd name="connsiteY62" fmla="*/ 7857 h 10000"/>
                <a:gd name="connsiteX63" fmla="*/ 4170 w 10000"/>
                <a:gd name="connsiteY63" fmla="*/ 7942 h 10000"/>
                <a:gd name="connsiteX64" fmla="*/ 4170 w 10000"/>
                <a:gd name="connsiteY64" fmla="*/ 8028 h 10000"/>
                <a:gd name="connsiteX65" fmla="*/ 4176 w 10000"/>
                <a:gd name="connsiteY65" fmla="*/ 8113 h 10000"/>
                <a:gd name="connsiteX66" fmla="*/ 4170 w 10000"/>
                <a:gd name="connsiteY66" fmla="*/ 8226 h 10000"/>
                <a:gd name="connsiteX67" fmla="*/ 4163 w 10000"/>
                <a:gd name="connsiteY67" fmla="*/ 8343 h 10000"/>
                <a:gd name="connsiteX68" fmla="*/ 4157 w 10000"/>
                <a:gd name="connsiteY68" fmla="*/ 8450 h 10000"/>
                <a:gd name="connsiteX69" fmla="*/ 4137 w 10000"/>
                <a:gd name="connsiteY69" fmla="*/ 8562 h 10000"/>
                <a:gd name="connsiteX70" fmla="*/ 6739 w 10000"/>
                <a:gd name="connsiteY70" fmla="*/ 10000 h 10000"/>
                <a:gd name="connsiteX71" fmla="*/ 9850 w 10000"/>
                <a:gd name="connsiteY71" fmla="*/ 9498 h 10000"/>
                <a:gd name="connsiteX72" fmla="*/ 9889 w 10000"/>
                <a:gd name="connsiteY72" fmla="*/ 9332 h 10000"/>
                <a:gd name="connsiteX73" fmla="*/ 9915 w 10000"/>
                <a:gd name="connsiteY73" fmla="*/ 9161 h 10000"/>
                <a:gd name="connsiteX74" fmla="*/ 9941 w 10000"/>
                <a:gd name="connsiteY74" fmla="*/ 8990 h 10000"/>
                <a:gd name="connsiteX75" fmla="*/ 9961 w 10000"/>
                <a:gd name="connsiteY75" fmla="*/ 8813 h 10000"/>
                <a:gd name="connsiteX76" fmla="*/ 9974 w 10000"/>
                <a:gd name="connsiteY76" fmla="*/ 8637 h 10000"/>
                <a:gd name="connsiteX77" fmla="*/ 9987 w 10000"/>
                <a:gd name="connsiteY77" fmla="*/ 8466 h 10000"/>
                <a:gd name="connsiteX78" fmla="*/ 9993 w 10000"/>
                <a:gd name="connsiteY78" fmla="*/ 8290 h 10000"/>
                <a:gd name="connsiteX79" fmla="*/ 10000 w 10000"/>
                <a:gd name="connsiteY79" fmla="*/ 8113 h 10000"/>
                <a:gd name="connsiteX80" fmla="*/ 9993 w 10000"/>
                <a:gd name="connsiteY80" fmla="*/ 7900 h 10000"/>
                <a:gd name="connsiteX81" fmla="*/ 9987 w 10000"/>
                <a:gd name="connsiteY81" fmla="*/ 7696 h 10000"/>
                <a:gd name="connsiteX82" fmla="*/ 9967 w 10000"/>
                <a:gd name="connsiteY82" fmla="*/ 7488 h 10000"/>
                <a:gd name="connsiteX83" fmla="*/ 9948 w 10000"/>
                <a:gd name="connsiteY83" fmla="*/ 7285 h 10000"/>
                <a:gd name="connsiteX84" fmla="*/ 9915 w 10000"/>
                <a:gd name="connsiteY84" fmla="*/ 7076 h 10000"/>
                <a:gd name="connsiteX85" fmla="*/ 9882 w 10000"/>
                <a:gd name="connsiteY85" fmla="*/ 6879 h 10000"/>
                <a:gd name="connsiteX86" fmla="*/ 9843 w 10000"/>
                <a:gd name="connsiteY86" fmla="*/ 6676 h 10000"/>
                <a:gd name="connsiteX87" fmla="*/ 9797 w 10000"/>
                <a:gd name="connsiteY87" fmla="*/ 6478 h 10000"/>
                <a:gd name="connsiteX88" fmla="*/ 9745 w 10000"/>
                <a:gd name="connsiteY88" fmla="*/ 6280 h 10000"/>
                <a:gd name="connsiteX89" fmla="*/ 9686 w 10000"/>
                <a:gd name="connsiteY89" fmla="*/ 6088 h 10000"/>
                <a:gd name="connsiteX90" fmla="*/ 9621 w 10000"/>
                <a:gd name="connsiteY90" fmla="*/ 5890 h 10000"/>
                <a:gd name="connsiteX91" fmla="*/ 9556 w 10000"/>
                <a:gd name="connsiteY91" fmla="*/ 5697 h 10000"/>
                <a:gd name="connsiteX92" fmla="*/ 9477 w 10000"/>
                <a:gd name="connsiteY92" fmla="*/ 5510 h 10000"/>
                <a:gd name="connsiteX93" fmla="*/ 9399 w 10000"/>
                <a:gd name="connsiteY93" fmla="*/ 5323 h 10000"/>
                <a:gd name="connsiteX94" fmla="*/ 9307 w 10000"/>
                <a:gd name="connsiteY94" fmla="*/ 5136 h 10000"/>
                <a:gd name="connsiteX95" fmla="*/ 9216 w 10000"/>
                <a:gd name="connsiteY95" fmla="*/ 4955 h 10000"/>
                <a:gd name="connsiteX96" fmla="*/ 9124 w 10000"/>
                <a:gd name="connsiteY96" fmla="*/ 4773 h 10000"/>
                <a:gd name="connsiteX97" fmla="*/ 9020 w 10000"/>
                <a:gd name="connsiteY97" fmla="*/ 4596 h 10000"/>
                <a:gd name="connsiteX98" fmla="*/ 8915 w 10000"/>
                <a:gd name="connsiteY98" fmla="*/ 4420 h 10000"/>
                <a:gd name="connsiteX99" fmla="*/ 8804 w 10000"/>
                <a:gd name="connsiteY99" fmla="*/ 4244 h 10000"/>
                <a:gd name="connsiteX100" fmla="*/ 8686 w 10000"/>
                <a:gd name="connsiteY100" fmla="*/ 4073 h 10000"/>
                <a:gd name="connsiteX101" fmla="*/ 8562 w 10000"/>
                <a:gd name="connsiteY101" fmla="*/ 3907 h 10000"/>
                <a:gd name="connsiteX102" fmla="*/ 8438 w 10000"/>
                <a:gd name="connsiteY102" fmla="*/ 3741 h 10000"/>
                <a:gd name="connsiteX103" fmla="*/ 8307 w 10000"/>
                <a:gd name="connsiteY103" fmla="*/ 3576 h 10000"/>
                <a:gd name="connsiteX104" fmla="*/ 8170 w 10000"/>
                <a:gd name="connsiteY104" fmla="*/ 3415 h 10000"/>
                <a:gd name="connsiteX105" fmla="*/ 8026 w 10000"/>
                <a:gd name="connsiteY105" fmla="*/ 3260 h 10000"/>
                <a:gd name="connsiteX106" fmla="*/ 7882 w 10000"/>
                <a:gd name="connsiteY106" fmla="*/ 3105 h 10000"/>
                <a:gd name="connsiteX107" fmla="*/ 7732 w 10000"/>
                <a:gd name="connsiteY107" fmla="*/ 2950 h 10000"/>
                <a:gd name="connsiteX108" fmla="*/ 7582 w 10000"/>
                <a:gd name="connsiteY108" fmla="*/ 2806 h 10000"/>
                <a:gd name="connsiteX109" fmla="*/ 7418 w 10000"/>
                <a:gd name="connsiteY109" fmla="*/ 2662 h 10000"/>
                <a:gd name="connsiteX110" fmla="*/ 7261 w 10000"/>
                <a:gd name="connsiteY110" fmla="*/ 2517 h 10000"/>
                <a:gd name="connsiteX111" fmla="*/ 7092 w 10000"/>
                <a:gd name="connsiteY111" fmla="*/ 2373 h 10000"/>
                <a:gd name="connsiteX112" fmla="*/ 6922 w 10000"/>
                <a:gd name="connsiteY112" fmla="*/ 2239 h 10000"/>
                <a:gd name="connsiteX113" fmla="*/ 6752 w 10000"/>
                <a:gd name="connsiteY113" fmla="*/ 2106 h 10000"/>
                <a:gd name="connsiteX114" fmla="*/ 6569 w 10000"/>
                <a:gd name="connsiteY114" fmla="*/ 1978 h 10000"/>
                <a:gd name="connsiteX115" fmla="*/ 6386 w 10000"/>
                <a:gd name="connsiteY115" fmla="*/ 1855 h 10000"/>
                <a:gd name="connsiteX116" fmla="*/ 6203 w 10000"/>
                <a:gd name="connsiteY116" fmla="*/ 1732 h 10000"/>
                <a:gd name="connsiteX117" fmla="*/ 6013 w 10000"/>
                <a:gd name="connsiteY117" fmla="*/ 1614 h 10000"/>
                <a:gd name="connsiteX118" fmla="*/ 5817 w 10000"/>
                <a:gd name="connsiteY118" fmla="*/ 1497 h 10000"/>
                <a:gd name="connsiteX119" fmla="*/ 5621 w 10000"/>
                <a:gd name="connsiteY119" fmla="*/ 1384 h 10000"/>
                <a:gd name="connsiteX120" fmla="*/ 5425 w 10000"/>
                <a:gd name="connsiteY120" fmla="*/ 1277 h 10000"/>
                <a:gd name="connsiteX121" fmla="*/ 5222 w 10000"/>
                <a:gd name="connsiteY121" fmla="*/ 1176 h 10000"/>
                <a:gd name="connsiteX122" fmla="*/ 5020 w 10000"/>
                <a:gd name="connsiteY122" fmla="*/ 1074 h 10000"/>
                <a:gd name="connsiteX123" fmla="*/ 4804 w 10000"/>
                <a:gd name="connsiteY123" fmla="*/ 978 h 10000"/>
                <a:gd name="connsiteX124" fmla="*/ 4595 w 10000"/>
                <a:gd name="connsiteY124" fmla="*/ 887 h 10000"/>
                <a:gd name="connsiteX125" fmla="*/ 4379 w 10000"/>
                <a:gd name="connsiteY125" fmla="*/ 802 h 10000"/>
                <a:gd name="connsiteX126" fmla="*/ 4157 w 10000"/>
                <a:gd name="connsiteY126" fmla="*/ 716 h 10000"/>
                <a:gd name="connsiteX127" fmla="*/ 3941 w 10000"/>
                <a:gd name="connsiteY127" fmla="*/ 636 h 10000"/>
                <a:gd name="connsiteX128" fmla="*/ 3719 w 10000"/>
                <a:gd name="connsiteY128" fmla="*/ 567 h 10000"/>
                <a:gd name="connsiteX129" fmla="*/ 3490 w 10000"/>
                <a:gd name="connsiteY129" fmla="*/ 492 h 10000"/>
                <a:gd name="connsiteX130" fmla="*/ 3261 w 10000"/>
                <a:gd name="connsiteY130" fmla="*/ 428 h 10000"/>
                <a:gd name="connsiteX131" fmla="*/ 3026 w 10000"/>
                <a:gd name="connsiteY131" fmla="*/ 363 h 10000"/>
                <a:gd name="connsiteX132" fmla="*/ 2797 w 10000"/>
                <a:gd name="connsiteY132" fmla="*/ 310 h 10000"/>
                <a:gd name="connsiteX133" fmla="*/ 2556 w 10000"/>
                <a:gd name="connsiteY133" fmla="*/ 257 h 10000"/>
                <a:gd name="connsiteX134" fmla="*/ 2314 w 10000"/>
                <a:gd name="connsiteY134" fmla="*/ 208 h 10000"/>
                <a:gd name="connsiteX135" fmla="*/ 2078 w 10000"/>
                <a:gd name="connsiteY135" fmla="*/ 166 h 10000"/>
                <a:gd name="connsiteX136" fmla="*/ 1837 w 10000"/>
                <a:gd name="connsiteY136" fmla="*/ 128 h 10000"/>
                <a:gd name="connsiteX137" fmla="*/ 1588 w 10000"/>
                <a:gd name="connsiteY137" fmla="*/ 91 h 10000"/>
                <a:gd name="connsiteX138" fmla="*/ 1340 w 10000"/>
                <a:gd name="connsiteY138" fmla="*/ 64 h 10000"/>
                <a:gd name="connsiteX139" fmla="*/ 1092 w 10000"/>
                <a:gd name="connsiteY139" fmla="*/ 43 h 10000"/>
                <a:gd name="connsiteX140" fmla="*/ 843 w 10000"/>
                <a:gd name="connsiteY140" fmla="*/ 27 h 10000"/>
                <a:gd name="connsiteX141" fmla="*/ 588 w 10000"/>
                <a:gd name="connsiteY141" fmla="*/ 11 h 10000"/>
                <a:gd name="connsiteX142" fmla="*/ 333 w 10000"/>
                <a:gd name="connsiteY142" fmla="*/ 5 h 10000"/>
                <a:gd name="connsiteX143" fmla="*/ 78 w 10000"/>
                <a:gd name="connsiteY143" fmla="*/ 0 h 10000"/>
                <a:gd name="connsiteX144" fmla="*/ 0 w 10000"/>
                <a:gd name="connsiteY144" fmla="*/ 5 h 10000"/>
                <a:gd name="connsiteX145" fmla="*/ 1245 w 10000"/>
                <a:gd name="connsiteY145" fmla="*/ 2443 h 10000"/>
                <a:gd name="connsiteX146" fmla="*/ 26 w 10000"/>
                <a:gd name="connsiteY146" fmla="*/ 4768 h 10000"/>
                <a:gd name="connsiteX0" fmla="*/ 26 w 10000"/>
                <a:gd name="connsiteY0" fmla="*/ 4768 h 10000"/>
                <a:gd name="connsiteX1" fmla="*/ 59 w 10000"/>
                <a:gd name="connsiteY1" fmla="*/ 4762 h 10000"/>
                <a:gd name="connsiteX2" fmla="*/ 163 w 10000"/>
                <a:gd name="connsiteY2" fmla="*/ 4762 h 10000"/>
                <a:gd name="connsiteX3" fmla="*/ 268 w 10000"/>
                <a:gd name="connsiteY3" fmla="*/ 4768 h 10000"/>
                <a:gd name="connsiteX4" fmla="*/ 373 w 10000"/>
                <a:gd name="connsiteY4" fmla="*/ 4773 h 10000"/>
                <a:gd name="connsiteX5" fmla="*/ 477 w 10000"/>
                <a:gd name="connsiteY5" fmla="*/ 4778 h 10000"/>
                <a:gd name="connsiteX6" fmla="*/ 582 w 10000"/>
                <a:gd name="connsiteY6" fmla="*/ 4794 h 10000"/>
                <a:gd name="connsiteX7" fmla="*/ 686 w 10000"/>
                <a:gd name="connsiteY7" fmla="*/ 4805 h 10000"/>
                <a:gd name="connsiteX8" fmla="*/ 784 w 10000"/>
                <a:gd name="connsiteY8" fmla="*/ 4816 h 10000"/>
                <a:gd name="connsiteX9" fmla="*/ 882 w 10000"/>
                <a:gd name="connsiteY9" fmla="*/ 4832 h 10000"/>
                <a:gd name="connsiteX10" fmla="*/ 987 w 10000"/>
                <a:gd name="connsiteY10" fmla="*/ 4848 h 10000"/>
                <a:gd name="connsiteX11" fmla="*/ 1085 w 10000"/>
                <a:gd name="connsiteY11" fmla="*/ 4869 h 10000"/>
                <a:gd name="connsiteX12" fmla="*/ 1183 w 10000"/>
                <a:gd name="connsiteY12" fmla="*/ 4890 h 10000"/>
                <a:gd name="connsiteX13" fmla="*/ 1281 w 10000"/>
                <a:gd name="connsiteY13" fmla="*/ 4912 h 10000"/>
                <a:gd name="connsiteX14" fmla="*/ 1373 w 10000"/>
                <a:gd name="connsiteY14" fmla="*/ 4939 h 10000"/>
                <a:gd name="connsiteX15" fmla="*/ 1471 w 10000"/>
                <a:gd name="connsiteY15" fmla="*/ 4965 h 10000"/>
                <a:gd name="connsiteX16" fmla="*/ 1562 w 10000"/>
                <a:gd name="connsiteY16" fmla="*/ 4997 h 10000"/>
                <a:gd name="connsiteX17" fmla="*/ 1654 w 10000"/>
                <a:gd name="connsiteY17" fmla="*/ 5029 h 10000"/>
                <a:gd name="connsiteX18" fmla="*/ 1745 w 10000"/>
                <a:gd name="connsiteY18" fmla="*/ 5061 h 10000"/>
                <a:gd name="connsiteX19" fmla="*/ 1837 w 10000"/>
                <a:gd name="connsiteY19" fmla="*/ 5094 h 10000"/>
                <a:gd name="connsiteX20" fmla="*/ 1928 w 10000"/>
                <a:gd name="connsiteY20" fmla="*/ 5131 h 10000"/>
                <a:gd name="connsiteX21" fmla="*/ 2020 w 10000"/>
                <a:gd name="connsiteY21" fmla="*/ 5168 h 10000"/>
                <a:gd name="connsiteX22" fmla="*/ 2105 w 10000"/>
                <a:gd name="connsiteY22" fmla="*/ 5211 h 10000"/>
                <a:gd name="connsiteX23" fmla="*/ 2190 w 10000"/>
                <a:gd name="connsiteY23" fmla="*/ 5249 h 10000"/>
                <a:gd name="connsiteX24" fmla="*/ 2275 w 10000"/>
                <a:gd name="connsiteY24" fmla="*/ 5291 h 10000"/>
                <a:gd name="connsiteX25" fmla="*/ 2353 w 10000"/>
                <a:gd name="connsiteY25" fmla="*/ 5334 h 10000"/>
                <a:gd name="connsiteX26" fmla="*/ 2438 w 10000"/>
                <a:gd name="connsiteY26" fmla="*/ 5382 h 10000"/>
                <a:gd name="connsiteX27" fmla="*/ 2516 w 10000"/>
                <a:gd name="connsiteY27" fmla="*/ 5430 h 10000"/>
                <a:gd name="connsiteX28" fmla="*/ 2595 w 10000"/>
                <a:gd name="connsiteY28" fmla="*/ 5478 h 10000"/>
                <a:gd name="connsiteX29" fmla="*/ 2673 w 10000"/>
                <a:gd name="connsiteY29" fmla="*/ 5526 h 10000"/>
                <a:gd name="connsiteX30" fmla="*/ 2752 w 10000"/>
                <a:gd name="connsiteY30" fmla="*/ 5580 h 10000"/>
                <a:gd name="connsiteX31" fmla="*/ 2824 w 10000"/>
                <a:gd name="connsiteY31" fmla="*/ 5633 h 10000"/>
                <a:gd name="connsiteX32" fmla="*/ 2895 w 10000"/>
                <a:gd name="connsiteY32" fmla="*/ 5687 h 10000"/>
                <a:gd name="connsiteX33" fmla="*/ 2967 w 10000"/>
                <a:gd name="connsiteY33" fmla="*/ 5746 h 10000"/>
                <a:gd name="connsiteX34" fmla="*/ 3033 w 10000"/>
                <a:gd name="connsiteY34" fmla="*/ 5804 h 10000"/>
                <a:gd name="connsiteX35" fmla="*/ 3105 w 10000"/>
                <a:gd name="connsiteY35" fmla="*/ 5863 h 10000"/>
                <a:gd name="connsiteX36" fmla="*/ 3170 w 10000"/>
                <a:gd name="connsiteY36" fmla="*/ 5922 h 10000"/>
                <a:gd name="connsiteX37" fmla="*/ 3229 w 10000"/>
                <a:gd name="connsiteY37" fmla="*/ 5986 h 10000"/>
                <a:gd name="connsiteX38" fmla="*/ 3294 w 10000"/>
                <a:gd name="connsiteY38" fmla="*/ 6045 h 10000"/>
                <a:gd name="connsiteX39" fmla="*/ 3353 w 10000"/>
                <a:gd name="connsiteY39" fmla="*/ 6109 h 10000"/>
                <a:gd name="connsiteX40" fmla="*/ 3412 w 10000"/>
                <a:gd name="connsiteY40" fmla="*/ 6173 h 10000"/>
                <a:gd name="connsiteX41" fmla="*/ 3471 w 10000"/>
                <a:gd name="connsiteY41" fmla="*/ 6237 h 10000"/>
                <a:gd name="connsiteX42" fmla="*/ 3523 w 10000"/>
                <a:gd name="connsiteY42" fmla="*/ 6307 h 10000"/>
                <a:gd name="connsiteX43" fmla="*/ 3575 w 10000"/>
                <a:gd name="connsiteY43" fmla="*/ 6376 h 10000"/>
                <a:gd name="connsiteX44" fmla="*/ 3627 w 10000"/>
                <a:gd name="connsiteY44" fmla="*/ 6446 h 10000"/>
                <a:gd name="connsiteX45" fmla="*/ 3680 w 10000"/>
                <a:gd name="connsiteY45" fmla="*/ 6515 h 10000"/>
                <a:gd name="connsiteX46" fmla="*/ 3719 w 10000"/>
                <a:gd name="connsiteY46" fmla="*/ 6590 h 10000"/>
                <a:gd name="connsiteX47" fmla="*/ 3771 w 10000"/>
                <a:gd name="connsiteY47" fmla="*/ 6665 h 10000"/>
                <a:gd name="connsiteX48" fmla="*/ 3810 w 10000"/>
                <a:gd name="connsiteY48" fmla="*/ 6734 h 10000"/>
                <a:gd name="connsiteX49" fmla="*/ 3850 w 10000"/>
                <a:gd name="connsiteY49" fmla="*/ 6809 h 10000"/>
                <a:gd name="connsiteX50" fmla="*/ 3889 w 10000"/>
                <a:gd name="connsiteY50" fmla="*/ 6884 h 10000"/>
                <a:gd name="connsiteX51" fmla="*/ 3922 w 10000"/>
                <a:gd name="connsiteY51" fmla="*/ 6959 h 10000"/>
                <a:gd name="connsiteX52" fmla="*/ 3954 w 10000"/>
                <a:gd name="connsiteY52" fmla="*/ 7039 h 10000"/>
                <a:gd name="connsiteX53" fmla="*/ 3987 w 10000"/>
                <a:gd name="connsiteY53" fmla="*/ 7119 h 10000"/>
                <a:gd name="connsiteX54" fmla="*/ 4020 w 10000"/>
                <a:gd name="connsiteY54" fmla="*/ 7194 h 10000"/>
                <a:gd name="connsiteX55" fmla="*/ 4046 w 10000"/>
                <a:gd name="connsiteY55" fmla="*/ 7274 h 10000"/>
                <a:gd name="connsiteX56" fmla="*/ 4065 w 10000"/>
                <a:gd name="connsiteY56" fmla="*/ 7354 h 10000"/>
                <a:gd name="connsiteX57" fmla="*/ 4092 w 10000"/>
                <a:gd name="connsiteY57" fmla="*/ 7440 h 10000"/>
                <a:gd name="connsiteX58" fmla="*/ 4111 w 10000"/>
                <a:gd name="connsiteY58" fmla="*/ 7520 h 10000"/>
                <a:gd name="connsiteX59" fmla="*/ 4131 w 10000"/>
                <a:gd name="connsiteY59" fmla="*/ 7600 h 10000"/>
                <a:gd name="connsiteX60" fmla="*/ 4144 w 10000"/>
                <a:gd name="connsiteY60" fmla="*/ 7686 h 10000"/>
                <a:gd name="connsiteX61" fmla="*/ 4157 w 10000"/>
                <a:gd name="connsiteY61" fmla="*/ 7771 h 10000"/>
                <a:gd name="connsiteX62" fmla="*/ 4163 w 10000"/>
                <a:gd name="connsiteY62" fmla="*/ 7857 h 10000"/>
                <a:gd name="connsiteX63" fmla="*/ 4170 w 10000"/>
                <a:gd name="connsiteY63" fmla="*/ 7942 h 10000"/>
                <a:gd name="connsiteX64" fmla="*/ 4170 w 10000"/>
                <a:gd name="connsiteY64" fmla="*/ 8028 h 10000"/>
                <a:gd name="connsiteX65" fmla="*/ 4176 w 10000"/>
                <a:gd name="connsiteY65" fmla="*/ 8113 h 10000"/>
                <a:gd name="connsiteX66" fmla="*/ 4170 w 10000"/>
                <a:gd name="connsiteY66" fmla="*/ 8226 h 10000"/>
                <a:gd name="connsiteX67" fmla="*/ 4163 w 10000"/>
                <a:gd name="connsiteY67" fmla="*/ 8343 h 10000"/>
                <a:gd name="connsiteX68" fmla="*/ 4157 w 10000"/>
                <a:gd name="connsiteY68" fmla="*/ 8450 h 10000"/>
                <a:gd name="connsiteX69" fmla="*/ 4137 w 10000"/>
                <a:gd name="connsiteY69" fmla="*/ 8562 h 10000"/>
                <a:gd name="connsiteX70" fmla="*/ 6739 w 10000"/>
                <a:gd name="connsiteY70" fmla="*/ 10000 h 10000"/>
                <a:gd name="connsiteX71" fmla="*/ 9850 w 10000"/>
                <a:gd name="connsiteY71" fmla="*/ 9498 h 10000"/>
                <a:gd name="connsiteX72" fmla="*/ 9889 w 10000"/>
                <a:gd name="connsiteY72" fmla="*/ 9332 h 10000"/>
                <a:gd name="connsiteX73" fmla="*/ 9915 w 10000"/>
                <a:gd name="connsiteY73" fmla="*/ 9161 h 10000"/>
                <a:gd name="connsiteX74" fmla="*/ 9941 w 10000"/>
                <a:gd name="connsiteY74" fmla="*/ 8990 h 10000"/>
                <a:gd name="connsiteX75" fmla="*/ 9961 w 10000"/>
                <a:gd name="connsiteY75" fmla="*/ 8813 h 10000"/>
                <a:gd name="connsiteX76" fmla="*/ 9974 w 10000"/>
                <a:gd name="connsiteY76" fmla="*/ 8637 h 10000"/>
                <a:gd name="connsiteX77" fmla="*/ 9987 w 10000"/>
                <a:gd name="connsiteY77" fmla="*/ 8466 h 10000"/>
                <a:gd name="connsiteX78" fmla="*/ 9993 w 10000"/>
                <a:gd name="connsiteY78" fmla="*/ 8290 h 10000"/>
                <a:gd name="connsiteX79" fmla="*/ 10000 w 10000"/>
                <a:gd name="connsiteY79" fmla="*/ 8113 h 10000"/>
                <a:gd name="connsiteX80" fmla="*/ 9993 w 10000"/>
                <a:gd name="connsiteY80" fmla="*/ 7900 h 10000"/>
                <a:gd name="connsiteX81" fmla="*/ 9987 w 10000"/>
                <a:gd name="connsiteY81" fmla="*/ 7696 h 10000"/>
                <a:gd name="connsiteX82" fmla="*/ 9967 w 10000"/>
                <a:gd name="connsiteY82" fmla="*/ 7488 h 10000"/>
                <a:gd name="connsiteX83" fmla="*/ 9948 w 10000"/>
                <a:gd name="connsiteY83" fmla="*/ 7285 h 10000"/>
                <a:gd name="connsiteX84" fmla="*/ 9915 w 10000"/>
                <a:gd name="connsiteY84" fmla="*/ 7076 h 10000"/>
                <a:gd name="connsiteX85" fmla="*/ 9882 w 10000"/>
                <a:gd name="connsiteY85" fmla="*/ 6879 h 10000"/>
                <a:gd name="connsiteX86" fmla="*/ 9843 w 10000"/>
                <a:gd name="connsiteY86" fmla="*/ 6676 h 10000"/>
                <a:gd name="connsiteX87" fmla="*/ 9797 w 10000"/>
                <a:gd name="connsiteY87" fmla="*/ 6478 h 10000"/>
                <a:gd name="connsiteX88" fmla="*/ 9745 w 10000"/>
                <a:gd name="connsiteY88" fmla="*/ 6280 h 10000"/>
                <a:gd name="connsiteX89" fmla="*/ 9686 w 10000"/>
                <a:gd name="connsiteY89" fmla="*/ 6088 h 10000"/>
                <a:gd name="connsiteX90" fmla="*/ 9621 w 10000"/>
                <a:gd name="connsiteY90" fmla="*/ 5890 h 10000"/>
                <a:gd name="connsiteX91" fmla="*/ 9556 w 10000"/>
                <a:gd name="connsiteY91" fmla="*/ 5697 h 10000"/>
                <a:gd name="connsiteX92" fmla="*/ 9477 w 10000"/>
                <a:gd name="connsiteY92" fmla="*/ 5510 h 10000"/>
                <a:gd name="connsiteX93" fmla="*/ 9399 w 10000"/>
                <a:gd name="connsiteY93" fmla="*/ 5323 h 10000"/>
                <a:gd name="connsiteX94" fmla="*/ 9307 w 10000"/>
                <a:gd name="connsiteY94" fmla="*/ 5136 h 10000"/>
                <a:gd name="connsiteX95" fmla="*/ 9216 w 10000"/>
                <a:gd name="connsiteY95" fmla="*/ 4955 h 10000"/>
                <a:gd name="connsiteX96" fmla="*/ 9124 w 10000"/>
                <a:gd name="connsiteY96" fmla="*/ 4773 h 10000"/>
                <a:gd name="connsiteX97" fmla="*/ 9020 w 10000"/>
                <a:gd name="connsiteY97" fmla="*/ 4596 h 10000"/>
                <a:gd name="connsiteX98" fmla="*/ 8915 w 10000"/>
                <a:gd name="connsiteY98" fmla="*/ 4420 h 10000"/>
                <a:gd name="connsiteX99" fmla="*/ 8804 w 10000"/>
                <a:gd name="connsiteY99" fmla="*/ 4244 h 10000"/>
                <a:gd name="connsiteX100" fmla="*/ 8686 w 10000"/>
                <a:gd name="connsiteY100" fmla="*/ 4073 h 10000"/>
                <a:gd name="connsiteX101" fmla="*/ 8562 w 10000"/>
                <a:gd name="connsiteY101" fmla="*/ 3907 h 10000"/>
                <a:gd name="connsiteX102" fmla="*/ 8438 w 10000"/>
                <a:gd name="connsiteY102" fmla="*/ 3741 h 10000"/>
                <a:gd name="connsiteX103" fmla="*/ 8307 w 10000"/>
                <a:gd name="connsiteY103" fmla="*/ 3576 h 10000"/>
                <a:gd name="connsiteX104" fmla="*/ 8170 w 10000"/>
                <a:gd name="connsiteY104" fmla="*/ 3415 h 10000"/>
                <a:gd name="connsiteX105" fmla="*/ 8026 w 10000"/>
                <a:gd name="connsiteY105" fmla="*/ 3260 h 10000"/>
                <a:gd name="connsiteX106" fmla="*/ 7882 w 10000"/>
                <a:gd name="connsiteY106" fmla="*/ 3105 h 10000"/>
                <a:gd name="connsiteX107" fmla="*/ 7732 w 10000"/>
                <a:gd name="connsiteY107" fmla="*/ 2950 h 10000"/>
                <a:gd name="connsiteX108" fmla="*/ 7582 w 10000"/>
                <a:gd name="connsiteY108" fmla="*/ 2806 h 10000"/>
                <a:gd name="connsiteX109" fmla="*/ 7418 w 10000"/>
                <a:gd name="connsiteY109" fmla="*/ 2662 h 10000"/>
                <a:gd name="connsiteX110" fmla="*/ 7261 w 10000"/>
                <a:gd name="connsiteY110" fmla="*/ 2517 h 10000"/>
                <a:gd name="connsiteX111" fmla="*/ 7092 w 10000"/>
                <a:gd name="connsiteY111" fmla="*/ 2373 h 10000"/>
                <a:gd name="connsiteX112" fmla="*/ 6922 w 10000"/>
                <a:gd name="connsiteY112" fmla="*/ 2239 h 10000"/>
                <a:gd name="connsiteX113" fmla="*/ 6752 w 10000"/>
                <a:gd name="connsiteY113" fmla="*/ 2106 h 10000"/>
                <a:gd name="connsiteX114" fmla="*/ 6569 w 10000"/>
                <a:gd name="connsiteY114" fmla="*/ 1978 h 10000"/>
                <a:gd name="connsiteX115" fmla="*/ 6386 w 10000"/>
                <a:gd name="connsiteY115" fmla="*/ 1855 h 10000"/>
                <a:gd name="connsiteX116" fmla="*/ 6203 w 10000"/>
                <a:gd name="connsiteY116" fmla="*/ 1732 h 10000"/>
                <a:gd name="connsiteX117" fmla="*/ 6013 w 10000"/>
                <a:gd name="connsiteY117" fmla="*/ 1614 h 10000"/>
                <a:gd name="connsiteX118" fmla="*/ 5817 w 10000"/>
                <a:gd name="connsiteY118" fmla="*/ 1497 h 10000"/>
                <a:gd name="connsiteX119" fmla="*/ 5621 w 10000"/>
                <a:gd name="connsiteY119" fmla="*/ 1384 h 10000"/>
                <a:gd name="connsiteX120" fmla="*/ 5425 w 10000"/>
                <a:gd name="connsiteY120" fmla="*/ 1277 h 10000"/>
                <a:gd name="connsiteX121" fmla="*/ 5222 w 10000"/>
                <a:gd name="connsiteY121" fmla="*/ 1176 h 10000"/>
                <a:gd name="connsiteX122" fmla="*/ 5020 w 10000"/>
                <a:gd name="connsiteY122" fmla="*/ 1074 h 10000"/>
                <a:gd name="connsiteX123" fmla="*/ 4804 w 10000"/>
                <a:gd name="connsiteY123" fmla="*/ 978 h 10000"/>
                <a:gd name="connsiteX124" fmla="*/ 4595 w 10000"/>
                <a:gd name="connsiteY124" fmla="*/ 887 h 10000"/>
                <a:gd name="connsiteX125" fmla="*/ 4379 w 10000"/>
                <a:gd name="connsiteY125" fmla="*/ 802 h 10000"/>
                <a:gd name="connsiteX126" fmla="*/ 4157 w 10000"/>
                <a:gd name="connsiteY126" fmla="*/ 716 h 10000"/>
                <a:gd name="connsiteX127" fmla="*/ 3941 w 10000"/>
                <a:gd name="connsiteY127" fmla="*/ 636 h 10000"/>
                <a:gd name="connsiteX128" fmla="*/ 3719 w 10000"/>
                <a:gd name="connsiteY128" fmla="*/ 567 h 10000"/>
                <a:gd name="connsiteX129" fmla="*/ 3490 w 10000"/>
                <a:gd name="connsiteY129" fmla="*/ 492 h 10000"/>
                <a:gd name="connsiteX130" fmla="*/ 3261 w 10000"/>
                <a:gd name="connsiteY130" fmla="*/ 428 h 10000"/>
                <a:gd name="connsiteX131" fmla="*/ 3026 w 10000"/>
                <a:gd name="connsiteY131" fmla="*/ 363 h 10000"/>
                <a:gd name="connsiteX132" fmla="*/ 2797 w 10000"/>
                <a:gd name="connsiteY132" fmla="*/ 310 h 10000"/>
                <a:gd name="connsiteX133" fmla="*/ 2556 w 10000"/>
                <a:gd name="connsiteY133" fmla="*/ 257 h 10000"/>
                <a:gd name="connsiteX134" fmla="*/ 2314 w 10000"/>
                <a:gd name="connsiteY134" fmla="*/ 208 h 10000"/>
                <a:gd name="connsiteX135" fmla="*/ 2078 w 10000"/>
                <a:gd name="connsiteY135" fmla="*/ 166 h 10000"/>
                <a:gd name="connsiteX136" fmla="*/ 1837 w 10000"/>
                <a:gd name="connsiteY136" fmla="*/ 128 h 10000"/>
                <a:gd name="connsiteX137" fmla="*/ 1588 w 10000"/>
                <a:gd name="connsiteY137" fmla="*/ 91 h 10000"/>
                <a:gd name="connsiteX138" fmla="*/ 1340 w 10000"/>
                <a:gd name="connsiteY138" fmla="*/ 64 h 10000"/>
                <a:gd name="connsiteX139" fmla="*/ 1092 w 10000"/>
                <a:gd name="connsiteY139" fmla="*/ 43 h 10000"/>
                <a:gd name="connsiteX140" fmla="*/ 843 w 10000"/>
                <a:gd name="connsiteY140" fmla="*/ 27 h 10000"/>
                <a:gd name="connsiteX141" fmla="*/ 588 w 10000"/>
                <a:gd name="connsiteY141" fmla="*/ 11 h 10000"/>
                <a:gd name="connsiteX142" fmla="*/ 333 w 10000"/>
                <a:gd name="connsiteY142" fmla="*/ 5 h 10000"/>
                <a:gd name="connsiteX143" fmla="*/ 78 w 10000"/>
                <a:gd name="connsiteY143" fmla="*/ 0 h 10000"/>
                <a:gd name="connsiteX144" fmla="*/ 0 w 10000"/>
                <a:gd name="connsiteY144" fmla="*/ 5 h 10000"/>
                <a:gd name="connsiteX145" fmla="*/ 1245 w 10000"/>
                <a:gd name="connsiteY145" fmla="*/ 2443 h 10000"/>
                <a:gd name="connsiteX146" fmla="*/ 26 w 10000"/>
                <a:gd name="connsiteY146" fmla="*/ 4768 h 10000"/>
                <a:gd name="connsiteX0" fmla="*/ 0 w 9974"/>
                <a:gd name="connsiteY0" fmla="*/ 4771 h 10003"/>
                <a:gd name="connsiteX1" fmla="*/ 33 w 9974"/>
                <a:gd name="connsiteY1" fmla="*/ 4765 h 10003"/>
                <a:gd name="connsiteX2" fmla="*/ 137 w 9974"/>
                <a:gd name="connsiteY2" fmla="*/ 4765 h 10003"/>
                <a:gd name="connsiteX3" fmla="*/ 242 w 9974"/>
                <a:gd name="connsiteY3" fmla="*/ 4771 h 10003"/>
                <a:gd name="connsiteX4" fmla="*/ 347 w 9974"/>
                <a:gd name="connsiteY4" fmla="*/ 4776 h 10003"/>
                <a:gd name="connsiteX5" fmla="*/ 451 w 9974"/>
                <a:gd name="connsiteY5" fmla="*/ 4781 h 10003"/>
                <a:gd name="connsiteX6" fmla="*/ 556 w 9974"/>
                <a:gd name="connsiteY6" fmla="*/ 4797 h 10003"/>
                <a:gd name="connsiteX7" fmla="*/ 660 w 9974"/>
                <a:gd name="connsiteY7" fmla="*/ 4808 h 10003"/>
                <a:gd name="connsiteX8" fmla="*/ 758 w 9974"/>
                <a:gd name="connsiteY8" fmla="*/ 4819 h 10003"/>
                <a:gd name="connsiteX9" fmla="*/ 856 w 9974"/>
                <a:gd name="connsiteY9" fmla="*/ 4835 h 10003"/>
                <a:gd name="connsiteX10" fmla="*/ 961 w 9974"/>
                <a:gd name="connsiteY10" fmla="*/ 4851 h 10003"/>
                <a:gd name="connsiteX11" fmla="*/ 1059 w 9974"/>
                <a:gd name="connsiteY11" fmla="*/ 4872 h 10003"/>
                <a:gd name="connsiteX12" fmla="*/ 1157 w 9974"/>
                <a:gd name="connsiteY12" fmla="*/ 4893 h 10003"/>
                <a:gd name="connsiteX13" fmla="*/ 1255 w 9974"/>
                <a:gd name="connsiteY13" fmla="*/ 4915 h 10003"/>
                <a:gd name="connsiteX14" fmla="*/ 1347 w 9974"/>
                <a:gd name="connsiteY14" fmla="*/ 4942 h 10003"/>
                <a:gd name="connsiteX15" fmla="*/ 1445 w 9974"/>
                <a:gd name="connsiteY15" fmla="*/ 4968 h 10003"/>
                <a:gd name="connsiteX16" fmla="*/ 1536 w 9974"/>
                <a:gd name="connsiteY16" fmla="*/ 5000 h 10003"/>
                <a:gd name="connsiteX17" fmla="*/ 1628 w 9974"/>
                <a:gd name="connsiteY17" fmla="*/ 5032 h 10003"/>
                <a:gd name="connsiteX18" fmla="*/ 1719 w 9974"/>
                <a:gd name="connsiteY18" fmla="*/ 5064 h 10003"/>
                <a:gd name="connsiteX19" fmla="*/ 1811 w 9974"/>
                <a:gd name="connsiteY19" fmla="*/ 5097 h 10003"/>
                <a:gd name="connsiteX20" fmla="*/ 1902 w 9974"/>
                <a:gd name="connsiteY20" fmla="*/ 5134 h 10003"/>
                <a:gd name="connsiteX21" fmla="*/ 1994 w 9974"/>
                <a:gd name="connsiteY21" fmla="*/ 5171 h 10003"/>
                <a:gd name="connsiteX22" fmla="*/ 2079 w 9974"/>
                <a:gd name="connsiteY22" fmla="*/ 5214 h 10003"/>
                <a:gd name="connsiteX23" fmla="*/ 2164 w 9974"/>
                <a:gd name="connsiteY23" fmla="*/ 5252 h 10003"/>
                <a:gd name="connsiteX24" fmla="*/ 2249 w 9974"/>
                <a:gd name="connsiteY24" fmla="*/ 5294 h 10003"/>
                <a:gd name="connsiteX25" fmla="*/ 2327 w 9974"/>
                <a:gd name="connsiteY25" fmla="*/ 5337 h 10003"/>
                <a:gd name="connsiteX26" fmla="*/ 2412 w 9974"/>
                <a:gd name="connsiteY26" fmla="*/ 5385 h 10003"/>
                <a:gd name="connsiteX27" fmla="*/ 2490 w 9974"/>
                <a:gd name="connsiteY27" fmla="*/ 5433 h 10003"/>
                <a:gd name="connsiteX28" fmla="*/ 2569 w 9974"/>
                <a:gd name="connsiteY28" fmla="*/ 5481 h 10003"/>
                <a:gd name="connsiteX29" fmla="*/ 2647 w 9974"/>
                <a:gd name="connsiteY29" fmla="*/ 5529 h 10003"/>
                <a:gd name="connsiteX30" fmla="*/ 2726 w 9974"/>
                <a:gd name="connsiteY30" fmla="*/ 5583 h 10003"/>
                <a:gd name="connsiteX31" fmla="*/ 2798 w 9974"/>
                <a:gd name="connsiteY31" fmla="*/ 5636 h 10003"/>
                <a:gd name="connsiteX32" fmla="*/ 2869 w 9974"/>
                <a:gd name="connsiteY32" fmla="*/ 5690 h 10003"/>
                <a:gd name="connsiteX33" fmla="*/ 2941 w 9974"/>
                <a:gd name="connsiteY33" fmla="*/ 5749 h 10003"/>
                <a:gd name="connsiteX34" fmla="*/ 3007 w 9974"/>
                <a:gd name="connsiteY34" fmla="*/ 5807 h 10003"/>
                <a:gd name="connsiteX35" fmla="*/ 3079 w 9974"/>
                <a:gd name="connsiteY35" fmla="*/ 5866 h 10003"/>
                <a:gd name="connsiteX36" fmla="*/ 3144 w 9974"/>
                <a:gd name="connsiteY36" fmla="*/ 5925 h 10003"/>
                <a:gd name="connsiteX37" fmla="*/ 3203 w 9974"/>
                <a:gd name="connsiteY37" fmla="*/ 5989 h 10003"/>
                <a:gd name="connsiteX38" fmla="*/ 3268 w 9974"/>
                <a:gd name="connsiteY38" fmla="*/ 6048 h 10003"/>
                <a:gd name="connsiteX39" fmla="*/ 3327 w 9974"/>
                <a:gd name="connsiteY39" fmla="*/ 6112 h 10003"/>
                <a:gd name="connsiteX40" fmla="*/ 3386 w 9974"/>
                <a:gd name="connsiteY40" fmla="*/ 6176 h 10003"/>
                <a:gd name="connsiteX41" fmla="*/ 3445 w 9974"/>
                <a:gd name="connsiteY41" fmla="*/ 6240 h 10003"/>
                <a:gd name="connsiteX42" fmla="*/ 3497 w 9974"/>
                <a:gd name="connsiteY42" fmla="*/ 6310 h 10003"/>
                <a:gd name="connsiteX43" fmla="*/ 3549 w 9974"/>
                <a:gd name="connsiteY43" fmla="*/ 6379 h 10003"/>
                <a:gd name="connsiteX44" fmla="*/ 3601 w 9974"/>
                <a:gd name="connsiteY44" fmla="*/ 6449 h 10003"/>
                <a:gd name="connsiteX45" fmla="*/ 3654 w 9974"/>
                <a:gd name="connsiteY45" fmla="*/ 6518 h 10003"/>
                <a:gd name="connsiteX46" fmla="*/ 3693 w 9974"/>
                <a:gd name="connsiteY46" fmla="*/ 6593 h 10003"/>
                <a:gd name="connsiteX47" fmla="*/ 3745 w 9974"/>
                <a:gd name="connsiteY47" fmla="*/ 6668 h 10003"/>
                <a:gd name="connsiteX48" fmla="*/ 3784 w 9974"/>
                <a:gd name="connsiteY48" fmla="*/ 6737 h 10003"/>
                <a:gd name="connsiteX49" fmla="*/ 3824 w 9974"/>
                <a:gd name="connsiteY49" fmla="*/ 6812 h 10003"/>
                <a:gd name="connsiteX50" fmla="*/ 3863 w 9974"/>
                <a:gd name="connsiteY50" fmla="*/ 6887 h 10003"/>
                <a:gd name="connsiteX51" fmla="*/ 3896 w 9974"/>
                <a:gd name="connsiteY51" fmla="*/ 6962 h 10003"/>
                <a:gd name="connsiteX52" fmla="*/ 3928 w 9974"/>
                <a:gd name="connsiteY52" fmla="*/ 7042 h 10003"/>
                <a:gd name="connsiteX53" fmla="*/ 3961 w 9974"/>
                <a:gd name="connsiteY53" fmla="*/ 7122 h 10003"/>
                <a:gd name="connsiteX54" fmla="*/ 3994 w 9974"/>
                <a:gd name="connsiteY54" fmla="*/ 7197 h 10003"/>
                <a:gd name="connsiteX55" fmla="*/ 4020 w 9974"/>
                <a:gd name="connsiteY55" fmla="*/ 7277 h 10003"/>
                <a:gd name="connsiteX56" fmla="*/ 4039 w 9974"/>
                <a:gd name="connsiteY56" fmla="*/ 7357 h 10003"/>
                <a:gd name="connsiteX57" fmla="*/ 4066 w 9974"/>
                <a:gd name="connsiteY57" fmla="*/ 7443 h 10003"/>
                <a:gd name="connsiteX58" fmla="*/ 4085 w 9974"/>
                <a:gd name="connsiteY58" fmla="*/ 7523 h 10003"/>
                <a:gd name="connsiteX59" fmla="*/ 4105 w 9974"/>
                <a:gd name="connsiteY59" fmla="*/ 7603 h 10003"/>
                <a:gd name="connsiteX60" fmla="*/ 4118 w 9974"/>
                <a:gd name="connsiteY60" fmla="*/ 7689 h 10003"/>
                <a:gd name="connsiteX61" fmla="*/ 4131 w 9974"/>
                <a:gd name="connsiteY61" fmla="*/ 7774 h 10003"/>
                <a:gd name="connsiteX62" fmla="*/ 4137 w 9974"/>
                <a:gd name="connsiteY62" fmla="*/ 7860 h 10003"/>
                <a:gd name="connsiteX63" fmla="*/ 4144 w 9974"/>
                <a:gd name="connsiteY63" fmla="*/ 7945 h 10003"/>
                <a:gd name="connsiteX64" fmla="*/ 4144 w 9974"/>
                <a:gd name="connsiteY64" fmla="*/ 8031 h 10003"/>
                <a:gd name="connsiteX65" fmla="*/ 4150 w 9974"/>
                <a:gd name="connsiteY65" fmla="*/ 8116 h 10003"/>
                <a:gd name="connsiteX66" fmla="*/ 4144 w 9974"/>
                <a:gd name="connsiteY66" fmla="*/ 8229 h 10003"/>
                <a:gd name="connsiteX67" fmla="*/ 4137 w 9974"/>
                <a:gd name="connsiteY67" fmla="*/ 8346 h 10003"/>
                <a:gd name="connsiteX68" fmla="*/ 4131 w 9974"/>
                <a:gd name="connsiteY68" fmla="*/ 8453 h 10003"/>
                <a:gd name="connsiteX69" fmla="*/ 4111 w 9974"/>
                <a:gd name="connsiteY69" fmla="*/ 8565 h 10003"/>
                <a:gd name="connsiteX70" fmla="*/ 6713 w 9974"/>
                <a:gd name="connsiteY70" fmla="*/ 10003 h 10003"/>
                <a:gd name="connsiteX71" fmla="*/ 9824 w 9974"/>
                <a:gd name="connsiteY71" fmla="*/ 9501 h 10003"/>
                <a:gd name="connsiteX72" fmla="*/ 9863 w 9974"/>
                <a:gd name="connsiteY72" fmla="*/ 9335 h 10003"/>
                <a:gd name="connsiteX73" fmla="*/ 9889 w 9974"/>
                <a:gd name="connsiteY73" fmla="*/ 9164 h 10003"/>
                <a:gd name="connsiteX74" fmla="*/ 9915 w 9974"/>
                <a:gd name="connsiteY74" fmla="*/ 8993 h 10003"/>
                <a:gd name="connsiteX75" fmla="*/ 9935 w 9974"/>
                <a:gd name="connsiteY75" fmla="*/ 8816 h 10003"/>
                <a:gd name="connsiteX76" fmla="*/ 9948 w 9974"/>
                <a:gd name="connsiteY76" fmla="*/ 8640 h 10003"/>
                <a:gd name="connsiteX77" fmla="*/ 9961 w 9974"/>
                <a:gd name="connsiteY77" fmla="*/ 8469 h 10003"/>
                <a:gd name="connsiteX78" fmla="*/ 9967 w 9974"/>
                <a:gd name="connsiteY78" fmla="*/ 8293 h 10003"/>
                <a:gd name="connsiteX79" fmla="*/ 9974 w 9974"/>
                <a:gd name="connsiteY79" fmla="*/ 8116 h 10003"/>
                <a:gd name="connsiteX80" fmla="*/ 9967 w 9974"/>
                <a:gd name="connsiteY80" fmla="*/ 7903 h 10003"/>
                <a:gd name="connsiteX81" fmla="*/ 9961 w 9974"/>
                <a:gd name="connsiteY81" fmla="*/ 7699 h 10003"/>
                <a:gd name="connsiteX82" fmla="*/ 9941 w 9974"/>
                <a:gd name="connsiteY82" fmla="*/ 7491 h 10003"/>
                <a:gd name="connsiteX83" fmla="*/ 9922 w 9974"/>
                <a:gd name="connsiteY83" fmla="*/ 7288 h 10003"/>
                <a:gd name="connsiteX84" fmla="*/ 9889 w 9974"/>
                <a:gd name="connsiteY84" fmla="*/ 7079 h 10003"/>
                <a:gd name="connsiteX85" fmla="*/ 9856 w 9974"/>
                <a:gd name="connsiteY85" fmla="*/ 6882 h 10003"/>
                <a:gd name="connsiteX86" fmla="*/ 9817 w 9974"/>
                <a:gd name="connsiteY86" fmla="*/ 6679 h 10003"/>
                <a:gd name="connsiteX87" fmla="*/ 9771 w 9974"/>
                <a:gd name="connsiteY87" fmla="*/ 6481 h 10003"/>
                <a:gd name="connsiteX88" fmla="*/ 9719 w 9974"/>
                <a:gd name="connsiteY88" fmla="*/ 6283 h 10003"/>
                <a:gd name="connsiteX89" fmla="*/ 9660 w 9974"/>
                <a:gd name="connsiteY89" fmla="*/ 6091 h 10003"/>
                <a:gd name="connsiteX90" fmla="*/ 9595 w 9974"/>
                <a:gd name="connsiteY90" fmla="*/ 5893 h 10003"/>
                <a:gd name="connsiteX91" fmla="*/ 9530 w 9974"/>
                <a:gd name="connsiteY91" fmla="*/ 5700 h 10003"/>
                <a:gd name="connsiteX92" fmla="*/ 9451 w 9974"/>
                <a:gd name="connsiteY92" fmla="*/ 5513 h 10003"/>
                <a:gd name="connsiteX93" fmla="*/ 9373 w 9974"/>
                <a:gd name="connsiteY93" fmla="*/ 5326 h 10003"/>
                <a:gd name="connsiteX94" fmla="*/ 9281 w 9974"/>
                <a:gd name="connsiteY94" fmla="*/ 5139 h 10003"/>
                <a:gd name="connsiteX95" fmla="*/ 9190 w 9974"/>
                <a:gd name="connsiteY95" fmla="*/ 4958 h 10003"/>
                <a:gd name="connsiteX96" fmla="*/ 9098 w 9974"/>
                <a:gd name="connsiteY96" fmla="*/ 4776 h 10003"/>
                <a:gd name="connsiteX97" fmla="*/ 8994 w 9974"/>
                <a:gd name="connsiteY97" fmla="*/ 4599 h 10003"/>
                <a:gd name="connsiteX98" fmla="*/ 8889 w 9974"/>
                <a:gd name="connsiteY98" fmla="*/ 4423 h 10003"/>
                <a:gd name="connsiteX99" fmla="*/ 8778 w 9974"/>
                <a:gd name="connsiteY99" fmla="*/ 4247 h 10003"/>
                <a:gd name="connsiteX100" fmla="*/ 8660 w 9974"/>
                <a:gd name="connsiteY100" fmla="*/ 4076 h 10003"/>
                <a:gd name="connsiteX101" fmla="*/ 8536 w 9974"/>
                <a:gd name="connsiteY101" fmla="*/ 3910 h 10003"/>
                <a:gd name="connsiteX102" fmla="*/ 8412 w 9974"/>
                <a:gd name="connsiteY102" fmla="*/ 3744 h 10003"/>
                <a:gd name="connsiteX103" fmla="*/ 8281 w 9974"/>
                <a:gd name="connsiteY103" fmla="*/ 3579 h 10003"/>
                <a:gd name="connsiteX104" fmla="*/ 8144 w 9974"/>
                <a:gd name="connsiteY104" fmla="*/ 3418 h 10003"/>
                <a:gd name="connsiteX105" fmla="*/ 8000 w 9974"/>
                <a:gd name="connsiteY105" fmla="*/ 3263 h 10003"/>
                <a:gd name="connsiteX106" fmla="*/ 7856 w 9974"/>
                <a:gd name="connsiteY106" fmla="*/ 3108 h 10003"/>
                <a:gd name="connsiteX107" fmla="*/ 7706 w 9974"/>
                <a:gd name="connsiteY107" fmla="*/ 2953 h 10003"/>
                <a:gd name="connsiteX108" fmla="*/ 7556 w 9974"/>
                <a:gd name="connsiteY108" fmla="*/ 2809 h 10003"/>
                <a:gd name="connsiteX109" fmla="*/ 7392 w 9974"/>
                <a:gd name="connsiteY109" fmla="*/ 2665 h 10003"/>
                <a:gd name="connsiteX110" fmla="*/ 7235 w 9974"/>
                <a:gd name="connsiteY110" fmla="*/ 2520 h 10003"/>
                <a:gd name="connsiteX111" fmla="*/ 7066 w 9974"/>
                <a:gd name="connsiteY111" fmla="*/ 2376 h 10003"/>
                <a:gd name="connsiteX112" fmla="*/ 6896 w 9974"/>
                <a:gd name="connsiteY112" fmla="*/ 2242 h 10003"/>
                <a:gd name="connsiteX113" fmla="*/ 6726 w 9974"/>
                <a:gd name="connsiteY113" fmla="*/ 2109 h 10003"/>
                <a:gd name="connsiteX114" fmla="*/ 6543 w 9974"/>
                <a:gd name="connsiteY114" fmla="*/ 1981 h 10003"/>
                <a:gd name="connsiteX115" fmla="*/ 6360 w 9974"/>
                <a:gd name="connsiteY115" fmla="*/ 1858 h 10003"/>
                <a:gd name="connsiteX116" fmla="*/ 6177 w 9974"/>
                <a:gd name="connsiteY116" fmla="*/ 1735 h 10003"/>
                <a:gd name="connsiteX117" fmla="*/ 5987 w 9974"/>
                <a:gd name="connsiteY117" fmla="*/ 1617 h 10003"/>
                <a:gd name="connsiteX118" fmla="*/ 5791 w 9974"/>
                <a:gd name="connsiteY118" fmla="*/ 1500 h 10003"/>
                <a:gd name="connsiteX119" fmla="*/ 5595 w 9974"/>
                <a:gd name="connsiteY119" fmla="*/ 1387 h 10003"/>
                <a:gd name="connsiteX120" fmla="*/ 5399 w 9974"/>
                <a:gd name="connsiteY120" fmla="*/ 1280 h 10003"/>
                <a:gd name="connsiteX121" fmla="*/ 5196 w 9974"/>
                <a:gd name="connsiteY121" fmla="*/ 1179 h 10003"/>
                <a:gd name="connsiteX122" fmla="*/ 4994 w 9974"/>
                <a:gd name="connsiteY122" fmla="*/ 1077 h 10003"/>
                <a:gd name="connsiteX123" fmla="*/ 4778 w 9974"/>
                <a:gd name="connsiteY123" fmla="*/ 981 h 10003"/>
                <a:gd name="connsiteX124" fmla="*/ 4569 w 9974"/>
                <a:gd name="connsiteY124" fmla="*/ 890 h 10003"/>
                <a:gd name="connsiteX125" fmla="*/ 4353 w 9974"/>
                <a:gd name="connsiteY125" fmla="*/ 805 h 10003"/>
                <a:gd name="connsiteX126" fmla="*/ 4131 w 9974"/>
                <a:gd name="connsiteY126" fmla="*/ 719 h 10003"/>
                <a:gd name="connsiteX127" fmla="*/ 3915 w 9974"/>
                <a:gd name="connsiteY127" fmla="*/ 639 h 10003"/>
                <a:gd name="connsiteX128" fmla="*/ 3693 w 9974"/>
                <a:gd name="connsiteY128" fmla="*/ 570 h 10003"/>
                <a:gd name="connsiteX129" fmla="*/ 3464 w 9974"/>
                <a:gd name="connsiteY129" fmla="*/ 495 h 10003"/>
                <a:gd name="connsiteX130" fmla="*/ 3235 w 9974"/>
                <a:gd name="connsiteY130" fmla="*/ 431 h 10003"/>
                <a:gd name="connsiteX131" fmla="*/ 3000 w 9974"/>
                <a:gd name="connsiteY131" fmla="*/ 366 h 10003"/>
                <a:gd name="connsiteX132" fmla="*/ 2771 w 9974"/>
                <a:gd name="connsiteY132" fmla="*/ 313 h 10003"/>
                <a:gd name="connsiteX133" fmla="*/ 2530 w 9974"/>
                <a:gd name="connsiteY133" fmla="*/ 260 h 10003"/>
                <a:gd name="connsiteX134" fmla="*/ 2288 w 9974"/>
                <a:gd name="connsiteY134" fmla="*/ 211 h 10003"/>
                <a:gd name="connsiteX135" fmla="*/ 2052 w 9974"/>
                <a:gd name="connsiteY135" fmla="*/ 169 h 10003"/>
                <a:gd name="connsiteX136" fmla="*/ 1811 w 9974"/>
                <a:gd name="connsiteY136" fmla="*/ 131 h 10003"/>
                <a:gd name="connsiteX137" fmla="*/ 1562 w 9974"/>
                <a:gd name="connsiteY137" fmla="*/ 94 h 10003"/>
                <a:gd name="connsiteX138" fmla="*/ 1314 w 9974"/>
                <a:gd name="connsiteY138" fmla="*/ 67 h 10003"/>
                <a:gd name="connsiteX139" fmla="*/ 1066 w 9974"/>
                <a:gd name="connsiteY139" fmla="*/ 46 h 10003"/>
                <a:gd name="connsiteX140" fmla="*/ 817 w 9974"/>
                <a:gd name="connsiteY140" fmla="*/ 30 h 10003"/>
                <a:gd name="connsiteX141" fmla="*/ 562 w 9974"/>
                <a:gd name="connsiteY141" fmla="*/ 14 h 10003"/>
                <a:gd name="connsiteX142" fmla="*/ 307 w 9974"/>
                <a:gd name="connsiteY142" fmla="*/ 8 h 10003"/>
                <a:gd name="connsiteX143" fmla="*/ 52 w 9974"/>
                <a:gd name="connsiteY143" fmla="*/ 3 h 10003"/>
                <a:gd name="connsiteX144" fmla="*/ 13 w 9974"/>
                <a:gd name="connsiteY144" fmla="*/ 0 h 10003"/>
                <a:gd name="connsiteX145" fmla="*/ 1219 w 9974"/>
                <a:gd name="connsiteY145" fmla="*/ 2446 h 10003"/>
                <a:gd name="connsiteX146" fmla="*/ 0 w 9974"/>
                <a:gd name="connsiteY146" fmla="*/ 4771 h 10003"/>
                <a:gd name="connsiteX0" fmla="*/ 0 w 9990"/>
                <a:gd name="connsiteY0" fmla="*/ 4770 h 10000"/>
                <a:gd name="connsiteX1" fmla="*/ 23 w 9990"/>
                <a:gd name="connsiteY1" fmla="*/ 4764 h 10000"/>
                <a:gd name="connsiteX2" fmla="*/ 127 w 9990"/>
                <a:gd name="connsiteY2" fmla="*/ 4764 h 10000"/>
                <a:gd name="connsiteX3" fmla="*/ 233 w 9990"/>
                <a:gd name="connsiteY3" fmla="*/ 4770 h 10000"/>
                <a:gd name="connsiteX4" fmla="*/ 338 w 9990"/>
                <a:gd name="connsiteY4" fmla="*/ 4775 h 10000"/>
                <a:gd name="connsiteX5" fmla="*/ 442 w 9990"/>
                <a:gd name="connsiteY5" fmla="*/ 4780 h 10000"/>
                <a:gd name="connsiteX6" fmla="*/ 547 w 9990"/>
                <a:gd name="connsiteY6" fmla="*/ 4796 h 10000"/>
                <a:gd name="connsiteX7" fmla="*/ 652 w 9990"/>
                <a:gd name="connsiteY7" fmla="*/ 4807 h 10000"/>
                <a:gd name="connsiteX8" fmla="*/ 750 w 9990"/>
                <a:gd name="connsiteY8" fmla="*/ 4818 h 10000"/>
                <a:gd name="connsiteX9" fmla="*/ 848 w 9990"/>
                <a:gd name="connsiteY9" fmla="*/ 4834 h 10000"/>
                <a:gd name="connsiteX10" fmla="*/ 954 w 9990"/>
                <a:gd name="connsiteY10" fmla="*/ 4850 h 10000"/>
                <a:gd name="connsiteX11" fmla="*/ 1052 w 9990"/>
                <a:gd name="connsiteY11" fmla="*/ 4871 h 10000"/>
                <a:gd name="connsiteX12" fmla="*/ 1150 w 9990"/>
                <a:gd name="connsiteY12" fmla="*/ 4892 h 10000"/>
                <a:gd name="connsiteX13" fmla="*/ 1248 w 9990"/>
                <a:gd name="connsiteY13" fmla="*/ 4914 h 10000"/>
                <a:gd name="connsiteX14" fmla="*/ 1341 w 9990"/>
                <a:gd name="connsiteY14" fmla="*/ 4941 h 10000"/>
                <a:gd name="connsiteX15" fmla="*/ 1439 w 9990"/>
                <a:gd name="connsiteY15" fmla="*/ 4967 h 10000"/>
                <a:gd name="connsiteX16" fmla="*/ 1530 w 9990"/>
                <a:gd name="connsiteY16" fmla="*/ 4999 h 10000"/>
                <a:gd name="connsiteX17" fmla="*/ 1622 w 9990"/>
                <a:gd name="connsiteY17" fmla="*/ 5030 h 10000"/>
                <a:gd name="connsiteX18" fmla="*/ 1713 w 9990"/>
                <a:gd name="connsiteY18" fmla="*/ 5062 h 10000"/>
                <a:gd name="connsiteX19" fmla="*/ 1806 w 9990"/>
                <a:gd name="connsiteY19" fmla="*/ 5095 h 10000"/>
                <a:gd name="connsiteX20" fmla="*/ 1897 w 9990"/>
                <a:gd name="connsiteY20" fmla="*/ 5132 h 10000"/>
                <a:gd name="connsiteX21" fmla="*/ 1989 w 9990"/>
                <a:gd name="connsiteY21" fmla="*/ 5169 h 10000"/>
                <a:gd name="connsiteX22" fmla="*/ 2074 w 9990"/>
                <a:gd name="connsiteY22" fmla="*/ 5212 h 10000"/>
                <a:gd name="connsiteX23" fmla="*/ 2160 w 9990"/>
                <a:gd name="connsiteY23" fmla="*/ 5250 h 10000"/>
                <a:gd name="connsiteX24" fmla="*/ 2245 w 9990"/>
                <a:gd name="connsiteY24" fmla="*/ 5292 h 10000"/>
                <a:gd name="connsiteX25" fmla="*/ 2323 w 9990"/>
                <a:gd name="connsiteY25" fmla="*/ 5335 h 10000"/>
                <a:gd name="connsiteX26" fmla="*/ 2408 w 9990"/>
                <a:gd name="connsiteY26" fmla="*/ 5383 h 10000"/>
                <a:gd name="connsiteX27" fmla="*/ 2486 w 9990"/>
                <a:gd name="connsiteY27" fmla="*/ 5431 h 10000"/>
                <a:gd name="connsiteX28" fmla="*/ 2566 w 9990"/>
                <a:gd name="connsiteY28" fmla="*/ 5479 h 10000"/>
                <a:gd name="connsiteX29" fmla="*/ 2644 w 9990"/>
                <a:gd name="connsiteY29" fmla="*/ 5527 h 10000"/>
                <a:gd name="connsiteX30" fmla="*/ 2723 w 9990"/>
                <a:gd name="connsiteY30" fmla="*/ 5581 h 10000"/>
                <a:gd name="connsiteX31" fmla="*/ 2795 w 9990"/>
                <a:gd name="connsiteY31" fmla="*/ 5634 h 10000"/>
                <a:gd name="connsiteX32" fmla="*/ 2866 w 9990"/>
                <a:gd name="connsiteY32" fmla="*/ 5688 h 10000"/>
                <a:gd name="connsiteX33" fmla="*/ 2939 w 9990"/>
                <a:gd name="connsiteY33" fmla="*/ 5747 h 10000"/>
                <a:gd name="connsiteX34" fmla="*/ 3005 w 9990"/>
                <a:gd name="connsiteY34" fmla="*/ 5805 h 10000"/>
                <a:gd name="connsiteX35" fmla="*/ 3077 w 9990"/>
                <a:gd name="connsiteY35" fmla="*/ 5864 h 10000"/>
                <a:gd name="connsiteX36" fmla="*/ 3142 w 9990"/>
                <a:gd name="connsiteY36" fmla="*/ 5923 h 10000"/>
                <a:gd name="connsiteX37" fmla="*/ 3201 w 9990"/>
                <a:gd name="connsiteY37" fmla="*/ 5987 h 10000"/>
                <a:gd name="connsiteX38" fmla="*/ 3267 w 9990"/>
                <a:gd name="connsiteY38" fmla="*/ 6046 h 10000"/>
                <a:gd name="connsiteX39" fmla="*/ 3326 w 9990"/>
                <a:gd name="connsiteY39" fmla="*/ 6110 h 10000"/>
                <a:gd name="connsiteX40" fmla="*/ 3385 w 9990"/>
                <a:gd name="connsiteY40" fmla="*/ 6174 h 10000"/>
                <a:gd name="connsiteX41" fmla="*/ 3444 w 9990"/>
                <a:gd name="connsiteY41" fmla="*/ 6238 h 10000"/>
                <a:gd name="connsiteX42" fmla="*/ 3496 w 9990"/>
                <a:gd name="connsiteY42" fmla="*/ 6308 h 10000"/>
                <a:gd name="connsiteX43" fmla="*/ 3548 w 9990"/>
                <a:gd name="connsiteY43" fmla="*/ 6377 h 10000"/>
                <a:gd name="connsiteX44" fmla="*/ 3600 w 9990"/>
                <a:gd name="connsiteY44" fmla="*/ 6447 h 10000"/>
                <a:gd name="connsiteX45" fmla="*/ 3654 w 9990"/>
                <a:gd name="connsiteY45" fmla="*/ 6516 h 10000"/>
                <a:gd name="connsiteX46" fmla="*/ 3693 w 9990"/>
                <a:gd name="connsiteY46" fmla="*/ 6591 h 10000"/>
                <a:gd name="connsiteX47" fmla="*/ 3745 w 9990"/>
                <a:gd name="connsiteY47" fmla="*/ 6666 h 10000"/>
                <a:gd name="connsiteX48" fmla="*/ 3784 w 9990"/>
                <a:gd name="connsiteY48" fmla="*/ 6735 h 10000"/>
                <a:gd name="connsiteX49" fmla="*/ 3824 w 9990"/>
                <a:gd name="connsiteY49" fmla="*/ 6810 h 10000"/>
                <a:gd name="connsiteX50" fmla="*/ 3863 w 9990"/>
                <a:gd name="connsiteY50" fmla="*/ 6885 h 10000"/>
                <a:gd name="connsiteX51" fmla="*/ 3896 w 9990"/>
                <a:gd name="connsiteY51" fmla="*/ 6960 h 10000"/>
                <a:gd name="connsiteX52" fmla="*/ 3928 w 9990"/>
                <a:gd name="connsiteY52" fmla="*/ 7040 h 10000"/>
                <a:gd name="connsiteX53" fmla="*/ 3961 w 9990"/>
                <a:gd name="connsiteY53" fmla="*/ 7120 h 10000"/>
                <a:gd name="connsiteX54" fmla="*/ 3994 w 9990"/>
                <a:gd name="connsiteY54" fmla="*/ 7195 h 10000"/>
                <a:gd name="connsiteX55" fmla="*/ 4020 w 9990"/>
                <a:gd name="connsiteY55" fmla="*/ 7275 h 10000"/>
                <a:gd name="connsiteX56" fmla="*/ 4040 w 9990"/>
                <a:gd name="connsiteY56" fmla="*/ 7355 h 10000"/>
                <a:gd name="connsiteX57" fmla="*/ 4067 w 9990"/>
                <a:gd name="connsiteY57" fmla="*/ 7441 h 10000"/>
                <a:gd name="connsiteX58" fmla="*/ 4086 w 9990"/>
                <a:gd name="connsiteY58" fmla="*/ 7521 h 10000"/>
                <a:gd name="connsiteX59" fmla="*/ 4106 w 9990"/>
                <a:gd name="connsiteY59" fmla="*/ 7601 h 10000"/>
                <a:gd name="connsiteX60" fmla="*/ 4119 w 9990"/>
                <a:gd name="connsiteY60" fmla="*/ 7687 h 10000"/>
                <a:gd name="connsiteX61" fmla="*/ 4132 w 9990"/>
                <a:gd name="connsiteY61" fmla="*/ 7772 h 10000"/>
                <a:gd name="connsiteX62" fmla="*/ 4138 w 9990"/>
                <a:gd name="connsiteY62" fmla="*/ 7858 h 10000"/>
                <a:gd name="connsiteX63" fmla="*/ 4145 w 9990"/>
                <a:gd name="connsiteY63" fmla="*/ 7943 h 10000"/>
                <a:gd name="connsiteX64" fmla="*/ 4145 w 9990"/>
                <a:gd name="connsiteY64" fmla="*/ 8029 h 10000"/>
                <a:gd name="connsiteX65" fmla="*/ 4151 w 9990"/>
                <a:gd name="connsiteY65" fmla="*/ 8114 h 10000"/>
                <a:gd name="connsiteX66" fmla="*/ 4145 w 9990"/>
                <a:gd name="connsiteY66" fmla="*/ 8227 h 10000"/>
                <a:gd name="connsiteX67" fmla="*/ 4138 w 9990"/>
                <a:gd name="connsiteY67" fmla="*/ 8343 h 10000"/>
                <a:gd name="connsiteX68" fmla="*/ 4132 w 9990"/>
                <a:gd name="connsiteY68" fmla="*/ 8450 h 10000"/>
                <a:gd name="connsiteX69" fmla="*/ 4112 w 9990"/>
                <a:gd name="connsiteY69" fmla="*/ 8562 h 10000"/>
                <a:gd name="connsiteX70" fmla="*/ 6720 w 9990"/>
                <a:gd name="connsiteY70" fmla="*/ 10000 h 10000"/>
                <a:gd name="connsiteX71" fmla="*/ 9840 w 9990"/>
                <a:gd name="connsiteY71" fmla="*/ 9498 h 10000"/>
                <a:gd name="connsiteX72" fmla="*/ 9879 w 9990"/>
                <a:gd name="connsiteY72" fmla="*/ 9332 h 10000"/>
                <a:gd name="connsiteX73" fmla="*/ 9905 w 9990"/>
                <a:gd name="connsiteY73" fmla="*/ 9161 h 10000"/>
                <a:gd name="connsiteX74" fmla="*/ 9931 w 9990"/>
                <a:gd name="connsiteY74" fmla="*/ 8990 h 10000"/>
                <a:gd name="connsiteX75" fmla="*/ 9951 w 9990"/>
                <a:gd name="connsiteY75" fmla="*/ 8813 h 10000"/>
                <a:gd name="connsiteX76" fmla="*/ 9964 w 9990"/>
                <a:gd name="connsiteY76" fmla="*/ 8637 h 10000"/>
                <a:gd name="connsiteX77" fmla="*/ 9977 w 9990"/>
                <a:gd name="connsiteY77" fmla="*/ 8466 h 10000"/>
                <a:gd name="connsiteX78" fmla="*/ 9983 w 9990"/>
                <a:gd name="connsiteY78" fmla="*/ 8291 h 10000"/>
                <a:gd name="connsiteX79" fmla="*/ 9990 w 9990"/>
                <a:gd name="connsiteY79" fmla="*/ 8114 h 10000"/>
                <a:gd name="connsiteX80" fmla="*/ 9983 w 9990"/>
                <a:gd name="connsiteY80" fmla="*/ 7901 h 10000"/>
                <a:gd name="connsiteX81" fmla="*/ 9977 w 9990"/>
                <a:gd name="connsiteY81" fmla="*/ 7697 h 10000"/>
                <a:gd name="connsiteX82" fmla="*/ 9957 w 9990"/>
                <a:gd name="connsiteY82" fmla="*/ 7489 h 10000"/>
                <a:gd name="connsiteX83" fmla="*/ 9938 w 9990"/>
                <a:gd name="connsiteY83" fmla="*/ 7286 h 10000"/>
                <a:gd name="connsiteX84" fmla="*/ 9905 w 9990"/>
                <a:gd name="connsiteY84" fmla="*/ 7077 h 10000"/>
                <a:gd name="connsiteX85" fmla="*/ 9872 w 9990"/>
                <a:gd name="connsiteY85" fmla="*/ 6880 h 10000"/>
                <a:gd name="connsiteX86" fmla="*/ 9833 w 9990"/>
                <a:gd name="connsiteY86" fmla="*/ 6677 h 10000"/>
                <a:gd name="connsiteX87" fmla="*/ 9786 w 9990"/>
                <a:gd name="connsiteY87" fmla="*/ 6479 h 10000"/>
                <a:gd name="connsiteX88" fmla="*/ 9734 w 9990"/>
                <a:gd name="connsiteY88" fmla="*/ 6281 h 10000"/>
                <a:gd name="connsiteX89" fmla="*/ 9675 w 9990"/>
                <a:gd name="connsiteY89" fmla="*/ 6089 h 10000"/>
                <a:gd name="connsiteX90" fmla="*/ 9610 w 9990"/>
                <a:gd name="connsiteY90" fmla="*/ 5891 h 10000"/>
                <a:gd name="connsiteX91" fmla="*/ 9545 w 9990"/>
                <a:gd name="connsiteY91" fmla="*/ 5698 h 10000"/>
                <a:gd name="connsiteX92" fmla="*/ 9466 w 9990"/>
                <a:gd name="connsiteY92" fmla="*/ 5511 h 10000"/>
                <a:gd name="connsiteX93" fmla="*/ 9387 w 9990"/>
                <a:gd name="connsiteY93" fmla="*/ 5324 h 10000"/>
                <a:gd name="connsiteX94" fmla="*/ 9295 w 9990"/>
                <a:gd name="connsiteY94" fmla="*/ 5137 h 10000"/>
                <a:gd name="connsiteX95" fmla="*/ 9204 w 9990"/>
                <a:gd name="connsiteY95" fmla="*/ 4957 h 10000"/>
                <a:gd name="connsiteX96" fmla="*/ 9112 w 9990"/>
                <a:gd name="connsiteY96" fmla="*/ 4775 h 10000"/>
                <a:gd name="connsiteX97" fmla="*/ 9007 w 9990"/>
                <a:gd name="connsiteY97" fmla="*/ 4598 h 10000"/>
                <a:gd name="connsiteX98" fmla="*/ 8902 w 9990"/>
                <a:gd name="connsiteY98" fmla="*/ 4422 h 10000"/>
                <a:gd name="connsiteX99" fmla="*/ 8791 w 9990"/>
                <a:gd name="connsiteY99" fmla="*/ 4246 h 10000"/>
                <a:gd name="connsiteX100" fmla="*/ 8673 w 9990"/>
                <a:gd name="connsiteY100" fmla="*/ 4075 h 10000"/>
                <a:gd name="connsiteX101" fmla="*/ 8548 w 9990"/>
                <a:gd name="connsiteY101" fmla="*/ 3909 h 10000"/>
                <a:gd name="connsiteX102" fmla="*/ 8424 w 9990"/>
                <a:gd name="connsiteY102" fmla="*/ 3743 h 10000"/>
                <a:gd name="connsiteX103" fmla="*/ 8293 w 9990"/>
                <a:gd name="connsiteY103" fmla="*/ 3578 h 10000"/>
                <a:gd name="connsiteX104" fmla="*/ 8155 w 9990"/>
                <a:gd name="connsiteY104" fmla="*/ 3417 h 10000"/>
                <a:gd name="connsiteX105" fmla="*/ 8011 w 9990"/>
                <a:gd name="connsiteY105" fmla="*/ 3262 h 10000"/>
                <a:gd name="connsiteX106" fmla="*/ 7866 w 9990"/>
                <a:gd name="connsiteY106" fmla="*/ 3107 h 10000"/>
                <a:gd name="connsiteX107" fmla="*/ 7716 w 9990"/>
                <a:gd name="connsiteY107" fmla="*/ 2952 h 10000"/>
                <a:gd name="connsiteX108" fmla="*/ 7566 w 9990"/>
                <a:gd name="connsiteY108" fmla="*/ 2808 h 10000"/>
                <a:gd name="connsiteX109" fmla="*/ 7401 w 9990"/>
                <a:gd name="connsiteY109" fmla="*/ 2664 h 10000"/>
                <a:gd name="connsiteX110" fmla="*/ 7244 w 9990"/>
                <a:gd name="connsiteY110" fmla="*/ 2519 h 10000"/>
                <a:gd name="connsiteX111" fmla="*/ 7074 w 9990"/>
                <a:gd name="connsiteY111" fmla="*/ 2375 h 10000"/>
                <a:gd name="connsiteX112" fmla="*/ 6904 w 9990"/>
                <a:gd name="connsiteY112" fmla="*/ 2241 h 10000"/>
                <a:gd name="connsiteX113" fmla="*/ 6734 w 9990"/>
                <a:gd name="connsiteY113" fmla="*/ 2108 h 10000"/>
                <a:gd name="connsiteX114" fmla="*/ 6550 w 9990"/>
                <a:gd name="connsiteY114" fmla="*/ 1980 h 10000"/>
                <a:gd name="connsiteX115" fmla="*/ 6367 w 9990"/>
                <a:gd name="connsiteY115" fmla="*/ 1857 h 10000"/>
                <a:gd name="connsiteX116" fmla="*/ 6183 w 9990"/>
                <a:gd name="connsiteY116" fmla="*/ 1734 h 10000"/>
                <a:gd name="connsiteX117" fmla="*/ 5993 w 9990"/>
                <a:gd name="connsiteY117" fmla="*/ 1617 h 10000"/>
                <a:gd name="connsiteX118" fmla="*/ 5796 w 9990"/>
                <a:gd name="connsiteY118" fmla="*/ 1500 h 10000"/>
                <a:gd name="connsiteX119" fmla="*/ 5600 w 9990"/>
                <a:gd name="connsiteY119" fmla="*/ 1387 h 10000"/>
                <a:gd name="connsiteX120" fmla="*/ 5403 w 9990"/>
                <a:gd name="connsiteY120" fmla="*/ 1280 h 10000"/>
                <a:gd name="connsiteX121" fmla="*/ 5200 w 9990"/>
                <a:gd name="connsiteY121" fmla="*/ 1179 h 10000"/>
                <a:gd name="connsiteX122" fmla="*/ 4997 w 9990"/>
                <a:gd name="connsiteY122" fmla="*/ 1077 h 10000"/>
                <a:gd name="connsiteX123" fmla="*/ 4780 w 9990"/>
                <a:gd name="connsiteY123" fmla="*/ 981 h 10000"/>
                <a:gd name="connsiteX124" fmla="*/ 4571 w 9990"/>
                <a:gd name="connsiteY124" fmla="*/ 890 h 10000"/>
                <a:gd name="connsiteX125" fmla="*/ 4354 w 9990"/>
                <a:gd name="connsiteY125" fmla="*/ 805 h 10000"/>
                <a:gd name="connsiteX126" fmla="*/ 4132 w 9990"/>
                <a:gd name="connsiteY126" fmla="*/ 719 h 10000"/>
                <a:gd name="connsiteX127" fmla="*/ 3915 w 9990"/>
                <a:gd name="connsiteY127" fmla="*/ 639 h 10000"/>
                <a:gd name="connsiteX128" fmla="*/ 3693 w 9990"/>
                <a:gd name="connsiteY128" fmla="*/ 570 h 10000"/>
                <a:gd name="connsiteX129" fmla="*/ 3463 w 9990"/>
                <a:gd name="connsiteY129" fmla="*/ 495 h 10000"/>
                <a:gd name="connsiteX130" fmla="*/ 3233 w 9990"/>
                <a:gd name="connsiteY130" fmla="*/ 431 h 10000"/>
                <a:gd name="connsiteX131" fmla="*/ 2998 w 9990"/>
                <a:gd name="connsiteY131" fmla="*/ 366 h 10000"/>
                <a:gd name="connsiteX132" fmla="*/ 2768 w 9990"/>
                <a:gd name="connsiteY132" fmla="*/ 313 h 10000"/>
                <a:gd name="connsiteX133" fmla="*/ 2527 w 9990"/>
                <a:gd name="connsiteY133" fmla="*/ 260 h 10000"/>
                <a:gd name="connsiteX134" fmla="*/ 2284 w 9990"/>
                <a:gd name="connsiteY134" fmla="*/ 211 h 10000"/>
                <a:gd name="connsiteX135" fmla="*/ 2047 w 9990"/>
                <a:gd name="connsiteY135" fmla="*/ 169 h 10000"/>
                <a:gd name="connsiteX136" fmla="*/ 1806 w 9990"/>
                <a:gd name="connsiteY136" fmla="*/ 131 h 10000"/>
                <a:gd name="connsiteX137" fmla="*/ 1556 w 9990"/>
                <a:gd name="connsiteY137" fmla="*/ 94 h 10000"/>
                <a:gd name="connsiteX138" fmla="*/ 1307 w 9990"/>
                <a:gd name="connsiteY138" fmla="*/ 67 h 10000"/>
                <a:gd name="connsiteX139" fmla="*/ 1059 w 9990"/>
                <a:gd name="connsiteY139" fmla="*/ 46 h 10000"/>
                <a:gd name="connsiteX140" fmla="*/ 809 w 9990"/>
                <a:gd name="connsiteY140" fmla="*/ 30 h 10000"/>
                <a:gd name="connsiteX141" fmla="*/ 553 w 9990"/>
                <a:gd name="connsiteY141" fmla="*/ 14 h 10000"/>
                <a:gd name="connsiteX142" fmla="*/ 298 w 9990"/>
                <a:gd name="connsiteY142" fmla="*/ 8 h 10000"/>
                <a:gd name="connsiteX143" fmla="*/ 42 w 9990"/>
                <a:gd name="connsiteY143" fmla="*/ 3 h 10000"/>
                <a:gd name="connsiteX144" fmla="*/ 3 w 9990"/>
                <a:gd name="connsiteY144" fmla="*/ 0 h 10000"/>
                <a:gd name="connsiteX145" fmla="*/ 1212 w 9990"/>
                <a:gd name="connsiteY145" fmla="*/ 2445 h 10000"/>
                <a:gd name="connsiteX146" fmla="*/ 0 w 9990"/>
                <a:gd name="connsiteY146" fmla="*/ 4770 h 10000"/>
                <a:gd name="connsiteX0" fmla="*/ 7 w 9997"/>
                <a:gd name="connsiteY0" fmla="*/ 4770 h 10000"/>
                <a:gd name="connsiteX1" fmla="*/ 20 w 9997"/>
                <a:gd name="connsiteY1" fmla="*/ 4764 h 10000"/>
                <a:gd name="connsiteX2" fmla="*/ 124 w 9997"/>
                <a:gd name="connsiteY2" fmla="*/ 4764 h 10000"/>
                <a:gd name="connsiteX3" fmla="*/ 230 w 9997"/>
                <a:gd name="connsiteY3" fmla="*/ 4770 h 10000"/>
                <a:gd name="connsiteX4" fmla="*/ 335 w 9997"/>
                <a:gd name="connsiteY4" fmla="*/ 4775 h 10000"/>
                <a:gd name="connsiteX5" fmla="*/ 439 w 9997"/>
                <a:gd name="connsiteY5" fmla="*/ 4780 h 10000"/>
                <a:gd name="connsiteX6" fmla="*/ 545 w 9997"/>
                <a:gd name="connsiteY6" fmla="*/ 4796 h 10000"/>
                <a:gd name="connsiteX7" fmla="*/ 650 w 9997"/>
                <a:gd name="connsiteY7" fmla="*/ 4807 h 10000"/>
                <a:gd name="connsiteX8" fmla="*/ 748 w 9997"/>
                <a:gd name="connsiteY8" fmla="*/ 4818 h 10000"/>
                <a:gd name="connsiteX9" fmla="*/ 846 w 9997"/>
                <a:gd name="connsiteY9" fmla="*/ 4834 h 10000"/>
                <a:gd name="connsiteX10" fmla="*/ 952 w 9997"/>
                <a:gd name="connsiteY10" fmla="*/ 4850 h 10000"/>
                <a:gd name="connsiteX11" fmla="*/ 1050 w 9997"/>
                <a:gd name="connsiteY11" fmla="*/ 4871 h 10000"/>
                <a:gd name="connsiteX12" fmla="*/ 1148 w 9997"/>
                <a:gd name="connsiteY12" fmla="*/ 4892 h 10000"/>
                <a:gd name="connsiteX13" fmla="*/ 1246 w 9997"/>
                <a:gd name="connsiteY13" fmla="*/ 4914 h 10000"/>
                <a:gd name="connsiteX14" fmla="*/ 1339 w 9997"/>
                <a:gd name="connsiteY14" fmla="*/ 4941 h 10000"/>
                <a:gd name="connsiteX15" fmla="*/ 1437 w 9997"/>
                <a:gd name="connsiteY15" fmla="*/ 4967 h 10000"/>
                <a:gd name="connsiteX16" fmla="*/ 1529 w 9997"/>
                <a:gd name="connsiteY16" fmla="*/ 4999 h 10000"/>
                <a:gd name="connsiteX17" fmla="*/ 1621 w 9997"/>
                <a:gd name="connsiteY17" fmla="*/ 5030 h 10000"/>
                <a:gd name="connsiteX18" fmla="*/ 1712 w 9997"/>
                <a:gd name="connsiteY18" fmla="*/ 5062 h 10000"/>
                <a:gd name="connsiteX19" fmla="*/ 1805 w 9997"/>
                <a:gd name="connsiteY19" fmla="*/ 5095 h 10000"/>
                <a:gd name="connsiteX20" fmla="*/ 1896 w 9997"/>
                <a:gd name="connsiteY20" fmla="*/ 5132 h 10000"/>
                <a:gd name="connsiteX21" fmla="*/ 1988 w 9997"/>
                <a:gd name="connsiteY21" fmla="*/ 5169 h 10000"/>
                <a:gd name="connsiteX22" fmla="*/ 2073 w 9997"/>
                <a:gd name="connsiteY22" fmla="*/ 5212 h 10000"/>
                <a:gd name="connsiteX23" fmla="*/ 2159 w 9997"/>
                <a:gd name="connsiteY23" fmla="*/ 5250 h 10000"/>
                <a:gd name="connsiteX24" fmla="*/ 2244 w 9997"/>
                <a:gd name="connsiteY24" fmla="*/ 5292 h 10000"/>
                <a:gd name="connsiteX25" fmla="*/ 2322 w 9997"/>
                <a:gd name="connsiteY25" fmla="*/ 5335 h 10000"/>
                <a:gd name="connsiteX26" fmla="*/ 2407 w 9997"/>
                <a:gd name="connsiteY26" fmla="*/ 5383 h 10000"/>
                <a:gd name="connsiteX27" fmla="*/ 2485 w 9997"/>
                <a:gd name="connsiteY27" fmla="*/ 5431 h 10000"/>
                <a:gd name="connsiteX28" fmla="*/ 2566 w 9997"/>
                <a:gd name="connsiteY28" fmla="*/ 5479 h 10000"/>
                <a:gd name="connsiteX29" fmla="*/ 2644 w 9997"/>
                <a:gd name="connsiteY29" fmla="*/ 5527 h 10000"/>
                <a:gd name="connsiteX30" fmla="*/ 2723 w 9997"/>
                <a:gd name="connsiteY30" fmla="*/ 5581 h 10000"/>
                <a:gd name="connsiteX31" fmla="*/ 2795 w 9997"/>
                <a:gd name="connsiteY31" fmla="*/ 5634 h 10000"/>
                <a:gd name="connsiteX32" fmla="*/ 2866 w 9997"/>
                <a:gd name="connsiteY32" fmla="*/ 5688 h 10000"/>
                <a:gd name="connsiteX33" fmla="*/ 2939 w 9997"/>
                <a:gd name="connsiteY33" fmla="*/ 5747 h 10000"/>
                <a:gd name="connsiteX34" fmla="*/ 3005 w 9997"/>
                <a:gd name="connsiteY34" fmla="*/ 5805 h 10000"/>
                <a:gd name="connsiteX35" fmla="*/ 3077 w 9997"/>
                <a:gd name="connsiteY35" fmla="*/ 5864 h 10000"/>
                <a:gd name="connsiteX36" fmla="*/ 3142 w 9997"/>
                <a:gd name="connsiteY36" fmla="*/ 5923 h 10000"/>
                <a:gd name="connsiteX37" fmla="*/ 3201 w 9997"/>
                <a:gd name="connsiteY37" fmla="*/ 5987 h 10000"/>
                <a:gd name="connsiteX38" fmla="*/ 3267 w 9997"/>
                <a:gd name="connsiteY38" fmla="*/ 6046 h 10000"/>
                <a:gd name="connsiteX39" fmla="*/ 3326 w 9997"/>
                <a:gd name="connsiteY39" fmla="*/ 6110 h 10000"/>
                <a:gd name="connsiteX40" fmla="*/ 3385 w 9997"/>
                <a:gd name="connsiteY40" fmla="*/ 6174 h 10000"/>
                <a:gd name="connsiteX41" fmla="*/ 3444 w 9997"/>
                <a:gd name="connsiteY41" fmla="*/ 6238 h 10000"/>
                <a:gd name="connsiteX42" fmla="*/ 3496 w 9997"/>
                <a:gd name="connsiteY42" fmla="*/ 6308 h 10000"/>
                <a:gd name="connsiteX43" fmla="*/ 3549 w 9997"/>
                <a:gd name="connsiteY43" fmla="*/ 6377 h 10000"/>
                <a:gd name="connsiteX44" fmla="*/ 3601 w 9997"/>
                <a:gd name="connsiteY44" fmla="*/ 6447 h 10000"/>
                <a:gd name="connsiteX45" fmla="*/ 3655 w 9997"/>
                <a:gd name="connsiteY45" fmla="*/ 6516 h 10000"/>
                <a:gd name="connsiteX46" fmla="*/ 3694 w 9997"/>
                <a:gd name="connsiteY46" fmla="*/ 6591 h 10000"/>
                <a:gd name="connsiteX47" fmla="*/ 3746 w 9997"/>
                <a:gd name="connsiteY47" fmla="*/ 6666 h 10000"/>
                <a:gd name="connsiteX48" fmla="*/ 3785 w 9997"/>
                <a:gd name="connsiteY48" fmla="*/ 6735 h 10000"/>
                <a:gd name="connsiteX49" fmla="*/ 3825 w 9997"/>
                <a:gd name="connsiteY49" fmla="*/ 6810 h 10000"/>
                <a:gd name="connsiteX50" fmla="*/ 3864 w 9997"/>
                <a:gd name="connsiteY50" fmla="*/ 6885 h 10000"/>
                <a:gd name="connsiteX51" fmla="*/ 3897 w 9997"/>
                <a:gd name="connsiteY51" fmla="*/ 6960 h 10000"/>
                <a:gd name="connsiteX52" fmla="*/ 3929 w 9997"/>
                <a:gd name="connsiteY52" fmla="*/ 7040 h 10000"/>
                <a:gd name="connsiteX53" fmla="*/ 3962 w 9997"/>
                <a:gd name="connsiteY53" fmla="*/ 7120 h 10000"/>
                <a:gd name="connsiteX54" fmla="*/ 3995 w 9997"/>
                <a:gd name="connsiteY54" fmla="*/ 7195 h 10000"/>
                <a:gd name="connsiteX55" fmla="*/ 4021 w 9997"/>
                <a:gd name="connsiteY55" fmla="*/ 7275 h 10000"/>
                <a:gd name="connsiteX56" fmla="*/ 4041 w 9997"/>
                <a:gd name="connsiteY56" fmla="*/ 7355 h 10000"/>
                <a:gd name="connsiteX57" fmla="*/ 4068 w 9997"/>
                <a:gd name="connsiteY57" fmla="*/ 7441 h 10000"/>
                <a:gd name="connsiteX58" fmla="*/ 4087 w 9997"/>
                <a:gd name="connsiteY58" fmla="*/ 7521 h 10000"/>
                <a:gd name="connsiteX59" fmla="*/ 4107 w 9997"/>
                <a:gd name="connsiteY59" fmla="*/ 7601 h 10000"/>
                <a:gd name="connsiteX60" fmla="*/ 4120 w 9997"/>
                <a:gd name="connsiteY60" fmla="*/ 7687 h 10000"/>
                <a:gd name="connsiteX61" fmla="*/ 4133 w 9997"/>
                <a:gd name="connsiteY61" fmla="*/ 7772 h 10000"/>
                <a:gd name="connsiteX62" fmla="*/ 4139 w 9997"/>
                <a:gd name="connsiteY62" fmla="*/ 7858 h 10000"/>
                <a:gd name="connsiteX63" fmla="*/ 4146 w 9997"/>
                <a:gd name="connsiteY63" fmla="*/ 7943 h 10000"/>
                <a:gd name="connsiteX64" fmla="*/ 4146 w 9997"/>
                <a:gd name="connsiteY64" fmla="*/ 8029 h 10000"/>
                <a:gd name="connsiteX65" fmla="*/ 4152 w 9997"/>
                <a:gd name="connsiteY65" fmla="*/ 8114 h 10000"/>
                <a:gd name="connsiteX66" fmla="*/ 4146 w 9997"/>
                <a:gd name="connsiteY66" fmla="*/ 8227 h 10000"/>
                <a:gd name="connsiteX67" fmla="*/ 4139 w 9997"/>
                <a:gd name="connsiteY67" fmla="*/ 8343 h 10000"/>
                <a:gd name="connsiteX68" fmla="*/ 4133 w 9997"/>
                <a:gd name="connsiteY68" fmla="*/ 8450 h 10000"/>
                <a:gd name="connsiteX69" fmla="*/ 4113 w 9997"/>
                <a:gd name="connsiteY69" fmla="*/ 8562 h 10000"/>
                <a:gd name="connsiteX70" fmla="*/ 6724 w 9997"/>
                <a:gd name="connsiteY70" fmla="*/ 10000 h 10000"/>
                <a:gd name="connsiteX71" fmla="*/ 9847 w 9997"/>
                <a:gd name="connsiteY71" fmla="*/ 9498 h 10000"/>
                <a:gd name="connsiteX72" fmla="*/ 9886 w 9997"/>
                <a:gd name="connsiteY72" fmla="*/ 9332 h 10000"/>
                <a:gd name="connsiteX73" fmla="*/ 9912 w 9997"/>
                <a:gd name="connsiteY73" fmla="*/ 9161 h 10000"/>
                <a:gd name="connsiteX74" fmla="*/ 9938 w 9997"/>
                <a:gd name="connsiteY74" fmla="*/ 8990 h 10000"/>
                <a:gd name="connsiteX75" fmla="*/ 9958 w 9997"/>
                <a:gd name="connsiteY75" fmla="*/ 8813 h 10000"/>
                <a:gd name="connsiteX76" fmla="*/ 9971 w 9997"/>
                <a:gd name="connsiteY76" fmla="*/ 8637 h 10000"/>
                <a:gd name="connsiteX77" fmla="*/ 9984 w 9997"/>
                <a:gd name="connsiteY77" fmla="*/ 8466 h 10000"/>
                <a:gd name="connsiteX78" fmla="*/ 9990 w 9997"/>
                <a:gd name="connsiteY78" fmla="*/ 8291 h 10000"/>
                <a:gd name="connsiteX79" fmla="*/ 9997 w 9997"/>
                <a:gd name="connsiteY79" fmla="*/ 8114 h 10000"/>
                <a:gd name="connsiteX80" fmla="*/ 9990 w 9997"/>
                <a:gd name="connsiteY80" fmla="*/ 7901 h 10000"/>
                <a:gd name="connsiteX81" fmla="*/ 9984 w 9997"/>
                <a:gd name="connsiteY81" fmla="*/ 7697 h 10000"/>
                <a:gd name="connsiteX82" fmla="*/ 9964 w 9997"/>
                <a:gd name="connsiteY82" fmla="*/ 7489 h 10000"/>
                <a:gd name="connsiteX83" fmla="*/ 9945 w 9997"/>
                <a:gd name="connsiteY83" fmla="*/ 7286 h 10000"/>
                <a:gd name="connsiteX84" fmla="*/ 9912 w 9997"/>
                <a:gd name="connsiteY84" fmla="*/ 7077 h 10000"/>
                <a:gd name="connsiteX85" fmla="*/ 9879 w 9997"/>
                <a:gd name="connsiteY85" fmla="*/ 6880 h 10000"/>
                <a:gd name="connsiteX86" fmla="*/ 9840 w 9997"/>
                <a:gd name="connsiteY86" fmla="*/ 6677 h 10000"/>
                <a:gd name="connsiteX87" fmla="*/ 9793 w 9997"/>
                <a:gd name="connsiteY87" fmla="*/ 6479 h 10000"/>
                <a:gd name="connsiteX88" fmla="*/ 9741 w 9997"/>
                <a:gd name="connsiteY88" fmla="*/ 6281 h 10000"/>
                <a:gd name="connsiteX89" fmla="*/ 9682 w 9997"/>
                <a:gd name="connsiteY89" fmla="*/ 6089 h 10000"/>
                <a:gd name="connsiteX90" fmla="*/ 9617 w 9997"/>
                <a:gd name="connsiteY90" fmla="*/ 5891 h 10000"/>
                <a:gd name="connsiteX91" fmla="*/ 9552 w 9997"/>
                <a:gd name="connsiteY91" fmla="*/ 5698 h 10000"/>
                <a:gd name="connsiteX92" fmla="*/ 9472 w 9997"/>
                <a:gd name="connsiteY92" fmla="*/ 5511 h 10000"/>
                <a:gd name="connsiteX93" fmla="*/ 9393 w 9997"/>
                <a:gd name="connsiteY93" fmla="*/ 5324 h 10000"/>
                <a:gd name="connsiteX94" fmla="*/ 9301 w 9997"/>
                <a:gd name="connsiteY94" fmla="*/ 5137 h 10000"/>
                <a:gd name="connsiteX95" fmla="*/ 9210 w 9997"/>
                <a:gd name="connsiteY95" fmla="*/ 4957 h 10000"/>
                <a:gd name="connsiteX96" fmla="*/ 9118 w 9997"/>
                <a:gd name="connsiteY96" fmla="*/ 4775 h 10000"/>
                <a:gd name="connsiteX97" fmla="*/ 9013 w 9997"/>
                <a:gd name="connsiteY97" fmla="*/ 4598 h 10000"/>
                <a:gd name="connsiteX98" fmla="*/ 8908 w 9997"/>
                <a:gd name="connsiteY98" fmla="*/ 4422 h 10000"/>
                <a:gd name="connsiteX99" fmla="*/ 8797 w 9997"/>
                <a:gd name="connsiteY99" fmla="*/ 4246 h 10000"/>
                <a:gd name="connsiteX100" fmla="*/ 8679 w 9997"/>
                <a:gd name="connsiteY100" fmla="*/ 4075 h 10000"/>
                <a:gd name="connsiteX101" fmla="*/ 8554 w 9997"/>
                <a:gd name="connsiteY101" fmla="*/ 3909 h 10000"/>
                <a:gd name="connsiteX102" fmla="*/ 8429 w 9997"/>
                <a:gd name="connsiteY102" fmla="*/ 3743 h 10000"/>
                <a:gd name="connsiteX103" fmla="*/ 8298 w 9997"/>
                <a:gd name="connsiteY103" fmla="*/ 3578 h 10000"/>
                <a:gd name="connsiteX104" fmla="*/ 8160 w 9997"/>
                <a:gd name="connsiteY104" fmla="*/ 3417 h 10000"/>
                <a:gd name="connsiteX105" fmla="*/ 8016 w 9997"/>
                <a:gd name="connsiteY105" fmla="*/ 3262 h 10000"/>
                <a:gd name="connsiteX106" fmla="*/ 7871 w 9997"/>
                <a:gd name="connsiteY106" fmla="*/ 3107 h 10000"/>
                <a:gd name="connsiteX107" fmla="*/ 7721 w 9997"/>
                <a:gd name="connsiteY107" fmla="*/ 2952 h 10000"/>
                <a:gd name="connsiteX108" fmla="*/ 7571 w 9997"/>
                <a:gd name="connsiteY108" fmla="*/ 2808 h 10000"/>
                <a:gd name="connsiteX109" fmla="*/ 7405 w 9997"/>
                <a:gd name="connsiteY109" fmla="*/ 2664 h 10000"/>
                <a:gd name="connsiteX110" fmla="*/ 7248 w 9997"/>
                <a:gd name="connsiteY110" fmla="*/ 2519 h 10000"/>
                <a:gd name="connsiteX111" fmla="*/ 7078 w 9997"/>
                <a:gd name="connsiteY111" fmla="*/ 2375 h 10000"/>
                <a:gd name="connsiteX112" fmla="*/ 6908 w 9997"/>
                <a:gd name="connsiteY112" fmla="*/ 2241 h 10000"/>
                <a:gd name="connsiteX113" fmla="*/ 6738 w 9997"/>
                <a:gd name="connsiteY113" fmla="*/ 2108 h 10000"/>
                <a:gd name="connsiteX114" fmla="*/ 6554 w 9997"/>
                <a:gd name="connsiteY114" fmla="*/ 1980 h 10000"/>
                <a:gd name="connsiteX115" fmla="*/ 6370 w 9997"/>
                <a:gd name="connsiteY115" fmla="*/ 1857 h 10000"/>
                <a:gd name="connsiteX116" fmla="*/ 6186 w 9997"/>
                <a:gd name="connsiteY116" fmla="*/ 1734 h 10000"/>
                <a:gd name="connsiteX117" fmla="*/ 5996 w 9997"/>
                <a:gd name="connsiteY117" fmla="*/ 1617 h 10000"/>
                <a:gd name="connsiteX118" fmla="*/ 5799 w 9997"/>
                <a:gd name="connsiteY118" fmla="*/ 1500 h 10000"/>
                <a:gd name="connsiteX119" fmla="*/ 5603 w 9997"/>
                <a:gd name="connsiteY119" fmla="*/ 1387 h 10000"/>
                <a:gd name="connsiteX120" fmla="*/ 5405 w 9997"/>
                <a:gd name="connsiteY120" fmla="*/ 1280 h 10000"/>
                <a:gd name="connsiteX121" fmla="*/ 5202 w 9997"/>
                <a:gd name="connsiteY121" fmla="*/ 1179 h 10000"/>
                <a:gd name="connsiteX122" fmla="*/ 4999 w 9997"/>
                <a:gd name="connsiteY122" fmla="*/ 1077 h 10000"/>
                <a:gd name="connsiteX123" fmla="*/ 4782 w 9997"/>
                <a:gd name="connsiteY123" fmla="*/ 981 h 10000"/>
                <a:gd name="connsiteX124" fmla="*/ 4573 w 9997"/>
                <a:gd name="connsiteY124" fmla="*/ 890 h 10000"/>
                <a:gd name="connsiteX125" fmla="*/ 4355 w 9997"/>
                <a:gd name="connsiteY125" fmla="*/ 805 h 10000"/>
                <a:gd name="connsiteX126" fmla="*/ 4133 w 9997"/>
                <a:gd name="connsiteY126" fmla="*/ 719 h 10000"/>
                <a:gd name="connsiteX127" fmla="*/ 3916 w 9997"/>
                <a:gd name="connsiteY127" fmla="*/ 639 h 10000"/>
                <a:gd name="connsiteX128" fmla="*/ 3694 w 9997"/>
                <a:gd name="connsiteY128" fmla="*/ 570 h 10000"/>
                <a:gd name="connsiteX129" fmla="*/ 3463 w 9997"/>
                <a:gd name="connsiteY129" fmla="*/ 495 h 10000"/>
                <a:gd name="connsiteX130" fmla="*/ 3233 w 9997"/>
                <a:gd name="connsiteY130" fmla="*/ 431 h 10000"/>
                <a:gd name="connsiteX131" fmla="*/ 2998 w 9997"/>
                <a:gd name="connsiteY131" fmla="*/ 366 h 10000"/>
                <a:gd name="connsiteX132" fmla="*/ 2768 w 9997"/>
                <a:gd name="connsiteY132" fmla="*/ 313 h 10000"/>
                <a:gd name="connsiteX133" fmla="*/ 2527 w 9997"/>
                <a:gd name="connsiteY133" fmla="*/ 260 h 10000"/>
                <a:gd name="connsiteX134" fmla="*/ 2283 w 9997"/>
                <a:gd name="connsiteY134" fmla="*/ 211 h 10000"/>
                <a:gd name="connsiteX135" fmla="*/ 2046 w 9997"/>
                <a:gd name="connsiteY135" fmla="*/ 169 h 10000"/>
                <a:gd name="connsiteX136" fmla="*/ 1805 w 9997"/>
                <a:gd name="connsiteY136" fmla="*/ 131 h 10000"/>
                <a:gd name="connsiteX137" fmla="*/ 1555 w 9997"/>
                <a:gd name="connsiteY137" fmla="*/ 94 h 10000"/>
                <a:gd name="connsiteX138" fmla="*/ 1305 w 9997"/>
                <a:gd name="connsiteY138" fmla="*/ 67 h 10000"/>
                <a:gd name="connsiteX139" fmla="*/ 1057 w 9997"/>
                <a:gd name="connsiteY139" fmla="*/ 46 h 10000"/>
                <a:gd name="connsiteX140" fmla="*/ 807 w 9997"/>
                <a:gd name="connsiteY140" fmla="*/ 30 h 10000"/>
                <a:gd name="connsiteX141" fmla="*/ 551 w 9997"/>
                <a:gd name="connsiteY141" fmla="*/ 14 h 10000"/>
                <a:gd name="connsiteX142" fmla="*/ 295 w 9997"/>
                <a:gd name="connsiteY142" fmla="*/ 8 h 10000"/>
                <a:gd name="connsiteX143" fmla="*/ 39 w 9997"/>
                <a:gd name="connsiteY143" fmla="*/ 3 h 10000"/>
                <a:gd name="connsiteX144" fmla="*/ 0 w 9997"/>
                <a:gd name="connsiteY144" fmla="*/ 0 h 10000"/>
                <a:gd name="connsiteX145" fmla="*/ 1210 w 9997"/>
                <a:gd name="connsiteY145" fmla="*/ 2445 h 10000"/>
                <a:gd name="connsiteX146" fmla="*/ 7 w 9997"/>
                <a:gd name="connsiteY146" fmla="*/ 477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</a:cxnLst>
              <a:rect l="l" t="t" r="r" b="b"/>
              <a:pathLst>
                <a:path w="9997" h="10000">
                  <a:moveTo>
                    <a:pt x="7" y="4770"/>
                  </a:moveTo>
                  <a:cubicBezTo>
                    <a:pt x="15" y="4768"/>
                    <a:pt x="12" y="4766"/>
                    <a:pt x="20" y="4764"/>
                  </a:cubicBezTo>
                  <a:lnTo>
                    <a:pt x="124" y="4764"/>
                  </a:lnTo>
                  <a:lnTo>
                    <a:pt x="230" y="4770"/>
                  </a:lnTo>
                  <a:lnTo>
                    <a:pt x="335" y="4775"/>
                  </a:lnTo>
                  <a:lnTo>
                    <a:pt x="439" y="4780"/>
                  </a:lnTo>
                  <a:lnTo>
                    <a:pt x="545" y="4796"/>
                  </a:lnTo>
                  <a:lnTo>
                    <a:pt x="650" y="4807"/>
                  </a:lnTo>
                  <a:lnTo>
                    <a:pt x="748" y="4818"/>
                  </a:lnTo>
                  <a:cubicBezTo>
                    <a:pt x="781" y="4823"/>
                    <a:pt x="813" y="4829"/>
                    <a:pt x="846" y="4834"/>
                  </a:cubicBezTo>
                  <a:lnTo>
                    <a:pt x="952" y="4850"/>
                  </a:lnTo>
                  <a:lnTo>
                    <a:pt x="1050" y="4871"/>
                  </a:lnTo>
                  <a:lnTo>
                    <a:pt x="1148" y="4892"/>
                  </a:lnTo>
                  <a:cubicBezTo>
                    <a:pt x="1181" y="4899"/>
                    <a:pt x="1213" y="4907"/>
                    <a:pt x="1246" y="4914"/>
                  </a:cubicBezTo>
                  <a:lnTo>
                    <a:pt x="1339" y="4941"/>
                  </a:lnTo>
                  <a:lnTo>
                    <a:pt x="1437" y="4967"/>
                  </a:lnTo>
                  <a:cubicBezTo>
                    <a:pt x="1467" y="4978"/>
                    <a:pt x="1499" y="4988"/>
                    <a:pt x="1529" y="4999"/>
                  </a:cubicBezTo>
                  <a:cubicBezTo>
                    <a:pt x="1560" y="5009"/>
                    <a:pt x="1590" y="5020"/>
                    <a:pt x="1621" y="5030"/>
                  </a:cubicBezTo>
                  <a:cubicBezTo>
                    <a:pt x="1651" y="5041"/>
                    <a:pt x="1682" y="5051"/>
                    <a:pt x="1712" y="5062"/>
                  </a:cubicBezTo>
                  <a:lnTo>
                    <a:pt x="1805" y="5095"/>
                  </a:lnTo>
                  <a:lnTo>
                    <a:pt x="1896" y="5132"/>
                  </a:lnTo>
                  <a:cubicBezTo>
                    <a:pt x="1927" y="5144"/>
                    <a:pt x="1957" y="5157"/>
                    <a:pt x="1988" y="5169"/>
                  </a:cubicBezTo>
                  <a:lnTo>
                    <a:pt x="2073" y="5212"/>
                  </a:lnTo>
                  <a:cubicBezTo>
                    <a:pt x="2101" y="5225"/>
                    <a:pt x="2131" y="5237"/>
                    <a:pt x="2159" y="5250"/>
                  </a:cubicBezTo>
                  <a:lnTo>
                    <a:pt x="2244" y="5292"/>
                  </a:lnTo>
                  <a:cubicBezTo>
                    <a:pt x="2270" y="5306"/>
                    <a:pt x="2296" y="5321"/>
                    <a:pt x="2322" y="5335"/>
                  </a:cubicBezTo>
                  <a:lnTo>
                    <a:pt x="2407" y="5383"/>
                  </a:lnTo>
                  <a:lnTo>
                    <a:pt x="2485" y="5431"/>
                  </a:lnTo>
                  <a:lnTo>
                    <a:pt x="2566" y="5479"/>
                  </a:lnTo>
                  <a:lnTo>
                    <a:pt x="2644" y="5527"/>
                  </a:lnTo>
                  <a:lnTo>
                    <a:pt x="2723" y="5581"/>
                  </a:lnTo>
                  <a:cubicBezTo>
                    <a:pt x="2747" y="5599"/>
                    <a:pt x="2771" y="5616"/>
                    <a:pt x="2795" y="5634"/>
                  </a:cubicBezTo>
                  <a:cubicBezTo>
                    <a:pt x="2819" y="5652"/>
                    <a:pt x="2842" y="5670"/>
                    <a:pt x="2866" y="5688"/>
                  </a:cubicBezTo>
                  <a:cubicBezTo>
                    <a:pt x="2891" y="5708"/>
                    <a:pt x="2915" y="5727"/>
                    <a:pt x="2939" y="5747"/>
                  </a:cubicBezTo>
                  <a:cubicBezTo>
                    <a:pt x="2961" y="5766"/>
                    <a:pt x="2983" y="5786"/>
                    <a:pt x="3005" y="5805"/>
                  </a:cubicBezTo>
                  <a:cubicBezTo>
                    <a:pt x="3029" y="5825"/>
                    <a:pt x="3053" y="5844"/>
                    <a:pt x="3077" y="5864"/>
                  </a:cubicBezTo>
                  <a:lnTo>
                    <a:pt x="3142" y="5923"/>
                  </a:lnTo>
                  <a:cubicBezTo>
                    <a:pt x="3162" y="5944"/>
                    <a:pt x="3181" y="5966"/>
                    <a:pt x="3201" y="5987"/>
                  </a:cubicBezTo>
                  <a:cubicBezTo>
                    <a:pt x="3223" y="6007"/>
                    <a:pt x="3245" y="6026"/>
                    <a:pt x="3267" y="6046"/>
                  </a:cubicBezTo>
                  <a:cubicBezTo>
                    <a:pt x="3287" y="6067"/>
                    <a:pt x="3306" y="6089"/>
                    <a:pt x="3326" y="6110"/>
                  </a:cubicBezTo>
                  <a:cubicBezTo>
                    <a:pt x="3346" y="6131"/>
                    <a:pt x="3365" y="6153"/>
                    <a:pt x="3385" y="6174"/>
                  </a:cubicBezTo>
                  <a:cubicBezTo>
                    <a:pt x="3405" y="6195"/>
                    <a:pt x="3424" y="6217"/>
                    <a:pt x="3444" y="6238"/>
                  </a:cubicBezTo>
                  <a:lnTo>
                    <a:pt x="3496" y="6308"/>
                  </a:lnTo>
                  <a:cubicBezTo>
                    <a:pt x="3514" y="6331"/>
                    <a:pt x="3532" y="6354"/>
                    <a:pt x="3549" y="6377"/>
                  </a:cubicBezTo>
                  <a:lnTo>
                    <a:pt x="3601" y="6447"/>
                  </a:lnTo>
                  <a:cubicBezTo>
                    <a:pt x="3619" y="6470"/>
                    <a:pt x="3636" y="6493"/>
                    <a:pt x="3655" y="6516"/>
                  </a:cubicBezTo>
                  <a:lnTo>
                    <a:pt x="3694" y="6591"/>
                  </a:lnTo>
                  <a:cubicBezTo>
                    <a:pt x="3711" y="6616"/>
                    <a:pt x="3729" y="6641"/>
                    <a:pt x="3746" y="6666"/>
                  </a:cubicBezTo>
                  <a:lnTo>
                    <a:pt x="3785" y="6735"/>
                  </a:lnTo>
                  <a:cubicBezTo>
                    <a:pt x="3798" y="6760"/>
                    <a:pt x="3812" y="6785"/>
                    <a:pt x="3825" y="6810"/>
                  </a:cubicBezTo>
                  <a:lnTo>
                    <a:pt x="3864" y="6885"/>
                  </a:lnTo>
                  <a:lnTo>
                    <a:pt x="3897" y="6960"/>
                  </a:lnTo>
                  <a:cubicBezTo>
                    <a:pt x="3908" y="6987"/>
                    <a:pt x="3918" y="7013"/>
                    <a:pt x="3929" y="7040"/>
                  </a:cubicBezTo>
                  <a:cubicBezTo>
                    <a:pt x="3940" y="7067"/>
                    <a:pt x="3951" y="7093"/>
                    <a:pt x="3962" y="7120"/>
                  </a:cubicBezTo>
                  <a:lnTo>
                    <a:pt x="3995" y="7195"/>
                  </a:lnTo>
                  <a:cubicBezTo>
                    <a:pt x="4004" y="7222"/>
                    <a:pt x="4012" y="7248"/>
                    <a:pt x="4021" y="7275"/>
                  </a:cubicBezTo>
                  <a:cubicBezTo>
                    <a:pt x="4027" y="7302"/>
                    <a:pt x="4035" y="7328"/>
                    <a:pt x="4041" y="7355"/>
                  </a:cubicBezTo>
                  <a:cubicBezTo>
                    <a:pt x="4050" y="7384"/>
                    <a:pt x="4059" y="7412"/>
                    <a:pt x="4068" y="7441"/>
                  </a:cubicBezTo>
                  <a:cubicBezTo>
                    <a:pt x="4074" y="7468"/>
                    <a:pt x="4081" y="7494"/>
                    <a:pt x="4087" y="7521"/>
                  </a:cubicBezTo>
                  <a:cubicBezTo>
                    <a:pt x="4094" y="7548"/>
                    <a:pt x="4100" y="7574"/>
                    <a:pt x="4107" y="7601"/>
                  </a:cubicBezTo>
                  <a:cubicBezTo>
                    <a:pt x="4111" y="7630"/>
                    <a:pt x="4116" y="7658"/>
                    <a:pt x="4120" y="7687"/>
                  </a:cubicBezTo>
                  <a:cubicBezTo>
                    <a:pt x="4124" y="7715"/>
                    <a:pt x="4129" y="7744"/>
                    <a:pt x="4133" y="7772"/>
                  </a:cubicBezTo>
                  <a:cubicBezTo>
                    <a:pt x="4135" y="7801"/>
                    <a:pt x="4137" y="7829"/>
                    <a:pt x="4139" y="7858"/>
                  </a:cubicBezTo>
                  <a:cubicBezTo>
                    <a:pt x="4141" y="7886"/>
                    <a:pt x="4144" y="7915"/>
                    <a:pt x="4146" y="7943"/>
                  </a:cubicBezTo>
                  <a:lnTo>
                    <a:pt x="4146" y="8029"/>
                  </a:lnTo>
                  <a:cubicBezTo>
                    <a:pt x="4148" y="8057"/>
                    <a:pt x="4150" y="8086"/>
                    <a:pt x="4152" y="8114"/>
                  </a:cubicBezTo>
                  <a:cubicBezTo>
                    <a:pt x="4150" y="8152"/>
                    <a:pt x="4148" y="8189"/>
                    <a:pt x="4146" y="8227"/>
                  </a:cubicBezTo>
                  <a:cubicBezTo>
                    <a:pt x="4144" y="8266"/>
                    <a:pt x="4141" y="8305"/>
                    <a:pt x="4139" y="8343"/>
                  </a:cubicBezTo>
                  <a:cubicBezTo>
                    <a:pt x="4137" y="8379"/>
                    <a:pt x="4135" y="8414"/>
                    <a:pt x="4133" y="8450"/>
                  </a:cubicBezTo>
                  <a:cubicBezTo>
                    <a:pt x="4126" y="8487"/>
                    <a:pt x="4120" y="8525"/>
                    <a:pt x="4113" y="8562"/>
                  </a:cubicBezTo>
                  <a:lnTo>
                    <a:pt x="6724" y="10000"/>
                  </a:lnTo>
                  <a:lnTo>
                    <a:pt x="9847" y="9498"/>
                  </a:lnTo>
                  <a:cubicBezTo>
                    <a:pt x="9860" y="9443"/>
                    <a:pt x="9873" y="9387"/>
                    <a:pt x="9886" y="9332"/>
                  </a:cubicBezTo>
                  <a:cubicBezTo>
                    <a:pt x="9895" y="9275"/>
                    <a:pt x="9903" y="9218"/>
                    <a:pt x="9912" y="9161"/>
                  </a:cubicBezTo>
                  <a:cubicBezTo>
                    <a:pt x="9921" y="9104"/>
                    <a:pt x="9929" y="9047"/>
                    <a:pt x="9938" y="8990"/>
                  </a:cubicBezTo>
                  <a:cubicBezTo>
                    <a:pt x="9945" y="8931"/>
                    <a:pt x="9951" y="8872"/>
                    <a:pt x="9958" y="8813"/>
                  </a:cubicBezTo>
                  <a:cubicBezTo>
                    <a:pt x="9962" y="8754"/>
                    <a:pt x="9967" y="8696"/>
                    <a:pt x="9971" y="8637"/>
                  </a:cubicBezTo>
                  <a:cubicBezTo>
                    <a:pt x="9975" y="8580"/>
                    <a:pt x="9980" y="8523"/>
                    <a:pt x="9984" y="8466"/>
                  </a:cubicBezTo>
                  <a:cubicBezTo>
                    <a:pt x="9986" y="8407"/>
                    <a:pt x="9988" y="8349"/>
                    <a:pt x="9990" y="8291"/>
                  </a:cubicBezTo>
                  <a:cubicBezTo>
                    <a:pt x="9992" y="8232"/>
                    <a:pt x="9995" y="8173"/>
                    <a:pt x="9997" y="8114"/>
                  </a:cubicBezTo>
                  <a:cubicBezTo>
                    <a:pt x="9995" y="8043"/>
                    <a:pt x="9992" y="7972"/>
                    <a:pt x="9990" y="7901"/>
                  </a:cubicBezTo>
                  <a:lnTo>
                    <a:pt x="9984" y="7697"/>
                  </a:lnTo>
                  <a:cubicBezTo>
                    <a:pt x="9977" y="7628"/>
                    <a:pt x="9971" y="7558"/>
                    <a:pt x="9964" y="7489"/>
                  </a:cubicBezTo>
                  <a:cubicBezTo>
                    <a:pt x="9958" y="7421"/>
                    <a:pt x="9951" y="7354"/>
                    <a:pt x="9945" y="7286"/>
                  </a:cubicBezTo>
                  <a:cubicBezTo>
                    <a:pt x="9934" y="7216"/>
                    <a:pt x="9923" y="7147"/>
                    <a:pt x="9912" y="7077"/>
                  </a:cubicBezTo>
                  <a:cubicBezTo>
                    <a:pt x="9901" y="7011"/>
                    <a:pt x="9890" y="6946"/>
                    <a:pt x="9879" y="6880"/>
                  </a:cubicBezTo>
                  <a:cubicBezTo>
                    <a:pt x="9866" y="6812"/>
                    <a:pt x="9853" y="6745"/>
                    <a:pt x="9840" y="6677"/>
                  </a:cubicBezTo>
                  <a:cubicBezTo>
                    <a:pt x="9825" y="6611"/>
                    <a:pt x="9809" y="6545"/>
                    <a:pt x="9793" y="6479"/>
                  </a:cubicBezTo>
                  <a:cubicBezTo>
                    <a:pt x="9776" y="6413"/>
                    <a:pt x="9758" y="6347"/>
                    <a:pt x="9741" y="6281"/>
                  </a:cubicBezTo>
                  <a:cubicBezTo>
                    <a:pt x="9721" y="6217"/>
                    <a:pt x="9702" y="6153"/>
                    <a:pt x="9682" y="6089"/>
                  </a:cubicBezTo>
                  <a:cubicBezTo>
                    <a:pt x="9660" y="6023"/>
                    <a:pt x="9639" y="5957"/>
                    <a:pt x="9617" y="5891"/>
                  </a:cubicBezTo>
                  <a:cubicBezTo>
                    <a:pt x="9595" y="5827"/>
                    <a:pt x="9574" y="5762"/>
                    <a:pt x="9552" y="5698"/>
                  </a:cubicBezTo>
                  <a:cubicBezTo>
                    <a:pt x="9526" y="5636"/>
                    <a:pt x="9499" y="5573"/>
                    <a:pt x="9472" y="5511"/>
                  </a:cubicBezTo>
                  <a:cubicBezTo>
                    <a:pt x="9446" y="5449"/>
                    <a:pt x="9420" y="5386"/>
                    <a:pt x="9393" y="5324"/>
                  </a:cubicBezTo>
                  <a:cubicBezTo>
                    <a:pt x="9362" y="5262"/>
                    <a:pt x="9332" y="5199"/>
                    <a:pt x="9301" y="5137"/>
                  </a:cubicBezTo>
                  <a:cubicBezTo>
                    <a:pt x="9271" y="5077"/>
                    <a:pt x="9240" y="5016"/>
                    <a:pt x="9210" y="4957"/>
                  </a:cubicBezTo>
                  <a:cubicBezTo>
                    <a:pt x="9179" y="4896"/>
                    <a:pt x="9149" y="4836"/>
                    <a:pt x="9118" y="4775"/>
                  </a:cubicBezTo>
                  <a:cubicBezTo>
                    <a:pt x="9083" y="4716"/>
                    <a:pt x="9049" y="4657"/>
                    <a:pt x="9013" y="4598"/>
                  </a:cubicBezTo>
                  <a:lnTo>
                    <a:pt x="8908" y="4422"/>
                  </a:lnTo>
                  <a:lnTo>
                    <a:pt x="8797" y="4246"/>
                  </a:lnTo>
                  <a:cubicBezTo>
                    <a:pt x="8758" y="4189"/>
                    <a:pt x="8718" y="4132"/>
                    <a:pt x="8679" y="4075"/>
                  </a:cubicBezTo>
                  <a:cubicBezTo>
                    <a:pt x="8637" y="4020"/>
                    <a:pt x="8596" y="3964"/>
                    <a:pt x="8554" y="3909"/>
                  </a:cubicBezTo>
                  <a:cubicBezTo>
                    <a:pt x="8512" y="3854"/>
                    <a:pt x="8471" y="3798"/>
                    <a:pt x="8429" y="3743"/>
                  </a:cubicBezTo>
                  <a:lnTo>
                    <a:pt x="8298" y="3578"/>
                  </a:lnTo>
                  <a:lnTo>
                    <a:pt x="8160" y="3417"/>
                  </a:lnTo>
                  <a:lnTo>
                    <a:pt x="8016" y="3262"/>
                  </a:lnTo>
                  <a:cubicBezTo>
                    <a:pt x="7968" y="3210"/>
                    <a:pt x="7919" y="3159"/>
                    <a:pt x="7871" y="3107"/>
                  </a:cubicBezTo>
                  <a:lnTo>
                    <a:pt x="7721" y="2952"/>
                  </a:lnTo>
                  <a:lnTo>
                    <a:pt x="7571" y="2808"/>
                  </a:lnTo>
                  <a:lnTo>
                    <a:pt x="7405" y="2664"/>
                  </a:lnTo>
                  <a:lnTo>
                    <a:pt x="7248" y="2519"/>
                  </a:lnTo>
                  <a:lnTo>
                    <a:pt x="7078" y="2375"/>
                  </a:lnTo>
                  <a:lnTo>
                    <a:pt x="6908" y="2241"/>
                  </a:lnTo>
                  <a:cubicBezTo>
                    <a:pt x="6851" y="2197"/>
                    <a:pt x="6795" y="2152"/>
                    <a:pt x="6738" y="2108"/>
                  </a:cubicBezTo>
                  <a:lnTo>
                    <a:pt x="6554" y="1980"/>
                  </a:lnTo>
                  <a:lnTo>
                    <a:pt x="6370" y="1857"/>
                  </a:lnTo>
                  <a:lnTo>
                    <a:pt x="6186" y="1734"/>
                  </a:lnTo>
                  <a:lnTo>
                    <a:pt x="5996" y="1617"/>
                  </a:lnTo>
                  <a:lnTo>
                    <a:pt x="5799" y="1500"/>
                  </a:lnTo>
                  <a:lnTo>
                    <a:pt x="5603" y="1387"/>
                  </a:lnTo>
                  <a:lnTo>
                    <a:pt x="5405" y="1280"/>
                  </a:lnTo>
                  <a:lnTo>
                    <a:pt x="5202" y="1179"/>
                  </a:lnTo>
                  <a:lnTo>
                    <a:pt x="4999" y="1077"/>
                  </a:lnTo>
                  <a:lnTo>
                    <a:pt x="4782" y="981"/>
                  </a:lnTo>
                  <a:lnTo>
                    <a:pt x="4573" y="890"/>
                  </a:lnTo>
                  <a:lnTo>
                    <a:pt x="4355" y="805"/>
                  </a:lnTo>
                  <a:lnTo>
                    <a:pt x="4133" y="719"/>
                  </a:lnTo>
                  <a:lnTo>
                    <a:pt x="3916" y="639"/>
                  </a:lnTo>
                  <a:lnTo>
                    <a:pt x="3694" y="570"/>
                  </a:lnTo>
                  <a:lnTo>
                    <a:pt x="3463" y="495"/>
                  </a:lnTo>
                  <a:lnTo>
                    <a:pt x="3233" y="431"/>
                  </a:lnTo>
                  <a:lnTo>
                    <a:pt x="2998" y="366"/>
                  </a:lnTo>
                  <a:lnTo>
                    <a:pt x="2768" y="313"/>
                  </a:lnTo>
                  <a:lnTo>
                    <a:pt x="2527" y="260"/>
                  </a:lnTo>
                  <a:lnTo>
                    <a:pt x="2283" y="211"/>
                  </a:lnTo>
                  <a:lnTo>
                    <a:pt x="2046" y="169"/>
                  </a:lnTo>
                  <a:lnTo>
                    <a:pt x="1805" y="131"/>
                  </a:lnTo>
                  <a:lnTo>
                    <a:pt x="1555" y="94"/>
                  </a:lnTo>
                  <a:lnTo>
                    <a:pt x="1305" y="67"/>
                  </a:lnTo>
                  <a:lnTo>
                    <a:pt x="1057" y="46"/>
                  </a:lnTo>
                  <a:lnTo>
                    <a:pt x="807" y="30"/>
                  </a:lnTo>
                  <a:lnTo>
                    <a:pt x="551" y="14"/>
                  </a:lnTo>
                  <a:lnTo>
                    <a:pt x="295" y="8"/>
                  </a:lnTo>
                  <a:lnTo>
                    <a:pt x="39" y="3"/>
                  </a:lnTo>
                  <a:cubicBezTo>
                    <a:pt x="13" y="5"/>
                    <a:pt x="26" y="-2"/>
                    <a:pt x="0" y="0"/>
                  </a:cubicBezTo>
                  <a:lnTo>
                    <a:pt x="1210" y="2445"/>
                  </a:lnTo>
                  <a:lnTo>
                    <a:pt x="7" y="477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/>
            </a:p>
          </p:txBody>
        </p:sp>
        <p:sp>
          <p:nvSpPr>
            <p:cNvPr id="65" name="Freeform 4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-84370714" y="-26265662"/>
              <a:ext cx="41346518" cy="66837563"/>
            </a:xfrm>
            <a:custGeom>
              <a:avLst/>
              <a:gdLst>
                <a:gd name="T0" fmla="*/ 2147483647 w 1349"/>
                <a:gd name="T1" fmla="*/ 2147483647 h 2182"/>
                <a:gd name="T2" fmla="*/ 2147483647 w 1349"/>
                <a:gd name="T3" fmla="*/ 2147483647 h 2182"/>
                <a:gd name="T4" fmla="*/ 2147483647 w 1349"/>
                <a:gd name="T5" fmla="*/ 2147483647 h 2182"/>
                <a:gd name="T6" fmla="*/ 2147483647 w 1349"/>
                <a:gd name="T7" fmla="*/ 2147483647 h 2182"/>
                <a:gd name="T8" fmla="*/ 2147483647 w 1349"/>
                <a:gd name="T9" fmla="*/ 2147483647 h 2182"/>
                <a:gd name="T10" fmla="*/ 2147483647 w 1349"/>
                <a:gd name="T11" fmla="*/ 2147483647 h 2182"/>
                <a:gd name="T12" fmla="*/ 2147483647 w 1349"/>
                <a:gd name="T13" fmla="*/ 2147483647 h 2182"/>
                <a:gd name="T14" fmla="*/ 2147483647 w 1349"/>
                <a:gd name="T15" fmla="*/ 2147483647 h 2182"/>
                <a:gd name="T16" fmla="*/ 2147483647 w 1349"/>
                <a:gd name="T17" fmla="*/ 2147483647 h 2182"/>
                <a:gd name="T18" fmla="*/ 2147483647 w 1349"/>
                <a:gd name="T19" fmla="*/ 2147483647 h 2182"/>
                <a:gd name="T20" fmla="*/ 2147483647 w 1349"/>
                <a:gd name="T21" fmla="*/ 2147483647 h 2182"/>
                <a:gd name="T22" fmla="*/ 2147483647 w 1349"/>
                <a:gd name="T23" fmla="*/ 2147483647 h 2182"/>
                <a:gd name="T24" fmla="*/ 2147483647 w 1349"/>
                <a:gd name="T25" fmla="*/ 2147483647 h 2182"/>
                <a:gd name="T26" fmla="*/ 2147483647 w 1349"/>
                <a:gd name="T27" fmla="*/ 2147483647 h 2182"/>
                <a:gd name="T28" fmla="*/ 2147483647 w 1349"/>
                <a:gd name="T29" fmla="*/ 2147483647 h 2182"/>
                <a:gd name="T30" fmla="*/ 2147483647 w 1349"/>
                <a:gd name="T31" fmla="*/ 2147483647 h 2182"/>
                <a:gd name="T32" fmla="*/ 2147483647 w 1349"/>
                <a:gd name="T33" fmla="*/ 2147483647 h 2182"/>
                <a:gd name="T34" fmla="*/ 2147483647 w 1349"/>
                <a:gd name="T35" fmla="*/ 2147483647 h 2182"/>
                <a:gd name="T36" fmla="*/ 2147483647 w 1349"/>
                <a:gd name="T37" fmla="*/ 2147483647 h 2182"/>
                <a:gd name="T38" fmla="*/ 2147483647 w 1349"/>
                <a:gd name="T39" fmla="*/ 2147483647 h 2182"/>
                <a:gd name="T40" fmla="*/ 2147483647 w 1349"/>
                <a:gd name="T41" fmla="*/ 2147483647 h 2182"/>
                <a:gd name="T42" fmla="*/ 2147483647 w 1349"/>
                <a:gd name="T43" fmla="*/ 2147483647 h 2182"/>
                <a:gd name="T44" fmla="*/ 2147483647 w 1349"/>
                <a:gd name="T45" fmla="*/ 2147483647 h 2182"/>
                <a:gd name="T46" fmla="*/ 2147483647 w 1349"/>
                <a:gd name="T47" fmla="*/ 2147483647 h 2182"/>
                <a:gd name="T48" fmla="*/ 2147483647 w 1349"/>
                <a:gd name="T49" fmla="*/ 2147483647 h 2182"/>
                <a:gd name="T50" fmla="*/ 2147483647 w 1349"/>
                <a:gd name="T51" fmla="*/ 2147483647 h 2182"/>
                <a:gd name="T52" fmla="*/ 2147483647 w 1349"/>
                <a:gd name="T53" fmla="*/ 2147483647 h 2182"/>
                <a:gd name="T54" fmla="*/ 2147483647 w 1349"/>
                <a:gd name="T55" fmla="*/ 2147483647 h 2182"/>
                <a:gd name="T56" fmla="*/ 2147483647 w 1349"/>
                <a:gd name="T57" fmla="*/ 2147483647 h 2182"/>
                <a:gd name="T58" fmla="*/ 2147483647 w 1349"/>
                <a:gd name="T59" fmla="*/ 2147483647 h 2182"/>
                <a:gd name="T60" fmla="*/ 2147483647 w 1349"/>
                <a:gd name="T61" fmla="*/ 2147483647 h 2182"/>
                <a:gd name="T62" fmla="*/ 2147483647 w 1349"/>
                <a:gd name="T63" fmla="*/ 2147483647 h 2182"/>
                <a:gd name="T64" fmla="*/ 2147483647 w 1349"/>
                <a:gd name="T65" fmla="*/ 2147483647 h 2182"/>
                <a:gd name="T66" fmla="*/ 2147483647 w 1349"/>
                <a:gd name="T67" fmla="*/ 2147483647 h 2182"/>
                <a:gd name="T68" fmla="*/ 2147483647 w 1349"/>
                <a:gd name="T69" fmla="*/ 2147483647 h 2182"/>
                <a:gd name="T70" fmla="*/ 2147483647 w 1349"/>
                <a:gd name="T71" fmla="*/ 2147483647 h 2182"/>
                <a:gd name="T72" fmla="*/ 2147483647 w 1349"/>
                <a:gd name="T73" fmla="*/ 2147483647 h 2182"/>
                <a:gd name="T74" fmla="*/ 0 w 1349"/>
                <a:gd name="T75" fmla="*/ 2147483647 h 2182"/>
                <a:gd name="T76" fmla="*/ 2147483647 w 1349"/>
                <a:gd name="T77" fmla="*/ 2147483647 h 2182"/>
                <a:gd name="T78" fmla="*/ 2147483647 w 1349"/>
                <a:gd name="T79" fmla="*/ 2147483647 h 2182"/>
                <a:gd name="T80" fmla="*/ 2147483647 w 1349"/>
                <a:gd name="T81" fmla="*/ 2147483647 h 2182"/>
                <a:gd name="T82" fmla="*/ 2147483647 w 1349"/>
                <a:gd name="T83" fmla="*/ 2147483647 h 2182"/>
                <a:gd name="T84" fmla="*/ 2147483647 w 1349"/>
                <a:gd name="T85" fmla="*/ 2147483647 h 2182"/>
                <a:gd name="T86" fmla="*/ 2147483647 w 1349"/>
                <a:gd name="T87" fmla="*/ 2147483647 h 2182"/>
                <a:gd name="T88" fmla="*/ 2147483647 w 1349"/>
                <a:gd name="T89" fmla="*/ 2147483647 h 2182"/>
                <a:gd name="T90" fmla="*/ 2147483647 w 1349"/>
                <a:gd name="T91" fmla="*/ 2147483647 h 2182"/>
                <a:gd name="T92" fmla="*/ 2147483647 w 1349"/>
                <a:gd name="T93" fmla="*/ 2147483647 h 2182"/>
                <a:gd name="T94" fmla="*/ 2147483647 w 1349"/>
                <a:gd name="T95" fmla="*/ 2147483647 h 2182"/>
                <a:gd name="T96" fmla="*/ 2147483647 w 1349"/>
                <a:gd name="T97" fmla="*/ 2147483647 h 2182"/>
                <a:gd name="T98" fmla="*/ 2147483647 w 1349"/>
                <a:gd name="T99" fmla="*/ 2147483647 h 2182"/>
                <a:gd name="T100" fmla="*/ 2147483647 w 1349"/>
                <a:gd name="T101" fmla="*/ 2147483647 h 2182"/>
                <a:gd name="T102" fmla="*/ 2147483647 w 1349"/>
                <a:gd name="T103" fmla="*/ 2147483647 h 2182"/>
                <a:gd name="T104" fmla="*/ 2147483647 w 1349"/>
                <a:gd name="T105" fmla="*/ 2147483647 h 2182"/>
                <a:gd name="T106" fmla="*/ 2147483647 w 1349"/>
                <a:gd name="T107" fmla="*/ 2147483647 h 2182"/>
                <a:gd name="T108" fmla="*/ 2147483647 w 1349"/>
                <a:gd name="T109" fmla="*/ 2147483647 h 2182"/>
                <a:gd name="T110" fmla="*/ 2147483647 w 1349"/>
                <a:gd name="T111" fmla="*/ 2147483647 h 2182"/>
                <a:gd name="T112" fmla="*/ 2147483647 w 1349"/>
                <a:gd name="T113" fmla="*/ 2147483647 h 2182"/>
                <a:gd name="T114" fmla="*/ 2147483647 w 1349"/>
                <a:gd name="T115" fmla="*/ 2147483647 h 2182"/>
                <a:gd name="T116" fmla="*/ 2147483647 w 1349"/>
                <a:gd name="T117" fmla="*/ 2147483647 h 2182"/>
                <a:gd name="T118" fmla="*/ 2147483647 w 1349"/>
                <a:gd name="T119" fmla="*/ 2147483647 h 218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49"/>
                <a:gd name="T181" fmla="*/ 0 h 2182"/>
                <a:gd name="T182" fmla="*/ 1349 w 1349"/>
                <a:gd name="T183" fmla="*/ 2182 h 2182"/>
                <a:gd name="connsiteX0" fmla="*/ 10000 w 10000"/>
                <a:gd name="connsiteY0" fmla="*/ 6141 h 10000"/>
                <a:gd name="connsiteX1" fmla="*/ 10000 w 10000"/>
                <a:gd name="connsiteY1" fmla="*/ 6141 h 10000"/>
                <a:gd name="connsiteX2" fmla="*/ 9911 w 10000"/>
                <a:gd name="connsiteY2" fmla="*/ 6127 h 10000"/>
                <a:gd name="connsiteX3" fmla="*/ 9815 w 10000"/>
                <a:gd name="connsiteY3" fmla="*/ 6109 h 10000"/>
                <a:gd name="connsiteX4" fmla="*/ 9726 w 10000"/>
                <a:gd name="connsiteY4" fmla="*/ 6091 h 10000"/>
                <a:gd name="connsiteX5" fmla="*/ 9637 w 10000"/>
                <a:gd name="connsiteY5" fmla="*/ 6068 h 10000"/>
                <a:gd name="connsiteX6" fmla="*/ 9548 w 10000"/>
                <a:gd name="connsiteY6" fmla="*/ 6049 h 10000"/>
                <a:gd name="connsiteX7" fmla="*/ 9466 w 10000"/>
                <a:gd name="connsiteY7" fmla="*/ 6027 h 10000"/>
                <a:gd name="connsiteX8" fmla="*/ 9377 w 10000"/>
                <a:gd name="connsiteY8" fmla="*/ 6004 h 10000"/>
                <a:gd name="connsiteX9" fmla="*/ 9288 w 10000"/>
                <a:gd name="connsiteY9" fmla="*/ 5981 h 10000"/>
                <a:gd name="connsiteX10" fmla="*/ 9118 w 10000"/>
                <a:gd name="connsiteY10" fmla="*/ 5930 h 10000"/>
                <a:gd name="connsiteX11" fmla="*/ 8955 w 10000"/>
                <a:gd name="connsiteY11" fmla="*/ 5875 h 10000"/>
                <a:gd name="connsiteX12" fmla="*/ 8792 w 10000"/>
                <a:gd name="connsiteY12" fmla="*/ 5816 h 10000"/>
                <a:gd name="connsiteX13" fmla="*/ 8636 w 10000"/>
                <a:gd name="connsiteY13" fmla="*/ 5752 h 10000"/>
                <a:gd name="connsiteX14" fmla="*/ 8480 w 10000"/>
                <a:gd name="connsiteY14" fmla="*/ 5687 h 10000"/>
                <a:gd name="connsiteX15" fmla="*/ 8340 w 10000"/>
                <a:gd name="connsiteY15" fmla="*/ 5619 h 10000"/>
                <a:gd name="connsiteX16" fmla="*/ 8199 w 10000"/>
                <a:gd name="connsiteY16" fmla="*/ 5545 h 10000"/>
                <a:gd name="connsiteX17" fmla="*/ 8058 w 10000"/>
                <a:gd name="connsiteY17" fmla="*/ 5467 h 10000"/>
                <a:gd name="connsiteX18" fmla="*/ 7924 w 10000"/>
                <a:gd name="connsiteY18" fmla="*/ 5385 h 10000"/>
                <a:gd name="connsiteX19" fmla="*/ 7798 w 10000"/>
                <a:gd name="connsiteY19" fmla="*/ 5302 h 10000"/>
                <a:gd name="connsiteX20" fmla="*/ 7672 w 10000"/>
                <a:gd name="connsiteY20" fmla="*/ 5215 h 10000"/>
                <a:gd name="connsiteX21" fmla="*/ 7554 w 10000"/>
                <a:gd name="connsiteY21" fmla="*/ 5128 h 10000"/>
                <a:gd name="connsiteX22" fmla="*/ 7450 w 10000"/>
                <a:gd name="connsiteY22" fmla="*/ 5032 h 10000"/>
                <a:gd name="connsiteX23" fmla="*/ 7346 w 10000"/>
                <a:gd name="connsiteY23" fmla="*/ 4936 h 10000"/>
                <a:gd name="connsiteX24" fmla="*/ 7250 w 10000"/>
                <a:gd name="connsiteY24" fmla="*/ 4840 h 10000"/>
                <a:gd name="connsiteX25" fmla="*/ 7161 w 10000"/>
                <a:gd name="connsiteY25" fmla="*/ 4739 h 10000"/>
                <a:gd name="connsiteX26" fmla="*/ 7072 w 10000"/>
                <a:gd name="connsiteY26" fmla="*/ 4638 h 10000"/>
                <a:gd name="connsiteX27" fmla="*/ 6990 w 10000"/>
                <a:gd name="connsiteY27" fmla="*/ 4528 h 10000"/>
                <a:gd name="connsiteX28" fmla="*/ 6953 w 10000"/>
                <a:gd name="connsiteY28" fmla="*/ 4478 h 10000"/>
                <a:gd name="connsiteX29" fmla="*/ 6916 w 10000"/>
                <a:gd name="connsiteY29" fmla="*/ 4423 h 10000"/>
                <a:gd name="connsiteX30" fmla="*/ 6887 w 10000"/>
                <a:gd name="connsiteY30" fmla="*/ 4368 h 10000"/>
                <a:gd name="connsiteX31" fmla="*/ 6850 w 10000"/>
                <a:gd name="connsiteY31" fmla="*/ 4313 h 10000"/>
                <a:gd name="connsiteX32" fmla="*/ 6820 w 10000"/>
                <a:gd name="connsiteY32" fmla="*/ 4258 h 10000"/>
                <a:gd name="connsiteX33" fmla="*/ 6790 w 10000"/>
                <a:gd name="connsiteY33" fmla="*/ 4203 h 10000"/>
                <a:gd name="connsiteX34" fmla="*/ 6768 w 10000"/>
                <a:gd name="connsiteY34" fmla="*/ 4143 h 10000"/>
                <a:gd name="connsiteX35" fmla="*/ 6738 w 10000"/>
                <a:gd name="connsiteY35" fmla="*/ 4088 h 10000"/>
                <a:gd name="connsiteX36" fmla="*/ 6723 w 10000"/>
                <a:gd name="connsiteY36" fmla="*/ 4028 h 10000"/>
                <a:gd name="connsiteX37" fmla="*/ 6694 w 10000"/>
                <a:gd name="connsiteY37" fmla="*/ 3973 h 10000"/>
                <a:gd name="connsiteX38" fmla="*/ 6679 w 10000"/>
                <a:gd name="connsiteY38" fmla="*/ 3914 h 10000"/>
                <a:gd name="connsiteX39" fmla="*/ 6664 w 10000"/>
                <a:gd name="connsiteY39" fmla="*/ 3854 h 10000"/>
                <a:gd name="connsiteX40" fmla="*/ 6649 w 10000"/>
                <a:gd name="connsiteY40" fmla="*/ 3795 h 10000"/>
                <a:gd name="connsiteX41" fmla="*/ 6635 w 10000"/>
                <a:gd name="connsiteY41" fmla="*/ 3740 h 10000"/>
                <a:gd name="connsiteX42" fmla="*/ 6620 w 10000"/>
                <a:gd name="connsiteY42" fmla="*/ 3680 h 10000"/>
                <a:gd name="connsiteX43" fmla="*/ 6612 w 10000"/>
                <a:gd name="connsiteY43" fmla="*/ 3621 h 10000"/>
                <a:gd name="connsiteX44" fmla="*/ 6605 w 10000"/>
                <a:gd name="connsiteY44" fmla="*/ 3561 h 10000"/>
                <a:gd name="connsiteX45" fmla="*/ 6597 w 10000"/>
                <a:gd name="connsiteY45" fmla="*/ 3497 h 10000"/>
                <a:gd name="connsiteX46" fmla="*/ 6597 w 10000"/>
                <a:gd name="connsiteY46" fmla="*/ 3437 h 10000"/>
                <a:gd name="connsiteX47" fmla="*/ 6590 w 10000"/>
                <a:gd name="connsiteY47" fmla="*/ 3373 h 10000"/>
                <a:gd name="connsiteX48" fmla="*/ 6597 w 10000"/>
                <a:gd name="connsiteY48" fmla="*/ 3313 h 10000"/>
                <a:gd name="connsiteX49" fmla="*/ 6605 w 10000"/>
                <a:gd name="connsiteY49" fmla="*/ 3245 h 10000"/>
                <a:gd name="connsiteX50" fmla="*/ 6605 w 10000"/>
                <a:gd name="connsiteY50" fmla="*/ 3181 h 10000"/>
                <a:gd name="connsiteX51" fmla="*/ 6612 w 10000"/>
                <a:gd name="connsiteY51" fmla="*/ 3116 h 10000"/>
                <a:gd name="connsiteX52" fmla="*/ 6620 w 10000"/>
                <a:gd name="connsiteY52" fmla="*/ 3052 h 10000"/>
                <a:gd name="connsiteX53" fmla="*/ 6635 w 10000"/>
                <a:gd name="connsiteY53" fmla="*/ 2993 h 10000"/>
                <a:gd name="connsiteX54" fmla="*/ 6649 w 10000"/>
                <a:gd name="connsiteY54" fmla="*/ 2929 h 10000"/>
                <a:gd name="connsiteX55" fmla="*/ 6664 w 10000"/>
                <a:gd name="connsiteY55" fmla="*/ 2869 h 10000"/>
                <a:gd name="connsiteX56" fmla="*/ 6686 w 10000"/>
                <a:gd name="connsiteY56" fmla="*/ 2805 h 10000"/>
                <a:gd name="connsiteX57" fmla="*/ 6709 w 10000"/>
                <a:gd name="connsiteY57" fmla="*/ 2745 h 10000"/>
                <a:gd name="connsiteX58" fmla="*/ 6731 w 10000"/>
                <a:gd name="connsiteY58" fmla="*/ 2686 h 10000"/>
                <a:gd name="connsiteX59" fmla="*/ 6753 w 10000"/>
                <a:gd name="connsiteY59" fmla="*/ 2621 h 10000"/>
                <a:gd name="connsiteX60" fmla="*/ 6783 w 10000"/>
                <a:gd name="connsiteY60" fmla="*/ 2566 h 10000"/>
                <a:gd name="connsiteX61" fmla="*/ 6812 w 10000"/>
                <a:gd name="connsiteY61" fmla="*/ 2507 h 10000"/>
                <a:gd name="connsiteX62" fmla="*/ 6842 w 10000"/>
                <a:gd name="connsiteY62" fmla="*/ 2447 h 10000"/>
                <a:gd name="connsiteX63" fmla="*/ 6879 w 10000"/>
                <a:gd name="connsiteY63" fmla="*/ 2388 h 10000"/>
                <a:gd name="connsiteX64" fmla="*/ 6909 w 10000"/>
                <a:gd name="connsiteY64" fmla="*/ 2333 h 10000"/>
                <a:gd name="connsiteX65" fmla="*/ 6946 w 10000"/>
                <a:gd name="connsiteY65" fmla="*/ 2273 h 10000"/>
                <a:gd name="connsiteX66" fmla="*/ 6990 w 10000"/>
                <a:gd name="connsiteY66" fmla="*/ 2218 h 10000"/>
                <a:gd name="connsiteX67" fmla="*/ 7027 w 10000"/>
                <a:gd name="connsiteY67" fmla="*/ 2163 h 10000"/>
                <a:gd name="connsiteX68" fmla="*/ 7072 w 10000"/>
                <a:gd name="connsiteY68" fmla="*/ 2108 h 10000"/>
                <a:gd name="connsiteX69" fmla="*/ 7109 w 10000"/>
                <a:gd name="connsiteY69" fmla="*/ 2053 h 10000"/>
                <a:gd name="connsiteX70" fmla="*/ 7161 w 10000"/>
                <a:gd name="connsiteY70" fmla="*/ 2003 h 10000"/>
                <a:gd name="connsiteX71" fmla="*/ 7213 w 10000"/>
                <a:gd name="connsiteY71" fmla="*/ 1948 h 10000"/>
                <a:gd name="connsiteX72" fmla="*/ 7257 w 10000"/>
                <a:gd name="connsiteY72" fmla="*/ 1893 h 10000"/>
                <a:gd name="connsiteX73" fmla="*/ 7309 w 10000"/>
                <a:gd name="connsiteY73" fmla="*/ 1842 h 10000"/>
                <a:gd name="connsiteX74" fmla="*/ 7361 w 10000"/>
                <a:gd name="connsiteY74" fmla="*/ 1792 h 10000"/>
                <a:gd name="connsiteX75" fmla="*/ 7413 w 10000"/>
                <a:gd name="connsiteY75" fmla="*/ 1742 h 10000"/>
                <a:gd name="connsiteX76" fmla="*/ 7472 w 10000"/>
                <a:gd name="connsiteY76" fmla="*/ 1691 h 10000"/>
                <a:gd name="connsiteX77" fmla="*/ 7524 w 10000"/>
                <a:gd name="connsiteY77" fmla="*/ 1645 h 10000"/>
                <a:gd name="connsiteX78" fmla="*/ 7583 w 10000"/>
                <a:gd name="connsiteY78" fmla="*/ 1599 h 10000"/>
                <a:gd name="connsiteX79" fmla="*/ 7643 w 10000"/>
                <a:gd name="connsiteY79" fmla="*/ 1549 h 10000"/>
                <a:gd name="connsiteX80" fmla="*/ 5456 w 10000"/>
                <a:gd name="connsiteY80" fmla="*/ 0 h 10000"/>
                <a:gd name="connsiteX81" fmla="*/ 1401 w 10000"/>
                <a:gd name="connsiteY81" fmla="*/ 0 h 10000"/>
                <a:gd name="connsiteX82" fmla="*/ 1305 w 10000"/>
                <a:gd name="connsiteY82" fmla="*/ 128 h 10000"/>
                <a:gd name="connsiteX83" fmla="*/ 1223 w 10000"/>
                <a:gd name="connsiteY83" fmla="*/ 220 h 10000"/>
                <a:gd name="connsiteX84" fmla="*/ 1149 w 10000"/>
                <a:gd name="connsiteY84" fmla="*/ 316 h 10000"/>
                <a:gd name="connsiteX85" fmla="*/ 1067 w 10000"/>
                <a:gd name="connsiteY85" fmla="*/ 412 h 10000"/>
                <a:gd name="connsiteX86" fmla="*/ 1001 w 10000"/>
                <a:gd name="connsiteY86" fmla="*/ 509 h 10000"/>
                <a:gd name="connsiteX87" fmla="*/ 927 w 10000"/>
                <a:gd name="connsiteY87" fmla="*/ 605 h 10000"/>
                <a:gd name="connsiteX88" fmla="*/ 860 w 10000"/>
                <a:gd name="connsiteY88" fmla="*/ 706 h 10000"/>
                <a:gd name="connsiteX89" fmla="*/ 793 w 10000"/>
                <a:gd name="connsiteY89" fmla="*/ 807 h 10000"/>
                <a:gd name="connsiteX90" fmla="*/ 734 w 10000"/>
                <a:gd name="connsiteY90" fmla="*/ 903 h 10000"/>
                <a:gd name="connsiteX91" fmla="*/ 675 w 10000"/>
                <a:gd name="connsiteY91" fmla="*/ 1004 h 10000"/>
                <a:gd name="connsiteX92" fmla="*/ 615 w 10000"/>
                <a:gd name="connsiteY92" fmla="*/ 1104 h 10000"/>
                <a:gd name="connsiteX93" fmla="*/ 556 w 10000"/>
                <a:gd name="connsiteY93" fmla="*/ 1210 h 10000"/>
                <a:gd name="connsiteX94" fmla="*/ 504 w 10000"/>
                <a:gd name="connsiteY94" fmla="*/ 1306 h 10000"/>
                <a:gd name="connsiteX95" fmla="*/ 452 w 10000"/>
                <a:gd name="connsiteY95" fmla="*/ 1412 h 10000"/>
                <a:gd name="connsiteX96" fmla="*/ 408 w 10000"/>
                <a:gd name="connsiteY96" fmla="*/ 1512 h 10000"/>
                <a:gd name="connsiteX97" fmla="*/ 363 w 10000"/>
                <a:gd name="connsiteY97" fmla="*/ 1618 h 10000"/>
                <a:gd name="connsiteX98" fmla="*/ 319 w 10000"/>
                <a:gd name="connsiteY98" fmla="*/ 1723 h 10000"/>
                <a:gd name="connsiteX99" fmla="*/ 282 w 10000"/>
                <a:gd name="connsiteY99" fmla="*/ 1829 h 10000"/>
                <a:gd name="connsiteX100" fmla="*/ 237 w 10000"/>
                <a:gd name="connsiteY100" fmla="*/ 1939 h 10000"/>
                <a:gd name="connsiteX101" fmla="*/ 208 w 10000"/>
                <a:gd name="connsiteY101" fmla="*/ 2044 h 10000"/>
                <a:gd name="connsiteX102" fmla="*/ 170 w 10000"/>
                <a:gd name="connsiteY102" fmla="*/ 2154 h 10000"/>
                <a:gd name="connsiteX103" fmla="*/ 148 w 10000"/>
                <a:gd name="connsiteY103" fmla="*/ 2264 h 10000"/>
                <a:gd name="connsiteX104" fmla="*/ 119 w 10000"/>
                <a:gd name="connsiteY104" fmla="*/ 2369 h 10000"/>
                <a:gd name="connsiteX105" fmla="*/ 96 w 10000"/>
                <a:gd name="connsiteY105" fmla="*/ 2479 h 10000"/>
                <a:gd name="connsiteX106" fmla="*/ 74 w 10000"/>
                <a:gd name="connsiteY106" fmla="*/ 2589 h 10000"/>
                <a:gd name="connsiteX107" fmla="*/ 52 w 10000"/>
                <a:gd name="connsiteY107" fmla="*/ 2704 h 10000"/>
                <a:gd name="connsiteX108" fmla="*/ 37 w 10000"/>
                <a:gd name="connsiteY108" fmla="*/ 2814 h 10000"/>
                <a:gd name="connsiteX109" fmla="*/ 22 w 10000"/>
                <a:gd name="connsiteY109" fmla="*/ 2924 h 10000"/>
                <a:gd name="connsiteX110" fmla="*/ 15 w 10000"/>
                <a:gd name="connsiteY110" fmla="*/ 3034 h 10000"/>
                <a:gd name="connsiteX111" fmla="*/ 7 w 10000"/>
                <a:gd name="connsiteY111" fmla="*/ 3148 h 10000"/>
                <a:gd name="connsiteX112" fmla="*/ 0 w 10000"/>
                <a:gd name="connsiteY112" fmla="*/ 3258 h 10000"/>
                <a:gd name="connsiteX113" fmla="*/ 0 w 10000"/>
                <a:gd name="connsiteY113" fmla="*/ 3373 h 10000"/>
                <a:gd name="connsiteX114" fmla="*/ 7 w 10000"/>
                <a:gd name="connsiteY114" fmla="*/ 3520 h 10000"/>
                <a:gd name="connsiteX115" fmla="*/ 7 w 10000"/>
                <a:gd name="connsiteY115" fmla="*/ 3666 h 10000"/>
                <a:gd name="connsiteX116" fmla="*/ 22 w 10000"/>
                <a:gd name="connsiteY116" fmla="*/ 3804 h 10000"/>
                <a:gd name="connsiteX117" fmla="*/ 37 w 10000"/>
                <a:gd name="connsiteY117" fmla="*/ 3946 h 10000"/>
                <a:gd name="connsiteX118" fmla="*/ 59 w 10000"/>
                <a:gd name="connsiteY118" fmla="*/ 4088 h 10000"/>
                <a:gd name="connsiteX119" fmla="*/ 89 w 10000"/>
                <a:gd name="connsiteY119" fmla="*/ 4230 h 10000"/>
                <a:gd name="connsiteX120" fmla="*/ 119 w 10000"/>
                <a:gd name="connsiteY120" fmla="*/ 4372 h 10000"/>
                <a:gd name="connsiteX121" fmla="*/ 148 w 10000"/>
                <a:gd name="connsiteY121" fmla="*/ 4514 h 10000"/>
                <a:gd name="connsiteX122" fmla="*/ 193 w 10000"/>
                <a:gd name="connsiteY122" fmla="*/ 4652 h 10000"/>
                <a:gd name="connsiteX123" fmla="*/ 237 w 10000"/>
                <a:gd name="connsiteY123" fmla="*/ 4789 h 10000"/>
                <a:gd name="connsiteX124" fmla="*/ 282 w 10000"/>
                <a:gd name="connsiteY124" fmla="*/ 4927 h 10000"/>
                <a:gd name="connsiteX125" fmla="*/ 334 w 10000"/>
                <a:gd name="connsiteY125" fmla="*/ 5064 h 10000"/>
                <a:gd name="connsiteX126" fmla="*/ 393 w 10000"/>
                <a:gd name="connsiteY126" fmla="*/ 5197 h 10000"/>
                <a:gd name="connsiteX127" fmla="*/ 452 w 10000"/>
                <a:gd name="connsiteY127" fmla="*/ 5330 h 10000"/>
                <a:gd name="connsiteX128" fmla="*/ 519 w 10000"/>
                <a:gd name="connsiteY128" fmla="*/ 5463 h 10000"/>
                <a:gd name="connsiteX129" fmla="*/ 586 w 10000"/>
                <a:gd name="connsiteY129" fmla="*/ 5596 h 10000"/>
                <a:gd name="connsiteX130" fmla="*/ 660 w 10000"/>
                <a:gd name="connsiteY130" fmla="*/ 5724 h 10000"/>
                <a:gd name="connsiteX131" fmla="*/ 741 w 10000"/>
                <a:gd name="connsiteY131" fmla="*/ 5852 h 10000"/>
                <a:gd name="connsiteX132" fmla="*/ 823 w 10000"/>
                <a:gd name="connsiteY132" fmla="*/ 5985 h 10000"/>
                <a:gd name="connsiteX133" fmla="*/ 904 w 10000"/>
                <a:gd name="connsiteY133" fmla="*/ 6109 h 10000"/>
                <a:gd name="connsiteX134" fmla="*/ 993 w 10000"/>
                <a:gd name="connsiteY134" fmla="*/ 6233 h 10000"/>
                <a:gd name="connsiteX135" fmla="*/ 1090 w 10000"/>
                <a:gd name="connsiteY135" fmla="*/ 6352 h 10000"/>
                <a:gd name="connsiteX136" fmla="*/ 1186 w 10000"/>
                <a:gd name="connsiteY136" fmla="*/ 6476 h 10000"/>
                <a:gd name="connsiteX137" fmla="*/ 1290 w 10000"/>
                <a:gd name="connsiteY137" fmla="*/ 6599 h 10000"/>
                <a:gd name="connsiteX138" fmla="*/ 1386 w 10000"/>
                <a:gd name="connsiteY138" fmla="*/ 6719 h 10000"/>
                <a:gd name="connsiteX139" fmla="*/ 1497 w 10000"/>
                <a:gd name="connsiteY139" fmla="*/ 6838 h 10000"/>
                <a:gd name="connsiteX140" fmla="*/ 1609 w 10000"/>
                <a:gd name="connsiteY140" fmla="*/ 6952 h 10000"/>
                <a:gd name="connsiteX141" fmla="*/ 1727 w 10000"/>
                <a:gd name="connsiteY141" fmla="*/ 7071 h 10000"/>
                <a:gd name="connsiteX142" fmla="*/ 1846 w 10000"/>
                <a:gd name="connsiteY142" fmla="*/ 7186 h 10000"/>
                <a:gd name="connsiteX143" fmla="*/ 1964 w 10000"/>
                <a:gd name="connsiteY143" fmla="*/ 7296 h 10000"/>
                <a:gd name="connsiteX144" fmla="*/ 2090 w 10000"/>
                <a:gd name="connsiteY144" fmla="*/ 7406 h 10000"/>
                <a:gd name="connsiteX145" fmla="*/ 2224 w 10000"/>
                <a:gd name="connsiteY145" fmla="*/ 7516 h 10000"/>
                <a:gd name="connsiteX146" fmla="*/ 2350 w 10000"/>
                <a:gd name="connsiteY146" fmla="*/ 7626 h 10000"/>
                <a:gd name="connsiteX147" fmla="*/ 2491 w 10000"/>
                <a:gd name="connsiteY147" fmla="*/ 7731 h 10000"/>
                <a:gd name="connsiteX148" fmla="*/ 2617 w 10000"/>
                <a:gd name="connsiteY148" fmla="*/ 7837 h 10000"/>
                <a:gd name="connsiteX149" fmla="*/ 2765 w 10000"/>
                <a:gd name="connsiteY149" fmla="*/ 7938 h 10000"/>
                <a:gd name="connsiteX150" fmla="*/ 2906 w 10000"/>
                <a:gd name="connsiteY150" fmla="*/ 8038 h 10000"/>
                <a:gd name="connsiteX151" fmla="*/ 3054 w 10000"/>
                <a:gd name="connsiteY151" fmla="*/ 8139 h 10000"/>
                <a:gd name="connsiteX152" fmla="*/ 3210 w 10000"/>
                <a:gd name="connsiteY152" fmla="*/ 8236 h 10000"/>
                <a:gd name="connsiteX153" fmla="*/ 3358 w 10000"/>
                <a:gd name="connsiteY153" fmla="*/ 8332 h 10000"/>
                <a:gd name="connsiteX154" fmla="*/ 3514 w 10000"/>
                <a:gd name="connsiteY154" fmla="*/ 8428 h 10000"/>
                <a:gd name="connsiteX155" fmla="*/ 3677 w 10000"/>
                <a:gd name="connsiteY155" fmla="*/ 8520 h 10000"/>
                <a:gd name="connsiteX156" fmla="*/ 3840 w 10000"/>
                <a:gd name="connsiteY156" fmla="*/ 8607 h 10000"/>
                <a:gd name="connsiteX157" fmla="*/ 4010 w 10000"/>
                <a:gd name="connsiteY157" fmla="*/ 8698 h 10000"/>
                <a:gd name="connsiteX158" fmla="*/ 4181 w 10000"/>
                <a:gd name="connsiteY158" fmla="*/ 8776 h 10000"/>
                <a:gd name="connsiteX159" fmla="*/ 4351 w 10000"/>
                <a:gd name="connsiteY159" fmla="*/ 8863 h 10000"/>
                <a:gd name="connsiteX160" fmla="*/ 4522 w 10000"/>
                <a:gd name="connsiteY160" fmla="*/ 8941 h 10000"/>
                <a:gd name="connsiteX161" fmla="*/ 4700 w 10000"/>
                <a:gd name="connsiteY161" fmla="*/ 9024 h 10000"/>
                <a:gd name="connsiteX162" fmla="*/ 4878 w 10000"/>
                <a:gd name="connsiteY162" fmla="*/ 9102 h 10000"/>
                <a:gd name="connsiteX163" fmla="*/ 5063 w 10000"/>
                <a:gd name="connsiteY163" fmla="*/ 9175 h 10000"/>
                <a:gd name="connsiteX164" fmla="*/ 5248 w 10000"/>
                <a:gd name="connsiteY164" fmla="*/ 9253 h 10000"/>
                <a:gd name="connsiteX165" fmla="*/ 5426 w 10000"/>
                <a:gd name="connsiteY165" fmla="*/ 9322 h 10000"/>
                <a:gd name="connsiteX166" fmla="*/ 5619 w 10000"/>
                <a:gd name="connsiteY166" fmla="*/ 9390 h 10000"/>
                <a:gd name="connsiteX167" fmla="*/ 5812 w 10000"/>
                <a:gd name="connsiteY167" fmla="*/ 9459 h 10000"/>
                <a:gd name="connsiteX168" fmla="*/ 6004 w 10000"/>
                <a:gd name="connsiteY168" fmla="*/ 9523 h 10000"/>
                <a:gd name="connsiteX169" fmla="*/ 6205 w 10000"/>
                <a:gd name="connsiteY169" fmla="*/ 9588 h 10000"/>
                <a:gd name="connsiteX170" fmla="*/ 6397 w 10000"/>
                <a:gd name="connsiteY170" fmla="*/ 9647 h 10000"/>
                <a:gd name="connsiteX171" fmla="*/ 6605 w 10000"/>
                <a:gd name="connsiteY171" fmla="*/ 9702 h 10000"/>
                <a:gd name="connsiteX172" fmla="*/ 6805 w 10000"/>
                <a:gd name="connsiteY172" fmla="*/ 9757 h 10000"/>
                <a:gd name="connsiteX173" fmla="*/ 7005 w 10000"/>
                <a:gd name="connsiteY173" fmla="*/ 9812 h 10000"/>
                <a:gd name="connsiteX174" fmla="*/ 7213 w 10000"/>
                <a:gd name="connsiteY174" fmla="*/ 9863 h 10000"/>
                <a:gd name="connsiteX175" fmla="*/ 7420 w 10000"/>
                <a:gd name="connsiteY175" fmla="*/ 9908 h 10000"/>
                <a:gd name="connsiteX176" fmla="*/ 7628 w 10000"/>
                <a:gd name="connsiteY176" fmla="*/ 9954 h 10000"/>
                <a:gd name="connsiteX177" fmla="*/ 7835 w 10000"/>
                <a:gd name="connsiteY177" fmla="*/ 10000 h 10000"/>
                <a:gd name="connsiteX178" fmla="*/ 7539 w 10000"/>
                <a:gd name="connsiteY178" fmla="*/ 7754 h 10000"/>
                <a:gd name="connsiteX179" fmla="*/ 10000 w 10000"/>
                <a:gd name="connsiteY179" fmla="*/ 6141 h 10000"/>
                <a:gd name="connsiteX0" fmla="*/ 10000 w 10000"/>
                <a:gd name="connsiteY0" fmla="*/ 6141 h 10000"/>
                <a:gd name="connsiteX1" fmla="*/ 10000 w 10000"/>
                <a:gd name="connsiteY1" fmla="*/ 6141 h 10000"/>
                <a:gd name="connsiteX2" fmla="*/ 9911 w 10000"/>
                <a:gd name="connsiteY2" fmla="*/ 6127 h 10000"/>
                <a:gd name="connsiteX3" fmla="*/ 9815 w 10000"/>
                <a:gd name="connsiteY3" fmla="*/ 6109 h 10000"/>
                <a:gd name="connsiteX4" fmla="*/ 9726 w 10000"/>
                <a:gd name="connsiteY4" fmla="*/ 6091 h 10000"/>
                <a:gd name="connsiteX5" fmla="*/ 9637 w 10000"/>
                <a:gd name="connsiteY5" fmla="*/ 6068 h 10000"/>
                <a:gd name="connsiteX6" fmla="*/ 9548 w 10000"/>
                <a:gd name="connsiteY6" fmla="*/ 6049 h 10000"/>
                <a:gd name="connsiteX7" fmla="*/ 9466 w 10000"/>
                <a:gd name="connsiteY7" fmla="*/ 6027 h 10000"/>
                <a:gd name="connsiteX8" fmla="*/ 9377 w 10000"/>
                <a:gd name="connsiteY8" fmla="*/ 6004 h 10000"/>
                <a:gd name="connsiteX9" fmla="*/ 9288 w 10000"/>
                <a:gd name="connsiteY9" fmla="*/ 5981 h 10000"/>
                <a:gd name="connsiteX10" fmla="*/ 9118 w 10000"/>
                <a:gd name="connsiteY10" fmla="*/ 5930 h 10000"/>
                <a:gd name="connsiteX11" fmla="*/ 8955 w 10000"/>
                <a:gd name="connsiteY11" fmla="*/ 5875 h 10000"/>
                <a:gd name="connsiteX12" fmla="*/ 8792 w 10000"/>
                <a:gd name="connsiteY12" fmla="*/ 5816 h 10000"/>
                <a:gd name="connsiteX13" fmla="*/ 8636 w 10000"/>
                <a:gd name="connsiteY13" fmla="*/ 5752 h 10000"/>
                <a:gd name="connsiteX14" fmla="*/ 8480 w 10000"/>
                <a:gd name="connsiteY14" fmla="*/ 5687 h 10000"/>
                <a:gd name="connsiteX15" fmla="*/ 8340 w 10000"/>
                <a:gd name="connsiteY15" fmla="*/ 5619 h 10000"/>
                <a:gd name="connsiteX16" fmla="*/ 8199 w 10000"/>
                <a:gd name="connsiteY16" fmla="*/ 5545 h 10000"/>
                <a:gd name="connsiteX17" fmla="*/ 8058 w 10000"/>
                <a:gd name="connsiteY17" fmla="*/ 5467 h 10000"/>
                <a:gd name="connsiteX18" fmla="*/ 7924 w 10000"/>
                <a:gd name="connsiteY18" fmla="*/ 5385 h 10000"/>
                <a:gd name="connsiteX19" fmla="*/ 7798 w 10000"/>
                <a:gd name="connsiteY19" fmla="*/ 5302 h 10000"/>
                <a:gd name="connsiteX20" fmla="*/ 7672 w 10000"/>
                <a:gd name="connsiteY20" fmla="*/ 5215 h 10000"/>
                <a:gd name="connsiteX21" fmla="*/ 7554 w 10000"/>
                <a:gd name="connsiteY21" fmla="*/ 5128 h 10000"/>
                <a:gd name="connsiteX22" fmla="*/ 7450 w 10000"/>
                <a:gd name="connsiteY22" fmla="*/ 5032 h 10000"/>
                <a:gd name="connsiteX23" fmla="*/ 7346 w 10000"/>
                <a:gd name="connsiteY23" fmla="*/ 4936 h 10000"/>
                <a:gd name="connsiteX24" fmla="*/ 7250 w 10000"/>
                <a:gd name="connsiteY24" fmla="*/ 4840 h 10000"/>
                <a:gd name="connsiteX25" fmla="*/ 7161 w 10000"/>
                <a:gd name="connsiteY25" fmla="*/ 4739 h 10000"/>
                <a:gd name="connsiteX26" fmla="*/ 7072 w 10000"/>
                <a:gd name="connsiteY26" fmla="*/ 4638 h 10000"/>
                <a:gd name="connsiteX27" fmla="*/ 6990 w 10000"/>
                <a:gd name="connsiteY27" fmla="*/ 4528 h 10000"/>
                <a:gd name="connsiteX28" fmla="*/ 6953 w 10000"/>
                <a:gd name="connsiteY28" fmla="*/ 4478 h 10000"/>
                <a:gd name="connsiteX29" fmla="*/ 6916 w 10000"/>
                <a:gd name="connsiteY29" fmla="*/ 4423 h 10000"/>
                <a:gd name="connsiteX30" fmla="*/ 6887 w 10000"/>
                <a:gd name="connsiteY30" fmla="*/ 4368 h 10000"/>
                <a:gd name="connsiteX31" fmla="*/ 6850 w 10000"/>
                <a:gd name="connsiteY31" fmla="*/ 4313 h 10000"/>
                <a:gd name="connsiteX32" fmla="*/ 6820 w 10000"/>
                <a:gd name="connsiteY32" fmla="*/ 4258 h 10000"/>
                <a:gd name="connsiteX33" fmla="*/ 6790 w 10000"/>
                <a:gd name="connsiteY33" fmla="*/ 4203 h 10000"/>
                <a:gd name="connsiteX34" fmla="*/ 6768 w 10000"/>
                <a:gd name="connsiteY34" fmla="*/ 4143 h 10000"/>
                <a:gd name="connsiteX35" fmla="*/ 6738 w 10000"/>
                <a:gd name="connsiteY35" fmla="*/ 4088 h 10000"/>
                <a:gd name="connsiteX36" fmla="*/ 6723 w 10000"/>
                <a:gd name="connsiteY36" fmla="*/ 4028 h 10000"/>
                <a:gd name="connsiteX37" fmla="*/ 6694 w 10000"/>
                <a:gd name="connsiteY37" fmla="*/ 3973 h 10000"/>
                <a:gd name="connsiteX38" fmla="*/ 6679 w 10000"/>
                <a:gd name="connsiteY38" fmla="*/ 3914 h 10000"/>
                <a:gd name="connsiteX39" fmla="*/ 6664 w 10000"/>
                <a:gd name="connsiteY39" fmla="*/ 3854 h 10000"/>
                <a:gd name="connsiteX40" fmla="*/ 6649 w 10000"/>
                <a:gd name="connsiteY40" fmla="*/ 3795 h 10000"/>
                <a:gd name="connsiteX41" fmla="*/ 6635 w 10000"/>
                <a:gd name="connsiteY41" fmla="*/ 3740 h 10000"/>
                <a:gd name="connsiteX42" fmla="*/ 6620 w 10000"/>
                <a:gd name="connsiteY42" fmla="*/ 3680 h 10000"/>
                <a:gd name="connsiteX43" fmla="*/ 6612 w 10000"/>
                <a:gd name="connsiteY43" fmla="*/ 3621 h 10000"/>
                <a:gd name="connsiteX44" fmla="*/ 6605 w 10000"/>
                <a:gd name="connsiteY44" fmla="*/ 3561 h 10000"/>
                <a:gd name="connsiteX45" fmla="*/ 6597 w 10000"/>
                <a:gd name="connsiteY45" fmla="*/ 3497 h 10000"/>
                <a:gd name="connsiteX46" fmla="*/ 6597 w 10000"/>
                <a:gd name="connsiteY46" fmla="*/ 3437 h 10000"/>
                <a:gd name="connsiteX47" fmla="*/ 6590 w 10000"/>
                <a:gd name="connsiteY47" fmla="*/ 3373 h 10000"/>
                <a:gd name="connsiteX48" fmla="*/ 6597 w 10000"/>
                <a:gd name="connsiteY48" fmla="*/ 3313 h 10000"/>
                <a:gd name="connsiteX49" fmla="*/ 6605 w 10000"/>
                <a:gd name="connsiteY49" fmla="*/ 3245 h 10000"/>
                <a:gd name="connsiteX50" fmla="*/ 6605 w 10000"/>
                <a:gd name="connsiteY50" fmla="*/ 3181 h 10000"/>
                <a:gd name="connsiteX51" fmla="*/ 6612 w 10000"/>
                <a:gd name="connsiteY51" fmla="*/ 3116 h 10000"/>
                <a:gd name="connsiteX52" fmla="*/ 6620 w 10000"/>
                <a:gd name="connsiteY52" fmla="*/ 3052 h 10000"/>
                <a:gd name="connsiteX53" fmla="*/ 6635 w 10000"/>
                <a:gd name="connsiteY53" fmla="*/ 2993 h 10000"/>
                <a:gd name="connsiteX54" fmla="*/ 6649 w 10000"/>
                <a:gd name="connsiteY54" fmla="*/ 2929 h 10000"/>
                <a:gd name="connsiteX55" fmla="*/ 6664 w 10000"/>
                <a:gd name="connsiteY55" fmla="*/ 2869 h 10000"/>
                <a:gd name="connsiteX56" fmla="*/ 6686 w 10000"/>
                <a:gd name="connsiteY56" fmla="*/ 2805 h 10000"/>
                <a:gd name="connsiteX57" fmla="*/ 6709 w 10000"/>
                <a:gd name="connsiteY57" fmla="*/ 2745 h 10000"/>
                <a:gd name="connsiteX58" fmla="*/ 6731 w 10000"/>
                <a:gd name="connsiteY58" fmla="*/ 2686 h 10000"/>
                <a:gd name="connsiteX59" fmla="*/ 6753 w 10000"/>
                <a:gd name="connsiteY59" fmla="*/ 2621 h 10000"/>
                <a:gd name="connsiteX60" fmla="*/ 6783 w 10000"/>
                <a:gd name="connsiteY60" fmla="*/ 2566 h 10000"/>
                <a:gd name="connsiteX61" fmla="*/ 6812 w 10000"/>
                <a:gd name="connsiteY61" fmla="*/ 2507 h 10000"/>
                <a:gd name="connsiteX62" fmla="*/ 6842 w 10000"/>
                <a:gd name="connsiteY62" fmla="*/ 2447 h 10000"/>
                <a:gd name="connsiteX63" fmla="*/ 6879 w 10000"/>
                <a:gd name="connsiteY63" fmla="*/ 2388 h 10000"/>
                <a:gd name="connsiteX64" fmla="*/ 6909 w 10000"/>
                <a:gd name="connsiteY64" fmla="*/ 2333 h 10000"/>
                <a:gd name="connsiteX65" fmla="*/ 6946 w 10000"/>
                <a:gd name="connsiteY65" fmla="*/ 2273 h 10000"/>
                <a:gd name="connsiteX66" fmla="*/ 6990 w 10000"/>
                <a:gd name="connsiteY66" fmla="*/ 2218 h 10000"/>
                <a:gd name="connsiteX67" fmla="*/ 7027 w 10000"/>
                <a:gd name="connsiteY67" fmla="*/ 2163 h 10000"/>
                <a:gd name="connsiteX68" fmla="*/ 7072 w 10000"/>
                <a:gd name="connsiteY68" fmla="*/ 2108 h 10000"/>
                <a:gd name="connsiteX69" fmla="*/ 7109 w 10000"/>
                <a:gd name="connsiteY69" fmla="*/ 2053 h 10000"/>
                <a:gd name="connsiteX70" fmla="*/ 7161 w 10000"/>
                <a:gd name="connsiteY70" fmla="*/ 2003 h 10000"/>
                <a:gd name="connsiteX71" fmla="*/ 7213 w 10000"/>
                <a:gd name="connsiteY71" fmla="*/ 1948 h 10000"/>
                <a:gd name="connsiteX72" fmla="*/ 7257 w 10000"/>
                <a:gd name="connsiteY72" fmla="*/ 1893 h 10000"/>
                <a:gd name="connsiteX73" fmla="*/ 7309 w 10000"/>
                <a:gd name="connsiteY73" fmla="*/ 1842 h 10000"/>
                <a:gd name="connsiteX74" fmla="*/ 7361 w 10000"/>
                <a:gd name="connsiteY74" fmla="*/ 1792 h 10000"/>
                <a:gd name="connsiteX75" fmla="*/ 7413 w 10000"/>
                <a:gd name="connsiteY75" fmla="*/ 1742 h 10000"/>
                <a:gd name="connsiteX76" fmla="*/ 7472 w 10000"/>
                <a:gd name="connsiteY76" fmla="*/ 1691 h 10000"/>
                <a:gd name="connsiteX77" fmla="*/ 7524 w 10000"/>
                <a:gd name="connsiteY77" fmla="*/ 1645 h 10000"/>
                <a:gd name="connsiteX78" fmla="*/ 7583 w 10000"/>
                <a:gd name="connsiteY78" fmla="*/ 1599 h 10000"/>
                <a:gd name="connsiteX79" fmla="*/ 7643 w 10000"/>
                <a:gd name="connsiteY79" fmla="*/ 1549 h 10000"/>
                <a:gd name="connsiteX80" fmla="*/ 5434 w 10000"/>
                <a:gd name="connsiteY80" fmla="*/ 0 h 10000"/>
                <a:gd name="connsiteX81" fmla="*/ 1401 w 10000"/>
                <a:gd name="connsiteY81" fmla="*/ 0 h 10000"/>
                <a:gd name="connsiteX82" fmla="*/ 1305 w 10000"/>
                <a:gd name="connsiteY82" fmla="*/ 128 h 10000"/>
                <a:gd name="connsiteX83" fmla="*/ 1223 w 10000"/>
                <a:gd name="connsiteY83" fmla="*/ 220 h 10000"/>
                <a:gd name="connsiteX84" fmla="*/ 1149 w 10000"/>
                <a:gd name="connsiteY84" fmla="*/ 316 h 10000"/>
                <a:gd name="connsiteX85" fmla="*/ 1067 w 10000"/>
                <a:gd name="connsiteY85" fmla="*/ 412 h 10000"/>
                <a:gd name="connsiteX86" fmla="*/ 1001 w 10000"/>
                <a:gd name="connsiteY86" fmla="*/ 509 h 10000"/>
                <a:gd name="connsiteX87" fmla="*/ 927 w 10000"/>
                <a:gd name="connsiteY87" fmla="*/ 605 h 10000"/>
                <a:gd name="connsiteX88" fmla="*/ 860 w 10000"/>
                <a:gd name="connsiteY88" fmla="*/ 706 h 10000"/>
                <a:gd name="connsiteX89" fmla="*/ 793 w 10000"/>
                <a:gd name="connsiteY89" fmla="*/ 807 h 10000"/>
                <a:gd name="connsiteX90" fmla="*/ 734 w 10000"/>
                <a:gd name="connsiteY90" fmla="*/ 903 h 10000"/>
                <a:gd name="connsiteX91" fmla="*/ 675 w 10000"/>
                <a:gd name="connsiteY91" fmla="*/ 1004 h 10000"/>
                <a:gd name="connsiteX92" fmla="*/ 615 w 10000"/>
                <a:gd name="connsiteY92" fmla="*/ 1104 h 10000"/>
                <a:gd name="connsiteX93" fmla="*/ 556 w 10000"/>
                <a:gd name="connsiteY93" fmla="*/ 1210 h 10000"/>
                <a:gd name="connsiteX94" fmla="*/ 504 w 10000"/>
                <a:gd name="connsiteY94" fmla="*/ 1306 h 10000"/>
                <a:gd name="connsiteX95" fmla="*/ 452 w 10000"/>
                <a:gd name="connsiteY95" fmla="*/ 1412 h 10000"/>
                <a:gd name="connsiteX96" fmla="*/ 408 w 10000"/>
                <a:gd name="connsiteY96" fmla="*/ 1512 h 10000"/>
                <a:gd name="connsiteX97" fmla="*/ 363 w 10000"/>
                <a:gd name="connsiteY97" fmla="*/ 1618 h 10000"/>
                <a:gd name="connsiteX98" fmla="*/ 319 w 10000"/>
                <a:gd name="connsiteY98" fmla="*/ 1723 h 10000"/>
                <a:gd name="connsiteX99" fmla="*/ 282 w 10000"/>
                <a:gd name="connsiteY99" fmla="*/ 1829 h 10000"/>
                <a:gd name="connsiteX100" fmla="*/ 237 w 10000"/>
                <a:gd name="connsiteY100" fmla="*/ 1939 h 10000"/>
                <a:gd name="connsiteX101" fmla="*/ 208 w 10000"/>
                <a:gd name="connsiteY101" fmla="*/ 2044 h 10000"/>
                <a:gd name="connsiteX102" fmla="*/ 170 w 10000"/>
                <a:gd name="connsiteY102" fmla="*/ 2154 h 10000"/>
                <a:gd name="connsiteX103" fmla="*/ 148 w 10000"/>
                <a:gd name="connsiteY103" fmla="*/ 2264 h 10000"/>
                <a:gd name="connsiteX104" fmla="*/ 119 w 10000"/>
                <a:gd name="connsiteY104" fmla="*/ 2369 h 10000"/>
                <a:gd name="connsiteX105" fmla="*/ 96 w 10000"/>
                <a:gd name="connsiteY105" fmla="*/ 2479 h 10000"/>
                <a:gd name="connsiteX106" fmla="*/ 74 w 10000"/>
                <a:gd name="connsiteY106" fmla="*/ 2589 h 10000"/>
                <a:gd name="connsiteX107" fmla="*/ 52 w 10000"/>
                <a:gd name="connsiteY107" fmla="*/ 2704 h 10000"/>
                <a:gd name="connsiteX108" fmla="*/ 37 w 10000"/>
                <a:gd name="connsiteY108" fmla="*/ 2814 h 10000"/>
                <a:gd name="connsiteX109" fmla="*/ 22 w 10000"/>
                <a:gd name="connsiteY109" fmla="*/ 2924 h 10000"/>
                <a:gd name="connsiteX110" fmla="*/ 15 w 10000"/>
                <a:gd name="connsiteY110" fmla="*/ 3034 h 10000"/>
                <a:gd name="connsiteX111" fmla="*/ 7 w 10000"/>
                <a:gd name="connsiteY111" fmla="*/ 3148 h 10000"/>
                <a:gd name="connsiteX112" fmla="*/ 0 w 10000"/>
                <a:gd name="connsiteY112" fmla="*/ 3258 h 10000"/>
                <a:gd name="connsiteX113" fmla="*/ 0 w 10000"/>
                <a:gd name="connsiteY113" fmla="*/ 3373 h 10000"/>
                <a:gd name="connsiteX114" fmla="*/ 7 w 10000"/>
                <a:gd name="connsiteY114" fmla="*/ 3520 h 10000"/>
                <a:gd name="connsiteX115" fmla="*/ 7 w 10000"/>
                <a:gd name="connsiteY115" fmla="*/ 3666 h 10000"/>
                <a:gd name="connsiteX116" fmla="*/ 22 w 10000"/>
                <a:gd name="connsiteY116" fmla="*/ 3804 h 10000"/>
                <a:gd name="connsiteX117" fmla="*/ 37 w 10000"/>
                <a:gd name="connsiteY117" fmla="*/ 3946 h 10000"/>
                <a:gd name="connsiteX118" fmla="*/ 59 w 10000"/>
                <a:gd name="connsiteY118" fmla="*/ 4088 h 10000"/>
                <a:gd name="connsiteX119" fmla="*/ 89 w 10000"/>
                <a:gd name="connsiteY119" fmla="*/ 4230 h 10000"/>
                <a:gd name="connsiteX120" fmla="*/ 119 w 10000"/>
                <a:gd name="connsiteY120" fmla="*/ 4372 h 10000"/>
                <a:gd name="connsiteX121" fmla="*/ 148 w 10000"/>
                <a:gd name="connsiteY121" fmla="*/ 4514 h 10000"/>
                <a:gd name="connsiteX122" fmla="*/ 193 w 10000"/>
                <a:gd name="connsiteY122" fmla="*/ 4652 h 10000"/>
                <a:gd name="connsiteX123" fmla="*/ 237 w 10000"/>
                <a:gd name="connsiteY123" fmla="*/ 4789 h 10000"/>
                <a:gd name="connsiteX124" fmla="*/ 282 w 10000"/>
                <a:gd name="connsiteY124" fmla="*/ 4927 h 10000"/>
                <a:gd name="connsiteX125" fmla="*/ 334 w 10000"/>
                <a:gd name="connsiteY125" fmla="*/ 5064 h 10000"/>
                <a:gd name="connsiteX126" fmla="*/ 393 w 10000"/>
                <a:gd name="connsiteY126" fmla="*/ 5197 h 10000"/>
                <a:gd name="connsiteX127" fmla="*/ 452 w 10000"/>
                <a:gd name="connsiteY127" fmla="*/ 5330 h 10000"/>
                <a:gd name="connsiteX128" fmla="*/ 519 w 10000"/>
                <a:gd name="connsiteY128" fmla="*/ 5463 h 10000"/>
                <a:gd name="connsiteX129" fmla="*/ 586 w 10000"/>
                <a:gd name="connsiteY129" fmla="*/ 5596 h 10000"/>
                <a:gd name="connsiteX130" fmla="*/ 660 w 10000"/>
                <a:gd name="connsiteY130" fmla="*/ 5724 h 10000"/>
                <a:gd name="connsiteX131" fmla="*/ 741 w 10000"/>
                <a:gd name="connsiteY131" fmla="*/ 5852 h 10000"/>
                <a:gd name="connsiteX132" fmla="*/ 823 w 10000"/>
                <a:gd name="connsiteY132" fmla="*/ 5985 h 10000"/>
                <a:gd name="connsiteX133" fmla="*/ 904 w 10000"/>
                <a:gd name="connsiteY133" fmla="*/ 6109 h 10000"/>
                <a:gd name="connsiteX134" fmla="*/ 993 w 10000"/>
                <a:gd name="connsiteY134" fmla="*/ 6233 h 10000"/>
                <a:gd name="connsiteX135" fmla="*/ 1090 w 10000"/>
                <a:gd name="connsiteY135" fmla="*/ 6352 h 10000"/>
                <a:gd name="connsiteX136" fmla="*/ 1186 w 10000"/>
                <a:gd name="connsiteY136" fmla="*/ 6476 h 10000"/>
                <a:gd name="connsiteX137" fmla="*/ 1290 w 10000"/>
                <a:gd name="connsiteY137" fmla="*/ 6599 h 10000"/>
                <a:gd name="connsiteX138" fmla="*/ 1386 w 10000"/>
                <a:gd name="connsiteY138" fmla="*/ 6719 h 10000"/>
                <a:gd name="connsiteX139" fmla="*/ 1497 w 10000"/>
                <a:gd name="connsiteY139" fmla="*/ 6838 h 10000"/>
                <a:gd name="connsiteX140" fmla="*/ 1609 w 10000"/>
                <a:gd name="connsiteY140" fmla="*/ 6952 h 10000"/>
                <a:gd name="connsiteX141" fmla="*/ 1727 w 10000"/>
                <a:gd name="connsiteY141" fmla="*/ 7071 h 10000"/>
                <a:gd name="connsiteX142" fmla="*/ 1846 w 10000"/>
                <a:gd name="connsiteY142" fmla="*/ 7186 h 10000"/>
                <a:gd name="connsiteX143" fmla="*/ 1964 w 10000"/>
                <a:gd name="connsiteY143" fmla="*/ 7296 h 10000"/>
                <a:gd name="connsiteX144" fmla="*/ 2090 w 10000"/>
                <a:gd name="connsiteY144" fmla="*/ 7406 h 10000"/>
                <a:gd name="connsiteX145" fmla="*/ 2224 w 10000"/>
                <a:gd name="connsiteY145" fmla="*/ 7516 h 10000"/>
                <a:gd name="connsiteX146" fmla="*/ 2350 w 10000"/>
                <a:gd name="connsiteY146" fmla="*/ 7626 h 10000"/>
                <a:gd name="connsiteX147" fmla="*/ 2491 w 10000"/>
                <a:gd name="connsiteY147" fmla="*/ 7731 h 10000"/>
                <a:gd name="connsiteX148" fmla="*/ 2617 w 10000"/>
                <a:gd name="connsiteY148" fmla="*/ 7837 h 10000"/>
                <a:gd name="connsiteX149" fmla="*/ 2765 w 10000"/>
                <a:gd name="connsiteY149" fmla="*/ 7938 h 10000"/>
                <a:gd name="connsiteX150" fmla="*/ 2906 w 10000"/>
                <a:gd name="connsiteY150" fmla="*/ 8038 h 10000"/>
                <a:gd name="connsiteX151" fmla="*/ 3054 w 10000"/>
                <a:gd name="connsiteY151" fmla="*/ 8139 h 10000"/>
                <a:gd name="connsiteX152" fmla="*/ 3210 w 10000"/>
                <a:gd name="connsiteY152" fmla="*/ 8236 h 10000"/>
                <a:gd name="connsiteX153" fmla="*/ 3358 w 10000"/>
                <a:gd name="connsiteY153" fmla="*/ 8332 h 10000"/>
                <a:gd name="connsiteX154" fmla="*/ 3514 w 10000"/>
                <a:gd name="connsiteY154" fmla="*/ 8428 h 10000"/>
                <a:gd name="connsiteX155" fmla="*/ 3677 w 10000"/>
                <a:gd name="connsiteY155" fmla="*/ 8520 h 10000"/>
                <a:gd name="connsiteX156" fmla="*/ 3840 w 10000"/>
                <a:gd name="connsiteY156" fmla="*/ 8607 h 10000"/>
                <a:gd name="connsiteX157" fmla="*/ 4010 w 10000"/>
                <a:gd name="connsiteY157" fmla="*/ 8698 h 10000"/>
                <a:gd name="connsiteX158" fmla="*/ 4181 w 10000"/>
                <a:gd name="connsiteY158" fmla="*/ 8776 h 10000"/>
                <a:gd name="connsiteX159" fmla="*/ 4351 w 10000"/>
                <a:gd name="connsiteY159" fmla="*/ 8863 h 10000"/>
                <a:gd name="connsiteX160" fmla="*/ 4522 w 10000"/>
                <a:gd name="connsiteY160" fmla="*/ 8941 h 10000"/>
                <a:gd name="connsiteX161" fmla="*/ 4700 w 10000"/>
                <a:gd name="connsiteY161" fmla="*/ 9024 h 10000"/>
                <a:gd name="connsiteX162" fmla="*/ 4878 w 10000"/>
                <a:gd name="connsiteY162" fmla="*/ 9102 h 10000"/>
                <a:gd name="connsiteX163" fmla="*/ 5063 w 10000"/>
                <a:gd name="connsiteY163" fmla="*/ 9175 h 10000"/>
                <a:gd name="connsiteX164" fmla="*/ 5248 w 10000"/>
                <a:gd name="connsiteY164" fmla="*/ 9253 h 10000"/>
                <a:gd name="connsiteX165" fmla="*/ 5426 w 10000"/>
                <a:gd name="connsiteY165" fmla="*/ 9322 h 10000"/>
                <a:gd name="connsiteX166" fmla="*/ 5619 w 10000"/>
                <a:gd name="connsiteY166" fmla="*/ 9390 h 10000"/>
                <a:gd name="connsiteX167" fmla="*/ 5812 w 10000"/>
                <a:gd name="connsiteY167" fmla="*/ 9459 h 10000"/>
                <a:gd name="connsiteX168" fmla="*/ 6004 w 10000"/>
                <a:gd name="connsiteY168" fmla="*/ 9523 h 10000"/>
                <a:gd name="connsiteX169" fmla="*/ 6205 w 10000"/>
                <a:gd name="connsiteY169" fmla="*/ 9588 h 10000"/>
                <a:gd name="connsiteX170" fmla="*/ 6397 w 10000"/>
                <a:gd name="connsiteY170" fmla="*/ 9647 h 10000"/>
                <a:gd name="connsiteX171" fmla="*/ 6605 w 10000"/>
                <a:gd name="connsiteY171" fmla="*/ 9702 h 10000"/>
                <a:gd name="connsiteX172" fmla="*/ 6805 w 10000"/>
                <a:gd name="connsiteY172" fmla="*/ 9757 h 10000"/>
                <a:gd name="connsiteX173" fmla="*/ 7005 w 10000"/>
                <a:gd name="connsiteY173" fmla="*/ 9812 h 10000"/>
                <a:gd name="connsiteX174" fmla="*/ 7213 w 10000"/>
                <a:gd name="connsiteY174" fmla="*/ 9863 h 10000"/>
                <a:gd name="connsiteX175" fmla="*/ 7420 w 10000"/>
                <a:gd name="connsiteY175" fmla="*/ 9908 h 10000"/>
                <a:gd name="connsiteX176" fmla="*/ 7628 w 10000"/>
                <a:gd name="connsiteY176" fmla="*/ 9954 h 10000"/>
                <a:gd name="connsiteX177" fmla="*/ 7835 w 10000"/>
                <a:gd name="connsiteY177" fmla="*/ 10000 h 10000"/>
                <a:gd name="connsiteX178" fmla="*/ 7539 w 10000"/>
                <a:gd name="connsiteY178" fmla="*/ 7754 h 10000"/>
                <a:gd name="connsiteX179" fmla="*/ 10000 w 10000"/>
                <a:gd name="connsiteY179" fmla="*/ 6141 h 10000"/>
                <a:gd name="connsiteX0" fmla="*/ 10000 w 10000"/>
                <a:gd name="connsiteY0" fmla="*/ 6162 h 10021"/>
                <a:gd name="connsiteX1" fmla="*/ 10000 w 10000"/>
                <a:gd name="connsiteY1" fmla="*/ 6162 h 10021"/>
                <a:gd name="connsiteX2" fmla="*/ 9911 w 10000"/>
                <a:gd name="connsiteY2" fmla="*/ 6148 h 10021"/>
                <a:gd name="connsiteX3" fmla="*/ 9815 w 10000"/>
                <a:gd name="connsiteY3" fmla="*/ 6130 h 10021"/>
                <a:gd name="connsiteX4" fmla="*/ 9726 w 10000"/>
                <a:gd name="connsiteY4" fmla="*/ 6112 h 10021"/>
                <a:gd name="connsiteX5" fmla="*/ 9637 w 10000"/>
                <a:gd name="connsiteY5" fmla="*/ 6089 h 10021"/>
                <a:gd name="connsiteX6" fmla="*/ 9548 w 10000"/>
                <a:gd name="connsiteY6" fmla="*/ 6070 h 10021"/>
                <a:gd name="connsiteX7" fmla="*/ 9466 w 10000"/>
                <a:gd name="connsiteY7" fmla="*/ 6048 h 10021"/>
                <a:gd name="connsiteX8" fmla="*/ 9377 w 10000"/>
                <a:gd name="connsiteY8" fmla="*/ 6025 h 10021"/>
                <a:gd name="connsiteX9" fmla="*/ 9288 w 10000"/>
                <a:gd name="connsiteY9" fmla="*/ 6002 h 10021"/>
                <a:gd name="connsiteX10" fmla="*/ 9118 w 10000"/>
                <a:gd name="connsiteY10" fmla="*/ 5951 h 10021"/>
                <a:gd name="connsiteX11" fmla="*/ 8955 w 10000"/>
                <a:gd name="connsiteY11" fmla="*/ 5896 h 10021"/>
                <a:gd name="connsiteX12" fmla="*/ 8792 w 10000"/>
                <a:gd name="connsiteY12" fmla="*/ 5837 h 10021"/>
                <a:gd name="connsiteX13" fmla="*/ 8636 w 10000"/>
                <a:gd name="connsiteY13" fmla="*/ 5773 h 10021"/>
                <a:gd name="connsiteX14" fmla="*/ 8480 w 10000"/>
                <a:gd name="connsiteY14" fmla="*/ 5708 h 10021"/>
                <a:gd name="connsiteX15" fmla="*/ 8340 w 10000"/>
                <a:gd name="connsiteY15" fmla="*/ 5640 h 10021"/>
                <a:gd name="connsiteX16" fmla="*/ 8199 w 10000"/>
                <a:gd name="connsiteY16" fmla="*/ 5566 h 10021"/>
                <a:gd name="connsiteX17" fmla="*/ 8058 w 10000"/>
                <a:gd name="connsiteY17" fmla="*/ 5488 h 10021"/>
                <a:gd name="connsiteX18" fmla="*/ 7924 w 10000"/>
                <a:gd name="connsiteY18" fmla="*/ 5406 h 10021"/>
                <a:gd name="connsiteX19" fmla="*/ 7798 w 10000"/>
                <a:gd name="connsiteY19" fmla="*/ 5323 h 10021"/>
                <a:gd name="connsiteX20" fmla="*/ 7672 w 10000"/>
                <a:gd name="connsiteY20" fmla="*/ 5236 h 10021"/>
                <a:gd name="connsiteX21" fmla="*/ 7554 w 10000"/>
                <a:gd name="connsiteY21" fmla="*/ 5149 h 10021"/>
                <a:gd name="connsiteX22" fmla="*/ 7450 w 10000"/>
                <a:gd name="connsiteY22" fmla="*/ 5053 h 10021"/>
                <a:gd name="connsiteX23" fmla="*/ 7346 w 10000"/>
                <a:gd name="connsiteY23" fmla="*/ 4957 h 10021"/>
                <a:gd name="connsiteX24" fmla="*/ 7250 w 10000"/>
                <a:gd name="connsiteY24" fmla="*/ 4861 h 10021"/>
                <a:gd name="connsiteX25" fmla="*/ 7161 w 10000"/>
                <a:gd name="connsiteY25" fmla="*/ 4760 h 10021"/>
                <a:gd name="connsiteX26" fmla="*/ 7072 w 10000"/>
                <a:gd name="connsiteY26" fmla="*/ 4659 h 10021"/>
                <a:gd name="connsiteX27" fmla="*/ 6990 w 10000"/>
                <a:gd name="connsiteY27" fmla="*/ 4549 h 10021"/>
                <a:gd name="connsiteX28" fmla="*/ 6953 w 10000"/>
                <a:gd name="connsiteY28" fmla="*/ 4499 h 10021"/>
                <a:gd name="connsiteX29" fmla="*/ 6916 w 10000"/>
                <a:gd name="connsiteY29" fmla="*/ 4444 h 10021"/>
                <a:gd name="connsiteX30" fmla="*/ 6887 w 10000"/>
                <a:gd name="connsiteY30" fmla="*/ 4389 h 10021"/>
                <a:gd name="connsiteX31" fmla="*/ 6850 w 10000"/>
                <a:gd name="connsiteY31" fmla="*/ 4334 h 10021"/>
                <a:gd name="connsiteX32" fmla="*/ 6820 w 10000"/>
                <a:gd name="connsiteY32" fmla="*/ 4279 h 10021"/>
                <a:gd name="connsiteX33" fmla="*/ 6790 w 10000"/>
                <a:gd name="connsiteY33" fmla="*/ 4224 h 10021"/>
                <a:gd name="connsiteX34" fmla="*/ 6768 w 10000"/>
                <a:gd name="connsiteY34" fmla="*/ 4164 h 10021"/>
                <a:gd name="connsiteX35" fmla="*/ 6738 w 10000"/>
                <a:gd name="connsiteY35" fmla="*/ 4109 h 10021"/>
                <a:gd name="connsiteX36" fmla="*/ 6723 w 10000"/>
                <a:gd name="connsiteY36" fmla="*/ 4049 h 10021"/>
                <a:gd name="connsiteX37" fmla="*/ 6694 w 10000"/>
                <a:gd name="connsiteY37" fmla="*/ 3994 h 10021"/>
                <a:gd name="connsiteX38" fmla="*/ 6679 w 10000"/>
                <a:gd name="connsiteY38" fmla="*/ 3935 h 10021"/>
                <a:gd name="connsiteX39" fmla="*/ 6664 w 10000"/>
                <a:gd name="connsiteY39" fmla="*/ 3875 h 10021"/>
                <a:gd name="connsiteX40" fmla="*/ 6649 w 10000"/>
                <a:gd name="connsiteY40" fmla="*/ 3816 h 10021"/>
                <a:gd name="connsiteX41" fmla="*/ 6635 w 10000"/>
                <a:gd name="connsiteY41" fmla="*/ 3761 h 10021"/>
                <a:gd name="connsiteX42" fmla="*/ 6620 w 10000"/>
                <a:gd name="connsiteY42" fmla="*/ 3701 h 10021"/>
                <a:gd name="connsiteX43" fmla="*/ 6612 w 10000"/>
                <a:gd name="connsiteY43" fmla="*/ 3642 h 10021"/>
                <a:gd name="connsiteX44" fmla="*/ 6605 w 10000"/>
                <a:gd name="connsiteY44" fmla="*/ 3582 h 10021"/>
                <a:gd name="connsiteX45" fmla="*/ 6597 w 10000"/>
                <a:gd name="connsiteY45" fmla="*/ 3518 h 10021"/>
                <a:gd name="connsiteX46" fmla="*/ 6597 w 10000"/>
                <a:gd name="connsiteY46" fmla="*/ 3458 h 10021"/>
                <a:gd name="connsiteX47" fmla="*/ 6590 w 10000"/>
                <a:gd name="connsiteY47" fmla="*/ 3394 h 10021"/>
                <a:gd name="connsiteX48" fmla="*/ 6597 w 10000"/>
                <a:gd name="connsiteY48" fmla="*/ 3334 h 10021"/>
                <a:gd name="connsiteX49" fmla="*/ 6605 w 10000"/>
                <a:gd name="connsiteY49" fmla="*/ 3266 h 10021"/>
                <a:gd name="connsiteX50" fmla="*/ 6605 w 10000"/>
                <a:gd name="connsiteY50" fmla="*/ 3202 h 10021"/>
                <a:gd name="connsiteX51" fmla="*/ 6612 w 10000"/>
                <a:gd name="connsiteY51" fmla="*/ 3137 h 10021"/>
                <a:gd name="connsiteX52" fmla="*/ 6620 w 10000"/>
                <a:gd name="connsiteY52" fmla="*/ 3073 h 10021"/>
                <a:gd name="connsiteX53" fmla="*/ 6635 w 10000"/>
                <a:gd name="connsiteY53" fmla="*/ 3014 h 10021"/>
                <a:gd name="connsiteX54" fmla="*/ 6649 w 10000"/>
                <a:gd name="connsiteY54" fmla="*/ 2950 h 10021"/>
                <a:gd name="connsiteX55" fmla="*/ 6664 w 10000"/>
                <a:gd name="connsiteY55" fmla="*/ 2890 h 10021"/>
                <a:gd name="connsiteX56" fmla="*/ 6686 w 10000"/>
                <a:gd name="connsiteY56" fmla="*/ 2826 h 10021"/>
                <a:gd name="connsiteX57" fmla="*/ 6709 w 10000"/>
                <a:gd name="connsiteY57" fmla="*/ 2766 h 10021"/>
                <a:gd name="connsiteX58" fmla="*/ 6731 w 10000"/>
                <a:gd name="connsiteY58" fmla="*/ 2707 h 10021"/>
                <a:gd name="connsiteX59" fmla="*/ 6753 w 10000"/>
                <a:gd name="connsiteY59" fmla="*/ 2642 h 10021"/>
                <a:gd name="connsiteX60" fmla="*/ 6783 w 10000"/>
                <a:gd name="connsiteY60" fmla="*/ 2587 h 10021"/>
                <a:gd name="connsiteX61" fmla="*/ 6812 w 10000"/>
                <a:gd name="connsiteY61" fmla="*/ 2528 h 10021"/>
                <a:gd name="connsiteX62" fmla="*/ 6842 w 10000"/>
                <a:gd name="connsiteY62" fmla="*/ 2468 h 10021"/>
                <a:gd name="connsiteX63" fmla="*/ 6879 w 10000"/>
                <a:gd name="connsiteY63" fmla="*/ 2409 h 10021"/>
                <a:gd name="connsiteX64" fmla="*/ 6909 w 10000"/>
                <a:gd name="connsiteY64" fmla="*/ 2354 h 10021"/>
                <a:gd name="connsiteX65" fmla="*/ 6946 w 10000"/>
                <a:gd name="connsiteY65" fmla="*/ 2294 h 10021"/>
                <a:gd name="connsiteX66" fmla="*/ 6990 w 10000"/>
                <a:gd name="connsiteY66" fmla="*/ 2239 h 10021"/>
                <a:gd name="connsiteX67" fmla="*/ 7027 w 10000"/>
                <a:gd name="connsiteY67" fmla="*/ 2184 h 10021"/>
                <a:gd name="connsiteX68" fmla="*/ 7072 w 10000"/>
                <a:gd name="connsiteY68" fmla="*/ 2129 h 10021"/>
                <a:gd name="connsiteX69" fmla="*/ 7109 w 10000"/>
                <a:gd name="connsiteY69" fmla="*/ 2074 h 10021"/>
                <a:gd name="connsiteX70" fmla="*/ 7161 w 10000"/>
                <a:gd name="connsiteY70" fmla="*/ 2024 h 10021"/>
                <a:gd name="connsiteX71" fmla="*/ 7213 w 10000"/>
                <a:gd name="connsiteY71" fmla="*/ 1969 h 10021"/>
                <a:gd name="connsiteX72" fmla="*/ 7257 w 10000"/>
                <a:gd name="connsiteY72" fmla="*/ 1914 h 10021"/>
                <a:gd name="connsiteX73" fmla="*/ 7309 w 10000"/>
                <a:gd name="connsiteY73" fmla="*/ 1863 h 10021"/>
                <a:gd name="connsiteX74" fmla="*/ 7361 w 10000"/>
                <a:gd name="connsiteY74" fmla="*/ 1813 h 10021"/>
                <a:gd name="connsiteX75" fmla="*/ 7413 w 10000"/>
                <a:gd name="connsiteY75" fmla="*/ 1763 h 10021"/>
                <a:gd name="connsiteX76" fmla="*/ 7472 w 10000"/>
                <a:gd name="connsiteY76" fmla="*/ 1712 h 10021"/>
                <a:gd name="connsiteX77" fmla="*/ 7524 w 10000"/>
                <a:gd name="connsiteY77" fmla="*/ 1666 h 10021"/>
                <a:gd name="connsiteX78" fmla="*/ 7583 w 10000"/>
                <a:gd name="connsiteY78" fmla="*/ 1620 h 10021"/>
                <a:gd name="connsiteX79" fmla="*/ 7643 w 10000"/>
                <a:gd name="connsiteY79" fmla="*/ 1570 h 10021"/>
                <a:gd name="connsiteX80" fmla="*/ 5434 w 10000"/>
                <a:gd name="connsiteY80" fmla="*/ 21 h 10021"/>
                <a:gd name="connsiteX81" fmla="*/ 1401 w 10000"/>
                <a:gd name="connsiteY81" fmla="*/ 0 h 10021"/>
                <a:gd name="connsiteX82" fmla="*/ 1305 w 10000"/>
                <a:gd name="connsiteY82" fmla="*/ 149 h 10021"/>
                <a:gd name="connsiteX83" fmla="*/ 1223 w 10000"/>
                <a:gd name="connsiteY83" fmla="*/ 241 h 10021"/>
                <a:gd name="connsiteX84" fmla="*/ 1149 w 10000"/>
                <a:gd name="connsiteY84" fmla="*/ 337 h 10021"/>
                <a:gd name="connsiteX85" fmla="*/ 1067 w 10000"/>
                <a:gd name="connsiteY85" fmla="*/ 433 h 10021"/>
                <a:gd name="connsiteX86" fmla="*/ 1001 w 10000"/>
                <a:gd name="connsiteY86" fmla="*/ 530 h 10021"/>
                <a:gd name="connsiteX87" fmla="*/ 927 w 10000"/>
                <a:gd name="connsiteY87" fmla="*/ 626 h 10021"/>
                <a:gd name="connsiteX88" fmla="*/ 860 w 10000"/>
                <a:gd name="connsiteY88" fmla="*/ 727 h 10021"/>
                <a:gd name="connsiteX89" fmla="*/ 793 w 10000"/>
                <a:gd name="connsiteY89" fmla="*/ 828 h 10021"/>
                <a:gd name="connsiteX90" fmla="*/ 734 w 10000"/>
                <a:gd name="connsiteY90" fmla="*/ 924 h 10021"/>
                <a:gd name="connsiteX91" fmla="*/ 675 w 10000"/>
                <a:gd name="connsiteY91" fmla="*/ 1025 h 10021"/>
                <a:gd name="connsiteX92" fmla="*/ 615 w 10000"/>
                <a:gd name="connsiteY92" fmla="*/ 1125 h 10021"/>
                <a:gd name="connsiteX93" fmla="*/ 556 w 10000"/>
                <a:gd name="connsiteY93" fmla="*/ 1231 h 10021"/>
                <a:gd name="connsiteX94" fmla="*/ 504 w 10000"/>
                <a:gd name="connsiteY94" fmla="*/ 1327 h 10021"/>
                <a:gd name="connsiteX95" fmla="*/ 452 w 10000"/>
                <a:gd name="connsiteY95" fmla="*/ 1433 h 10021"/>
                <a:gd name="connsiteX96" fmla="*/ 408 w 10000"/>
                <a:gd name="connsiteY96" fmla="*/ 1533 h 10021"/>
                <a:gd name="connsiteX97" fmla="*/ 363 w 10000"/>
                <a:gd name="connsiteY97" fmla="*/ 1639 h 10021"/>
                <a:gd name="connsiteX98" fmla="*/ 319 w 10000"/>
                <a:gd name="connsiteY98" fmla="*/ 1744 h 10021"/>
                <a:gd name="connsiteX99" fmla="*/ 282 w 10000"/>
                <a:gd name="connsiteY99" fmla="*/ 1850 h 10021"/>
                <a:gd name="connsiteX100" fmla="*/ 237 w 10000"/>
                <a:gd name="connsiteY100" fmla="*/ 1960 h 10021"/>
                <a:gd name="connsiteX101" fmla="*/ 208 w 10000"/>
                <a:gd name="connsiteY101" fmla="*/ 2065 h 10021"/>
                <a:gd name="connsiteX102" fmla="*/ 170 w 10000"/>
                <a:gd name="connsiteY102" fmla="*/ 2175 h 10021"/>
                <a:gd name="connsiteX103" fmla="*/ 148 w 10000"/>
                <a:gd name="connsiteY103" fmla="*/ 2285 h 10021"/>
                <a:gd name="connsiteX104" fmla="*/ 119 w 10000"/>
                <a:gd name="connsiteY104" fmla="*/ 2390 h 10021"/>
                <a:gd name="connsiteX105" fmla="*/ 96 w 10000"/>
                <a:gd name="connsiteY105" fmla="*/ 2500 h 10021"/>
                <a:gd name="connsiteX106" fmla="*/ 74 w 10000"/>
                <a:gd name="connsiteY106" fmla="*/ 2610 h 10021"/>
                <a:gd name="connsiteX107" fmla="*/ 52 w 10000"/>
                <a:gd name="connsiteY107" fmla="*/ 2725 h 10021"/>
                <a:gd name="connsiteX108" fmla="*/ 37 w 10000"/>
                <a:gd name="connsiteY108" fmla="*/ 2835 h 10021"/>
                <a:gd name="connsiteX109" fmla="*/ 22 w 10000"/>
                <a:gd name="connsiteY109" fmla="*/ 2945 h 10021"/>
                <a:gd name="connsiteX110" fmla="*/ 15 w 10000"/>
                <a:gd name="connsiteY110" fmla="*/ 3055 h 10021"/>
                <a:gd name="connsiteX111" fmla="*/ 7 w 10000"/>
                <a:gd name="connsiteY111" fmla="*/ 3169 h 10021"/>
                <a:gd name="connsiteX112" fmla="*/ 0 w 10000"/>
                <a:gd name="connsiteY112" fmla="*/ 3279 h 10021"/>
                <a:gd name="connsiteX113" fmla="*/ 0 w 10000"/>
                <a:gd name="connsiteY113" fmla="*/ 3394 h 10021"/>
                <a:gd name="connsiteX114" fmla="*/ 7 w 10000"/>
                <a:gd name="connsiteY114" fmla="*/ 3541 h 10021"/>
                <a:gd name="connsiteX115" fmla="*/ 7 w 10000"/>
                <a:gd name="connsiteY115" fmla="*/ 3687 h 10021"/>
                <a:gd name="connsiteX116" fmla="*/ 22 w 10000"/>
                <a:gd name="connsiteY116" fmla="*/ 3825 h 10021"/>
                <a:gd name="connsiteX117" fmla="*/ 37 w 10000"/>
                <a:gd name="connsiteY117" fmla="*/ 3967 h 10021"/>
                <a:gd name="connsiteX118" fmla="*/ 59 w 10000"/>
                <a:gd name="connsiteY118" fmla="*/ 4109 h 10021"/>
                <a:gd name="connsiteX119" fmla="*/ 89 w 10000"/>
                <a:gd name="connsiteY119" fmla="*/ 4251 h 10021"/>
                <a:gd name="connsiteX120" fmla="*/ 119 w 10000"/>
                <a:gd name="connsiteY120" fmla="*/ 4393 h 10021"/>
                <a:gd name="connsiteX121" fmla="*/ 148 w 10000"/>
                <a:gd name="connsiteY121" fmla="*/ 4535 h 10021"/>
                <a:gd name="connsiteX122" fmla="*/ 193 w 10000"/>
                <a:gd name="connsiteY122" fmla="*/ 4673 h 10021"/>
                <a:gd name="connsiteX123" fmla="*/ 237 w 10000"/>
                <a:gd name="connsiteY123" fmla="*/ 4810 h 10021"/>
                <a:gd name="connsiteX124" fmla="*/ 282 w 10000"/>
                <a:gd name="connsiteY124" fmla="*/ 4948 h 10021"/>
                <a:gd name="connsiteX125" fmla="*/ 334 w 10000"/>
                <a:gd name="connsiteY125" fmla="*/ 5085 h 10021"/>
                <a:gd name="connsiteX126" fmla="*/ 393 w 10000"/>
                <a:gd name="connsiteY126" fmla="*/ 5218 h 10021"/>
                <a:gd name="connsiteX127" fmla="*/ 452 w 10000"/>
                <a:gd name="connsiteY127" fmla="*/ 5351 h 10021"/>
                <a:gd name="connsiteX128" fmla="*/ 519 w 10000"/>
                <a:gd name="connsiteY128" fmla="*/ 5484 h 10021"/>
                <a:gd name="connsiteX129" fmla="*/ 586 w 10000"/>
                <a:gd name="connsiteY129" fmla="*/ 5617 h 10021"/>
                <a:gd name="connsiteX130" fmla="*/ 660 w 10000"/>
                <a:gd name="connsiteY130" fmla="*/ 5745 h 10021"/>
                <a:gd name="connsiteX131" fmla="*/ 741 w 10000"/>
                <a:gd name="connsiteY131" fmla="*/ 5873 h 10021"/>
                <a:gd name="connsiteX132" fmla="*/ 823 w 10000"/>
                <a:gd name="connsiteY132" fmla="*/ 6006 h 10021"/>
                <a:gd name="connsiteX133" fmla="*/ 904 w 10000"/>
                <a:gd name="connsiteY133" fmla="*/ 6130 h 10021"/>
                <a:gd name="connsiteX134" fmla="*/ 993 w 10000"/>
                <a:gd name="connsiteY134" fmla="*/ 6254 h 10021"/>
                <a:gd name="connsiteX135" fmla="*/ 1090 w 10000"/>
                <a:gd name="connsiteY135" fmla="*/ 6373 h 10021"/>
                <a:gd name="connsiteX136" fmla="*/ 1186 w 10000"/>
                <a:gd name="connsiteY136" fmla="*/ 6497 h 10021"/>
                <a:gd name="connsiteX137" fmla="*/ 1290 w 10000"/>
                <a:gd name="connsiteY137" fmla="*/ 6620 h 10021"/>
                <a:gd name="connsiteX138" fmla="*/ 1386 w 10000"/>
                <a:gd name="connsiteY138" fmla="*/ 6740 h 10021"/>
                <a:gd name="connsiteX139" fmla="*/ 1497 w 10000"/>
                <a:gd name="connsiteY139" fmla="*/ 6859 h 10021"/>
                <a:gd name="connsiteX140" fmla="*/ 1609 w 10000"/>
                <a:gd name="connsiteY140" fmla="*/ 6973 h 10021"/>
                <a:gd name="connsiteX141" fmla="*/ 1727 w 10000"/>
                <a:gd name="connsiteY141" fmla="*/ 7092 h 10021"/>
                <a:gd name="connsiteX142" fmla="*/ 1846 w 10000"/>
                <a:gd name="connsiteY142" fmla="*/ 7207 h 10021"/>
                <a:gd name="connsiteX143" fmla="*/ 1964 w 10000"/>
                <a:gd name="connsiteY143" fmla="*/ 7317 h 10021"/>
                <a:gd name="connsiteX144" fmla="*/ 2090 w 10000"/>
                <a:gd name="connsiteY144" fmla="*/ 7427 h 10021"/>
                <a:gd name="connsiteX145" fmla="*/ 2224 w 10000"/>
                <a:gd name="connsiteY145" fmla="*/ 7537 h 10021"/>
                <a:gd name="connsiteX146" fmla="*/ 2350 w 10000"/>
                <a:gd name="connsiteY146" fmla="*/ 7647 h 10021"/>
                <a:gd name="connsiteX147" fmla="*/ 2491 w 10000"/>
                <a:gd name="connsiteY147" fmla="*/ 7752 h 10021"/>
                <a:gd name="connsiteX148" fmla="*/ 2617 w 10000"/>
                <a:gd name="connsiteY148" fmla="*/ 7858 h 10021"/>
                <a:gd name="connsiteX149" fmla="*/ 2765 w 10000"/>
                <a:gd name="connsiteY149" fmla="*/ 7959 h 10021"/>
                <a:gd name="connsiteX150" fmla="*/ 2906 w 10000"/>
                <a:gd name="connsiteY150" fmla="*/ 8059 h 10021"/>
                <a:gd name="connsiteX151" fmla="*/ 3054 w 10000"/>
                <a:gd name="connsiteY151" fmla="*/ 8160 h 10021"/>
                <a:gd name="connsiteX152" fmla="*/ 3210 w 10000"/>
                <a:gd name="connsiteY152" fmla="*/ 8257 h 10021"/>
                <a:gd name="connsiteX153" fmla="*/ 3358 w 10000"/>
                <a:gd name="connsiteY153" fmla="*/ 8353 h 10021"/>
                <a:gd name="connsiteX154" fmla="*/ 3514 w 10000"/>
                <a:gd name="connsiteY154" fmla="*/ 8449 h 10021"/>
                <a:gd name="connsiteX155" fmla="*/ 3677 w 10000"/>
                <a:gd name="connsiteY155" fmla="*/ 8541 h 10021"/>
                <a:gd name="connsiteX156" fmla="*/ 3840 w 10000"/>
                <a:gd name="connsiteY156" fmla="*/ 8628 h 10021"/>
                <a:gd name="connsiteX157" fmla="*/ 4010 w 10000"/>
                <a:gd name="connsiteY157" fmla="*/ 8719 h 10021"/>
                <a:gd name="connsiteX158" fmla="*/ 4181 w 10000"/>
                <a:gd name="connsiteY158" fmla="*/ 8797 h 10021"/>
                <a:gd name="connsiteX159" fmla="*/ 4351 w 10000"/>
                <a:gd name="connsiteY159" fmla="*/ 8884 h 10021"/>
                <a:gd name="connsiteX160" fmla="*/ 4522 w 10000"/>
                <a:gd name="connsiteY160" fmla="*/ 8962 h 10021"/>
                <a:gd name="connsiteX161" fmla="*/ 4700 w 10000"/>
                <a:gd name="connsiteY161" fmla="*/ 9045 h 10021"/>
                <a:gd name="connsiteX162" fmla="*/ 4878 w 10000"/>
                <a:gd name="connsiteY162" fmla="*/ 9123 h 10021"/>
                <a:gd name="connsiteX163" fmla="*/ 5063 w 10000"/>
                <a:gd name="connsiteY163" fmla="*/ 9196 h 10021"/>
                <a:gd name="connsiteX164" fmla="*/ 5248 w 10000"/>
                <a:gd name="connsiteY164" fmla="*/ 9274 h 10021"/>
                <a:gd name="connsiteX165" fmla="*/ 5426 w 10000"/>
                <a:gd name="connsiteY165" fmla="*/ 9343 h 10021"/>
                <a:gd name="connsiteX166" fmla="*/ 5619 w 10000"/>
                <a:gd name="connsiteY166" fmla="*/ 9411 h 10021"/>
                <a:gd name="connsiteX167" fmla="*/ 5812 w 10000"/>
                <a:gd name="connsiteY167" fmla="*/ 9480 h 10021"/>
                <a:gd name="connsiteX168" fmla="*/ 6004 w 10000"/>
                <a:gd name="connsiteY168" fmla="*/ 9544 h 10021"/>
                <a:gd name="connsiteX169" fmla="*/ 6205 w 10000"/>
                <a:gd name="connsiteY169" fmla="*/ 9609 h 10021"/>
                <a:gd name="connsiteX170" fmla="*/ 6397 w 10000"/>
                <a:gd name="connsiteY170" fmla="*/ 9668 h 10021"/>
                <a:gd name="connsiteX171" fmla="*/ 6605 w 10000"/>
                <a:gd name="connsiteY171" fmla="*/ 9723 h 10021"/>
                <a:gd name="connsiteX172" fmla="*/ 6805 w 10000"/>
                <a:gd name="connsiteY172" fmla="*/ 9778 h 10021"/>
                <a:gd name="connsiteX173" fmla="*/ 7005 w 10000"/>
                <a:gd name="connsiteY173" fmla="*/ 9833 h 10021"/>
                <a:gd name="connsiteX174" fmla="*/ 7213 w 10000"/>
                <a:gd name="connsiteY174" fmla="*/ 9884 h 10021"/>
                <a:gd name="connsiteX175" fmla="*/ 7420 w 10000"/>
                <a:gd name="connsiteY175" fmla="*/ 9929 h 10021"/>
                <a:gd name="connsiteX176" fmla="*/ 7628 w 10000"/>
                <a:gd name="connsiteY176" fmla="*/ 9975 h 10021"/>
                <a:gd name="connsiteX177" fmla="*/ 7835 w 10000"/>
                <a:gd name="connsiteY177" fmla="*/ 10021 h 10021"/>
                <a:gd name="connsiteX178" fmla="*/ 7539 w 10000"/>
                <a:gd name="connsiteY178" fmla="*/ 7775 h 10021"/>
                <a:gd name="connsiteX179" fmla="*/ 10000 w 10000"/>
                <a:gd name="connsiteY179" fmla="*/ 6162 h 10021"/>
                <a:gd name="connsiteX0" fmla="*/ 10000 w 10000"/>
                <a:gd name="connsiteY0" fmla="*/ 6162 h 10021"/>
                <a:gd name="connsiteX1" fmla="*/ 10000 w 10000"/>
                <a:gd name="connsiteY1" fmla="*/ 6162 h 10021"/>
                <a:gd name="connsiteX2" fmla="*/ 9911 w 10000"/>
                <a:gd name="connsiteY2" fmla="*/ 6148 h 10021"/>
                <a:gd name="connsiteX3" fmla="*/ 9815 w 10000"/>
                <a:gd name="connsiteY3" fmla="*/ 6130 h 10021"/>
                <a:gd name="connsiteX4" fmla="*/ 9726 w 10000"/>
                <a:gd name="connsiteY4" fmla="*/ 6112 h 10021"/>
                <a:gd name="connsiteX5" fmla="*/ 9637 w 10000"/>
                <a:gd name="connsiteY5" fmla="*/ 6089 h 10021"/>
                <a:gd name="connsiteX6" fmla="*/ 9548 w 10000"/>
                <a:gd name="connsiteY6" fmla="*/ 6070 h 10021"/>
                <a:gd name="connsiteX7" fmla="*/ 9466 w 10000"/>
                <a:gd name="connsiteY7" fmla="*/ 6048 h 10021"/>
                <a:gd name="connsiteX8" fmla="*/ 9377 w 10000"/>
                <a:gd name="connsiteY8" fmla="*/ 6025 h 10021"/>
                <a:gd name="connsiteX9" fmla="*/ 9288 w 10000"/>
                <a:gd name="connsiteY9" fmla="*/ 6002 h 10021"/>
                <a:gd name="connsiteX10" fmla="*/ 9118 w 10000"/>
                <a:gd name="connsiteY10" fmla="*/ 5951 h 10021"/>
                <a:gd name="connsiteX11" fmla="*/ 8955 w 10000"/>
                <a:gd name="connsiteY11" fmla="*/ 5896 h 10021"/>
                <a:gd name="connsiteX12" fmla="*/ 8792 w 10000"/>
                <a:gd name="connsiteY12" fmla="*/ 5837 h 10021"/>
                <a:gd name="connsiteX13" fmla="*/ 8636 w 10000"/>
                <a:gd name="connsiteY13" fmla="*/ 5773 h 10021"/>
                <a:gd name="connsiteX14" fmla="*/ 8480 w 10000"/>
                <a:gd name="connsiteY14" fmla="*/ 5708 h 10021"/>
                <a:gd name="connsiteX15" fmla="*/ 8340 w 10000"/>
                <a:gd name="connsiteY15" fmla="*/ 5640 h 10021"/>
                <a:gd name="connsiteX16" fmla="*/ 8199 w 10000"/>
                <a:gd name="connsiteY16" fmla="*/ 5566 h 10021"/>
                <a:gd name="connsiteX17" fmla="*/ 8058 w 10000"/>
                <a:gd name="connsiteY17" fmla="*/ 5488 h 10021"/>
                <a:gd name="connsiteX18" fmla="*/ 7924 w 10000"/>
                <a:gd name="connsiteY18" fmla="*/ 5406 h 10021"/>
                <a:gd name="connsiteX19" fmla="*/ 7798 w 10000"/>
                <a:gd name="connsiteY19" fmla="*/ 5323 h 10021"/>
                <a:gd name="connsiteX20" fmla="*/ 7672 w 10000"/>
                <a:gd name="connsiteY20" fmla="*/ 5236 h 10021"/>
                <a:gd name="connsiteX21" fmla="*/ 7554 w 10000"/>
                <a:gd name="connsiteY21" fmla="*/ 5149 h 10021"/>
                <a:gd name="connsiteX22" fmla="*/ 7450 w 10000"/>
                <a:gd name="connsiteY22" fmla="*/ 5053 h 10021"/>
                <a:gd name="connsiteX23" fmla="*/ 7346 w 10000"/>
                <a:gd name="connsiteY23" fmla="*/ 4957 h 10021"/>
                <a:gd name="connsiteX24" fmla="*/ 7250 w 10000"/>
                <a:gd name="connsiteY24" fmla="*/ 4861 h 10021"/>
                <a:gd name="connsiteX25" fmla="*/ 7161 w 10000"/>
                <a:gd name="connsiteY25" fmla="*/ 4760 h 10021"/>
                <a:gd name="connsiteX26" fmla="*/ 7072 w 10000"/>
                <a:gd name="connsiteY26" fmla="*/ 4659 h 10021"/>
                <a:gd name="connsiteX27" fmla="*/ 6990 w 10000"/>
                <a:gd name="connsiteY27" fmla="*/ 4549 h 10021"/>
                <a:gd name="connsiteX28" fmla="*/ 6953 w 10000"/>
                <a:gd name="connsiteY28" fmla="*/ 4499 h 10021"/>
                <a:gd name="connsiteX29" fmla="*/ 6916 w 10000"/>
                <a:gd name="connsiteY29" fmla="*/ 4444 h 10021"/>
                <a:gd name="connsiteX30" fmla="*/ 6887 w 10000"/>
                <a:gd name="connsiteY30" fmla="*/ 4389 h 10021"/>
                <a:gd name="connsiteX31" fmla="*/ 6850 w 10000"/>
                <a:gd name="connsiteY31" fmla="*/ 4334 h 10021"/>
                <a:gd name="connsiteX32" fmla="*/ 6820 w 10000"/>
                <a:gd name="connsiteY32" fmla="*/ 4279 h 10021"/>
                <a:gd name="connsiteX33" fmla="*/ 6790 w 10000"/>
                <a:gd name="connsiteY33" fmla="*/ 4224 h 10021"/>
                <a:gd name="connsiteX34" fmla="*/ 6768 w 10000"/>
                <a:gd name="connsiteY34" fmla="*/ 4164 h 10021"/>
                <a:gd name="connsiteX35" fmla="*/ 6738 w 10000"/>
                <a:gd name="connsiteY35" fmla="*/ 4109 h 10021"/>
                <a:gd name="connsiteX36" fmla="*/ 6723 w 10000"/>
                <a:gd name="connsiteY36" fmla="*/ 4049 h 10021"/>
                <a:gd name="connsiteX37" fmla="*/ 6694 w 10000"/>
                <a:gd name="connsiteY37" fmla="*/ 3994 h 10021"/>
                <a:gd name="connsiteX38" fmla="*/ 6679 w 10000"/>
                <a:gd name="connsiteY38" fmla="*/ 3935 h 10021"/>
                <a:gd name="connsiteX39" fmla="*/ 6664 w 10000"/>
                <a:gd name="connsiteY39" fmla="*/ 3875 h 10021"/>
                <a:gd name="connsiteX40" fmla="*/ 6649 w 10000"/>
                <a:gd name="connsiteY40" fmla="*/ 3816 h 10021"/>
                <a:gd name="connsiteX41" fmla="*/ 6635 w 10000"/>
                <a:gd name="connsiteY41" fmla="*/ 3761 h 10021"/>
                <a:gd name="connsiteX42" fmla="*/ 6620 w 10000"/>
                <a:gd name="connsiteY42" fmla="*/ 3701 h 10021"/>
                <a:gd name="connsiteX43" fmla="*/ 6612 w 10000"/>
                <a:gd name="connsiteY43" fmla="*/ 3642 h 10021"/>
                <a:gd name="connsiteX44" fmla="*/ 6605 w 10000"/>
                <a:gd name="connsiteY44" fmla="*/ 3582 h 10021"/>
                <a:gd name="connsiteX45" fmla="*/ 6597 w 10000"/>
                <a:gd name="connsiteY45" fmla="*/ 3518 h 10021"/>
                <a:gd name="connsiteX46" fmla="*/ 6597 w 10000"/>
                <a:gd name="connsiteY46" fmla="*/ 3458 h 10021"/>
                <a:gd name="connsiteX47" fmla="*/ 6590 w 10000"/>
                <a:gd name="connsiteY47" fmla="*/ 3394 h 10021"/>
                <a:gd name="connsiteX48" fmla="*/ 6597 w 10000"/>
                <a:gd name="connsiteY48" fmla="*/ 3334 h 10021"/>
                <a:gd name="connsiteX49" fmla="*/ 6605 w 10000"/>
                <a:gd name="connsiteY49" fmla="*/ 3266 h 10021"/>
                <a:gd name="connsiteX50" fmla="*/ 6605 w 10000"/>
                <a:gd name="connsiteY50" fmla="*/ 3202 h 10021"/>
                <a:gd name="connsiteX51" fmla="*/ 6612 w 10000"/>
                <a:gd name="connsiteY51" fmla="*/ 3137 h 10021"/>
                <a:gd name="connsiteX52" fmla="*/ 6620 w 10000"/>
                <a:gd name="connsiteY52" fmla="*/ 3073 h 10021"/>
                <a:gd name="connsiteX53" fmla="*/ 6635 w 10000"/>
                <a:gd name="connsiteY53" fmla="*/ 3014 h 10021"/>
                <a:gd name="connsiteX54" fmla="*/ 6649 w 10000"/>
                <a:gd name="connsiteY54" fmla="*/ 2950 h 10021"/>
                <a:gd name="connsiteX55" fmla="*/ 6664 w 10000"/>
                <a:gd name="connsiteY55" fmla="*/ 2890 h 10021"/>
                <a:gd name="connsiteX56" fmla="*/ 6686 w 10000"/>
                <a:gd name="connsiteY56" fmla="*/ 2826 h 10021"/>
                <a:gd name="connsiteX57" fmla="*/ 6709 w 10000"/>
                <a:gd name="connsiteY57" fmla="*/ 2766 h 10021"/>
                <a:gd name="connsiteX58" fmla="*/ 6731 w 10000"/>
                <a:gd name="connsiteY58" fmla="*/ 2707 h 10021"/>
                <a:gd name="connsiteX59" fmla="*/ 6753 w 10000"/>
                <a:gd name="connsiteY59" fmla="*/ 2642 h 10021"/>
                <a:gd name="connsiteX60" fmla="*/ 6783 w 10000"/>
                <a:gd name="connsiteY60" fmla="*/ 2587 h 10021"/>
                <a:gd name="connsiteX61" fmla="*/ 6812 w 10000"/>
                <a:gd name="connsiteY61" fmla="*/ 2528 h 10021"/>
                <a:gd name="connsiteX62" fmla="*/ 6842 w 10000"/>
                <a:gd name="connsiteY62" fmla="*/ 2468 h 10021"/>
                <a:gd name="connsiteX63" fmla="*/ 6879 w 10000"/>
                <a:gd name="connsiteY63" fmla="*/ 2409 h 10021"/>
                <a:gd name="connsiteX64" fmla="*/ 6909 w 10000"/>
                <a:gd name="connsiteY64" fmla="*/ 2354 h 10021"/>
                <a:gd name="connsiteX65" fmla="*/ 6946 w 10000"/>
                <a:gd name="connsiteY65" fmla="*/ 2294 h 10021"/>
                <a:gd name="connsiteX66" fmla="*/ 6990 w 10000"/>
                <a:gd name="connsiteY66" fmla="*/ 2239 h 10021"/>
                <a:gd name="connsiteX67" fmla="*/ 7027 w 10000"/>
                <a:gd name="connsiteY67" fmla="*/ 2184 h 10021"/>
                <a:gd name="connsiteX68" fmla="*/ 7072 w 10000"/>
                <a:gd name="connsiteY68" fmla="*/ 2129 h 10021"/>
                <a:gd name="connsiteX69" fmla="*/ 7109 w 10000"/>
                <a:gd name="connsiteY69" fmla="*/ 2074 h 10021"/>
                <a:gd name="connsiteX70" fmla="*/ 7161 w 10000"/>
                <a:gd name="connsiteY70" fmla="*/ 2024 h 10021"/>
                <a:gd name="connsiteX71" fmla="*/ 7213 w 10000"/>
                <a:gd name="connsiteY71" fmla="*/ 1969 h 10021"/>
                <a:gd name="connsiteX72" fmla="*/ 7257 w 10000"/>
                <a:gd name="connsiteY72" fmla="*/ 1914 h 10021"/>
                <a:gd name="connsiteX73" fmla="*/ 7309 w 10000"/>
                <a:gd name="connsiteY73" fmla="*/ 1863 h 10021"/>
                <a:gd name="connsiteX74" fmla="*/ 7361 w 10000"/>
                <a:gd name="connsiteY74" fmla="*/ 1813 h 10021"/>
                <a:gd name="connsiteX75" fmla="*/ 7413 w 10000"/>
                <a:gd name="connsiteY75" fmla="*/ 1763 h 10021"/>
                <a:gd name="connsiteX76" fmla="*/ 7472 w 10000"/>
                <a:gd name="connsiteY76" fmla="*/ 1712 h 10021"/>
                <a:gd name="connsiteX77" fmla="*/ 7524 w 10000"/>
                <a:gd name="connsiteY77" fmla="*/ 1666 h 10021"/>
                <a:gd name="connsiteX78" fmla="*/ 7583 w 10000"/>
                <a:gd name="connsiteY78" fmla="*/ 1620 h 10021"/>
                <a:gd name="connsiteX79" fmla="*/ 7643 w 10000"/>
                <a:gd name="connsiteY79" fmla="*/ 1570 h 10021"/>
                <a:gd name="connsiteX80" fmla="*/ 5423 w 10000"/>
                <a:gd name="connsiteY80" fmla="*/ 28 h 10021"/>
                <a:gd name="connsiteX81" fmla="*/ 1401 w 10000"/>
                <a:gd name="connsiteY81" fmla="*/ 0 h 10021"/>
                <a:gd name="connsiteX82" fmla="*/ 1305 w 10000"/>
                <a:gd name="connsiteY82" fmla="*/ 149 h 10021"/>
                <a:gd name="connsiteX83" fmla="*/ 1223 w 10000"/>
                <a:gd name="connsiteY83" fmla="*/ 241 h 10021"/>
                <a:gd name="connsiteX84" fmla="*/ 1149 w 10000"/>
                <a:gd name="connsiteY84" fmla="*/ 337 h 10021"/>
                <a:gd name="connsiteX85" fmla="*/ 1067 w 10000"/>
                <a:gd name="connsiteY85" fmla="*/ 433 h 10021"/>
                <a:gd name="connsiteX86" fmla="*/ 1001 w 10000"/>
                <a:gd name="connsiteY86" fmla="*/ 530 h 10021"/>
                <a:gd name="connsiteX87" fmla="*/ 927 w 10000"/>
                <a:gd name="connsiteY87" fmla="*/ 626 h 10021"/>
                <a:gd name="connsiteX88" fmla="*/ 860 w 10000"/>
                <a:gd name="connsiteY88" fmla="*/ 727 h 10021"/>
                <a:gd name="connsiteX89" fmla="*/ 793 w 10000"/>
                <a:gd name="connsiteY89" fmla="*/ 828 h 10021"/>
                <a:gd name="connsiteX90" fmla="*/ 734 w 10000"/>
                <a:gd name="connsiteY90" fmla="*/ 924 h 10021"/>
                <a:gd name="connsiteX91" fmla="*/ 675 w 10000"/>
                <a:gd name="connsiteY91" fmla="*/ 1025 h 10021"/>
                <a:gd name="connsiteX92" fmla="*/ 615 w 10000"/>
                <a:gd name="connsiteY92" fmla="*/ 1125 h 10021"/>
                <a:gd name="connsiteX93" fmla="*/ 556 w 10000"/>
                <a:gd name="connsiteY93" fmla="*/ 1231 h 10021"/>
                <a:gd name="connsiteX94" fmla="*/ 504 w 10000"/>
                <a:gd name="connsiteY94" fmla="*/ 1327 h 10021"/>
                <a:gd name="connsiteX95" fmla="*/ 452 w 10000"/>
                <a:gd name="connsiteY95" fmla="*/ 1433 h 10021"/>
                <a:gd name="connsiteX96" fmla="*/ 408 w 10000"/>
                <a:gd name="connsiteY96" fmla="*/ 1533 h 10021"/>
                <a:gd name="connsiteX97" fmla="*/ 363 w 10000"/>
                <a:gd name="connsiteY97" fmla="*/ 1639 h 10021"/>
                <a:gd name="connsiteX98" fmla="*/ 319 w 10000"/>
                <a:gd name="connsiteY98" fmla="*/ 1744 h 10021"/>
                <a:gd name="connsiteX99" fmla="*/ 282 w 10000"/>
                <a:gd name="connsiteY99" fmla="*/ 1850 h 10021"/>
                <a:gd name="connsiteX100" fmla="*/ 237 w 10000"/>
                <a:gd name="connsiteY100" fmla="*/ 1960 h 10021"/>
                <a:gd name="connsiteX101" fmla="*/ 208 w 10000"/>
                <a:gd name="connsiteY101" fmla="*/ 2065 h 10021"/>
                <a:gd name="connsiteX102" fmla="*/ 170 w 10000"/>
                <a:gd name="connsiteY102" fmla="*/ 2175 h 10021"/>
                <a:gd name="connsiteX103" fmla="*/ 148 w 10000"/>
                <a:gd name="connsiteY103" fmla="*/ 2285 h 10021"/>
                <a:gd name="connsiteX104" fmla="*/ 119 w 10000"/>
                <a:gd name="connsiteY104" fmla="*/ 2390 h 10021"/>
                <a:gd name="connsiteX105" fmla="*/ 96 w 10000"/>
                <a:gd name="connsiteY105" fmla="*/ 2500 h 10021"/>
                <a:gd name="connsiteX106" fmla="*/ 74 w 10000"/>
                <a:gd name="connsiteY106" fmla="*/ 2610 h 10021"/>
                <a:gd name="connsiteX107" fmla="*/ 52 w 10000"/>
                <a:gd name="connsiteY107" fmla="*/ 2725 h 10021"/>
                <a:gd name="connsiteX108" fmla="*/ 37 w 10000"/>
                <a:gd name="connsiteY108" fmla="*/ 2835 h 10021"/>
                <a:gd name="connsiteX109" fmla="*/ 22 w 10000"/>
                <a:gd name="connsiteY109" fmla="*/ 2945 h 10021"/>
                <a:gd name="connsiteX110" fmla="*/ 15 w 10000"/>
                <a:gd name="connsiteY110" fmla="*/ 3055 h 10021"/>
                <a:gd name="connsiteX111" fmla="*/ 7 w 10000"/>
                <a:gd name="connsiteY111" fmla="*/ 3169 h 10021"/>
                <a:gd name="connsiteX112" fmla="*/ 0 w 10000"/>
                <a:gd name="connsiteY112" fmla="*/ 3279 h 10021"/>
                <a:gd name="connsiteX113" fmla="*/ 0 w 10000"/>
                <a:gd name="connsiteY113" fmla="*/ 3394 h 10021"/>
                <a:gd name="connsiteX114" fmla="*/ 7 w 10000"/>
                <a:gd name="connsiteY114" fmla="*/ 3541 h 10021"/>
                <a:gd name="connsiteX115" fmla="*/ 7 w 10000"/>
                <a:gd name="connsiteY115" fmla="*/ 3687 h 10021"/>
                <a:gd name="connsiteX116" fmla="*/ 22 w 10000"/>
                <a:gd name="connsiteY116" fmla="*/ 3825 h 10021"/>
                <a:gd name="connsiteX117" fmla="*/ 37 w 10000"/>
                <a:gd name="connsiteY117" fmla="*/ 3967 h 10021"/>
                <a:gd name="connsiteX118" fmla="*/ 59 w 10000"/>
                <a:gd name="connsiteY118" fmla="*/ 4109 h 10021"/>
                <a:gd name="connsiteX119" fmla="*/ 89 w 10000"/>
                <a:gd name="connsiteY119" fmla="*/ 4251 h 10021"/>
                <a:gd name="connsiteX120" fmla="*/ 119 w 10000"/>
                <a:gd name="connsiteY120" fmla="*/ 4393 h 10021"/>
                <a:gd name="connsiteX121" fmla="*/ 148 w 10000"/>
                <a:gd name="connsiteY121" fmla="*/ 4535 h 10021"/>
                <a:gd name="connsiteX122" fmla="*/ 193 w 10000"/>
                <a:gd name="connsiteY122" fmla="*/ 4673 h 10021"/>
                <a:gd name="connsiteX123" fmla="*/ 237 w 10000"/>
                <a:gd name="connsiteY123" fmla="*/ 4810 h 10021"/>
                <a:gd name="connsiteX124" fmla="*/ 282 w 10000"/>
                <a:gd name="connsiteY124" fmla="*/ 4948 h 10021"/>
                <a:gd name="connsiteX125" fmla="*/ 334 w 10000"/>
                <a:gd name="connsiteY125" fmla="*/ 5085 h 10021"/>
                <a:gd name="connsiteX126" fmla="*/ 393 w 10000"/>
                <a:gd name="connsiteY126" fmla="*/ 5218 h 10021"/>
                <a:gd name="connsiteX127" fmla="*/ 452 w 10000"/>
                <a:gd name="connsiteY127" fmla="*/ 5351 h 10021"/>
                <a:gd name="connsiteX128" fmla="*/ 519 w 10000"/>
                <a:gd name="connsiteY128" fmla="*/ 5484 h 10021"/>
                <a:gd name="connsiteX129" fmla="*/ 586 w 10000"/>
                <a:gd name="connsiteY129" fmla="*/ 5617 h 10021"/>
                <a:gd name="connsiteX130" fmla="*/ 660 w 10000"/>
                <a:gd name="connsiteY130" fmla="*/ 5745 h 10021"/>
                <a:gd name="connsiteX131" fmla="*/ 741 w 10000"/>
                <a:gd name="connsiteY131" fmla="*/ 5873 h 10021"/>
                <a:gd name="connsiteX132" fmla="*/ 823 w 10000"/>
                <a:gd name="connsiteY132" fmla="*/ 6006 h 10021"/>
                <a:gd name="connsiteX133" fmla="*/ 904 w 10000"/>
                <a:gd name="connsiteY133" fmla="*/ 6130 h 10021"/>
                <a:gd name="connsiteX134" fmla="*/ 993 w 10000"/>
                <a:gd name="connsiteY134" fmla="*/ 6254 h 10021"/>
                <a:gd name="connsiteX135" fmla="*/ 1090 w 10000"/>
                <a:gd name="connsiteY135" fmla="*/ 6373 h 10021"/>
                <a:gd name="connsiteX136" fmla="*/ 1186 w 10000"/>
                <a:gd name="connsiteY136" fmla="*/ 6497 h 10021"/>
                <a:gd name="connsiteX137" fmla="*/ 1290 w 10000"/>
                <a:gd name="connsiteY137" fmla="*/ 6620 h 10021"/>
                <a:gd name="connsiteX138" fmla="*/ 1386 w 10000"/>
                <a:gd name="connsiteY138" fmla="*/ 6740 h 10021"/>
                <a:gd name="connsiteX139" fmla="*/ 1497 w 10000"/>
                <a:gd name="connsiteY139" fmla="*/ 6859 h 10021"/>
                <a:gd name="connsiteX140" fmla="*/ 1609 w 10000"/>
                <a:gd name="connsiteY140" fmla="*/ 6973 h 10021"/>
                <a:gd name="connsiteX141" fmla="*/ 1727 w 10000"/>
                <a:gd name="connsiteY141" fmla="*/ 7092 h 10021"/>
                <a:gd name="connsiteX142" fmla="*/ 1846 w 10000"/>
                <a:gd name="connsiteY142" fmla="*/ 7207 h 10021"/>
                <a:gd name="connsiteX143" fmla="*/ 1964 w 10000"/>
                <a:gd name="connsiteY143" fmla="*/ 7317 h 10021"/>
                <a:gd name="connsiteX144" fmla="*/ 2090 w 10000"/>
                <a:gd name="connsiteY144" fmla="*/ 7427 h 10021"/>
                <a:gd name="connsiteX145" fmla="*/ 2224 w 10000"/>
                <a:gd name="connsiteY145" fmla="*/ 7537 h 10021"/>
                <a:gd name="connsiteX146" fmla="*/ 2350 w 10000"/>
                <a:gd name="connsiteY146" fmla="*/ 7647 h 10021"/>
                <a:gd name="connsiteX147" fmla="*/ 2491 w 10000"/>
                <a:gd name="connsiteY147" fmla="*/ 7752 h 10021"/>
                <a:gd name="connsiteX148" fmla="*/ 2617 w 10000"/>
                <a:gd name="connsiteY148" fmla="*/ 7858 h 10021"/>
                <a:gd name="connsiteX149" fmla="*/ 2765 w 10000"/>
                <a:gd name="connsiteY149" fmla="*/ 7959 h 10021"/>
                <a:gd name="connsiteX150" fmla="*/ 2906 w 10000"/>
                <a:gd name="connsiteY150" fmla="*/ 8059 h 10021"/>
                <a:gd name="connsiteX151" fmla="*/ 3054 w 10000"/>
                <a:gd name="connsiteY151" fmla="*/ 8160 h 10021"/>
                <a:gd name="connsiteX152" fmla="*/ 3210 w 10000"/>
                <a:gd name="connsiteY152" fmla="*/ 8257 h 10021"/>
                <a:gd name="connsiteX153" fmla="*/ 3358 w 10000"/>
                <a:gd name="connsiteY153" fmla="*/ 8353 h 10021"/>
                <a:gd name="connsiteX154" fmla="*/ 3514 w 10000"/>
                <a:gd name="connsiteY154" fmla="*/ 8449 h 10021"/>
                <a:gd name="connsiteX155" fmla="*/ 3677 w 10000"/>
                <a:gd name="connsiteY155" fmla="*/ 8541 h 10021"/>
                <a:gd name="connsiteX156" fmla="*/ 3840 w 10000"/>
                <a:gd name="connsiteY156" fmla="*/ 8628 h 10021"/>
                <a:gd name="connsiteX157" fmla="*/ 4010 w 10000"/>
                <a:gd name="connsiteY157" fmla="*/ 8719 h 10021"/>
                <a:gd name="connsiteX158" fmla="*/ 4181 w 10000"/>
                <a:gd name="connsiteY158" fmla="*/ 8797 h 10021"/>
                <a:gd name="connsiteX159" fmla="*/ 4351 w 10000"/>
                <a:gd name="connsiteY159" fmla="*/ 8884 h 10021"/>
                <a:gd name="connsiteX160" fmla="*/ 4522 w 10000"/>
                <a:gd name="connsiteY160" fmla="*/ 8962 h 10021"/>
                <a:gd name="connsiteX161" fmla="*/ 4700 w 10000"/>
                <a:gd name="connsiteY161" fmla="*/ 9045 h 10021"/>
                <a:gd name="connsiteX162" fmla="*/ 4878 w 10000"/>
                <a:gd name="connsiteY162" fmla="*/ 9123 h 10021"/>
                <a:gd name="connsiteX163" fmla="*/ 5063 w 10000"/>
                <a:gd name="connsiteY163" fmla="*/ 9196 h 10021"/>
                <a:gd name="connsiteX164" fmla="*/ 5248 w 10000"/>
                <a:gd name="connsiteY164" fmla="*/ 9274 h 10021"/>
                <a:gd name="connsiteX165" fmla="*/ 5426 w 10000"/>
                <a:gd name="connsiteY165" fmla="*/ 9343 h 10021"/>
                <a:gd name="connsiteX166" fmla="*/ 5619 w 10000"/>
                <a:gd name="connsiteY166" fmla="*/ 9411 h 10021"/>
                <a:gd name="connsiteX167" fmla="*/ 5812 w 10000"/>
                <a:gd name="connsiteY167" fmla="*/ 9480 h 10021"/>
                <a:gd name="connsiteX168" fmla="*/ 6004 w 10000"/>
                <a:gd name="connsiteY168" fmla="*/ 9544 h 10021"/>
                <a:gd name="connsiteX169" fmla="*/ 6205 w 10000"/>
                <a:gd name="connsiteY169" fmla="*/ 9609 h 10021"/>
                <a:gd name="connsiteX170" fmla="*/ 6397 w 10000"/>
                <a:gd name="connsiteY170" fmla="*/ 9668 h 10021"/>
                <a:gd name="connsiteX171" fmla="*/ 6605 w 10000"/>
                <a:gd name="connsiteY171" fmla="*/ 9723 h 10021"/>
                <a:gd name="connsiteX172" fmla="*/ 6805 w 10000"/>
                <a:gd name="connsiteY172" fmla="*/ 9778 h 10021"/>
                <a:gd name="connsiteX173" fmla="*/ 7005 w 10000"/>
                <a:gd name="connsiteY173" fmla="*/ 9833 h 10021"/>
                <a:gd name="connsiteX174" fmla="*/ 7213 w 10000"/>
                <a:gd name="connsiteY174" fmla="*/ 9884 h 10021"/>
                <a:gd name="connsiteX175" fmla="*/ 7420 w 10000"/>
                <a:gd name="connsiteY175" fmla="*/ 9929 h 10021"/>
                <a:gd name="connsiteX176" fmla="*/ 7628 w 10000"/>
                <a:gd name="connsiteY176" fmla="*/ 9975 h 10021"/>
                <a:gd name="connsiteX177" fmla="*/ 7835 w 10000"/>
                <a:gd name="connsiteY177" fmla="*/ 10021 h 10021"/>
                <a:gd name="connsiteX178" fmla="*/ 7539 w 10000"/>
                <a:gd name="connsiteY178" fmla="*/ 7775 h 10021"/>
                <a:gd name="connsiteX179" fmla="*/ 10000 w 10000"/>
                <a:gd name="connsiteY179" fmla="*/ 6162 h 10021"/>
                <a:gd name="connsiteX0" fmla="*/ 10000 w 10000"/>
                <a:gd name="connsiteY0" fmla="*/ 6162 h 10021"/>
                <a:gd name="connsiteX1" fmla="*/ 10000 w 10000"/>
                <a:gd name="connsiteY1" fmla="*/ 6162 h 10021"/>
                <a:gd name="connsiteX2" fmla="*/ 9911 w 10000"/>
                <a:gd name="connsiteY2" fmla="*/ 6148 h 10021"/>
                <a:gd name="connsiteX3" fmla="*/ 9815 w 10000"/>
                <a:gd name="connsiteY3" fmla="*/ 6130 h 10021"/>
                <a:gd name="connsiteX4" fmla="*/ 9726 w 10000"/>
                <a:gd name="connsiteY4" fmla="*/ 6112 h 10021"/>
                <a:gd name="connsiteX5" fmla="*/ 9637 w 10000"/>
                <a:gd name="connsiteY5" fmla="*/ 6089 h 10021"/>
                <a:gd name="connsiteX6" fmla="*/ 9548 w 10000"/>
                <a:gd name="connsiteY6" fmla="*/ 6070 h 10021"/>
                <a:gd name="connsiteX7" fmla="*/ 9466 w 10000"/>
                <a:gd name="connsiteY7" fmla="*/ 6048 h 10021"/>
                <a:gd name="connsiteX8" fmla="*/ 9377 w 10000"/>
                <a:gd name="connsiteY8" fmla="*/ 6025 h 10021"/>
                <a:gd name="connsiteX9" fmla="*/ 9288 w 10000"/>
                <a:gd name="connsiteY9" fmla="*/ 6002 h 10021"/>
                <a:gd name="connsiteX10" fmla="*/ 9118 w 10000"/>
                <a:gd name="connsiteY10" fmla="*/ 5951 h 10021"/>
                <a:gd name="connsiteX11" fmla="*/ 8955 w 10000"/>
                <a:gd name="connsiteY11" fmla="*/ 5896 h 10021"/>
                <a:gd name="connsiteX12" fmla="*/ 8792 w 10000"/>
                <a:gd name="connsiteY12" fmla="*/ 5837 h 10021"/>
                <a:gd name="connsiteX13" fmla="*/ 8636 w 10000"/>
                <a:gd name="connsiteY13" fmla="*/ 5773 h 10021"/>
                <a:gd name="connsiteX14" fmla="*/ 8480 w 10000"/>
                <a:gd name="connsiteY14" fmla="*/ 5708 h 10021"/>
                <a:gd name="connsiteX15" fmla="*/ 8340 w 10000"/>
                <a:gd name="connsiteY15" fmla="*/ 5640 h 10021"/>
                <a:gd name="connsiteX16" fmla="*/ 8199 w 10000"/>
                <a:gd name="connsiteY16" fmla="*/ 5566 h 10021"/>
                <a:gd name="connsiteX17" fmla="*/ 8058 w 10000"/>
                <a:gd name="connsiteY17" fmla="*/ 5488 h 10021"/>
                <a:gd name="connsiteX18" fmla="*/ 7924 w 10000"/>
                <a:gd name="connsiteY18" fmla="*/ 5406 h 10021"/>
                <a:gd name="connsiteX19" fmla="*/ 7798 w 10000"/>
                <a:gd name="connsiteY19" fmla="*/ 5323 h 10021"/>
                <a:gd name="connsiteX20" fmla="*/ 7672 w 10000"/>
                <a:gd name="connsiteY20" fmla="*/ 5236 h 10021"/>
                <a:gd name="connsiteX21" fmla="*/ 7554 w 10000"/>
                <a:gd name="connsiteY21" fmla="*/ 5149 h 10021"/>
                <a:gd name="connsiteX22" fmla="*/ 7450 w 10000"/>
                <a:gd name="connsiteY22" fmla="*/ 5053 h 10021"/>
                <a:gd name="connsiteX23" fmla="*/ 7346 w 10000"/>
                <a:gd name="connsiteY23" fmla="*/ 4957 h 10021"/>
                <a:gd name="connsiteX24" fmla="*/ 7250 w 10000"/>
                <a:gd name="connsiteY24" fmla="*/ 4861 h 10021"/>
                <a:gd name="connsiteX25" fmla="*/ 7161 w 10000"/>
                <a:gd name="connsiteY25" fmla="*/ 4760 h 10021"/>
                <a:gd name="connsiteX26" fmla="*/ 7072 w 10000"/>
                <a:gd name="connsiteY26" fmla="*/ 4659 h 10021"/>
                <a:gd name="connsiteX27" fmla="*/ 6990 w 10000"/>
                <a:gd name="connsiteY27" fmla="*/ 4549 h 10021"/>
                <a:gd name="connsiteX28" fmla="*/ 6953 w 10000"/>
                <a:gd name="connsiteY28" fmla="*/ 4499 h 10021"/>
                <a:gd name="connsiteX29" fmla="*/ 6916 w 10000"/>
                <a:gd name="connsiteY29" fmla="*/ 4444 h 10021"/>
                <a:gd name="connsiteX30" fmla="*/ 6887 w 10000"/>
                <a:gd name="connsiteY30" fmla="*/ 4389 h 10021"/>
                <a:gd name="connsiteX31" fmla="*/ 6850 w 10000"/>
                <a:gd name="connsiteY31" fmla="*/ 4334 h 10021"/>
                <a:gd name="connsiteX32" fmla="*/ 6820 w 10000"/>
                <a:gd name="connsiteY32" fmla="*/ 4279 h 10021"/>
                <a:gd name="connsiteX33" fmla="*/ 6790 w 10000"/>
                <a:gd name="connsiteY33" fmla="*/ 4224 h 10021"/>
                <a:gd name="connsiteX34" fmla="*/ 6768 w 10000"/>
                <a:gd name="connsiteY34" fmla="*/ 4164 h 10021"/>
                <a:gd name="connsiteX35" fmla="*/ 6738 w 10000"/>
                <a:gd name="connsiteY35" fmla="*/ 4109 h 10021"/>
                <a:gd name="connsiteX36" fmla="*/ 6723 w 10000"/>
                <a:gd name="connsiteY36" fmla="*/ 4049 h 10021"/>
                <a:gd name="connsiteX37" fmla="*/ 6694 w 10000"/>
                <a:gd name="connsiteY37" fmla="*/ 3994 h 10021"/>
                <a:gd name="connsiteX38" fmla="*/ 6679 w 10000"/>
                <a:gd name="connsiteY38" fmla="*/ 3935 h 10021"/>
                <a:gd name="connsiteX39" fmla="*/ 6664 w 10000"/>
                <a:gd name="connsiteY39" fmla="*/ 3875 h 10021"/>
                <a:gd name="connsiteX40" fmla="*/ 6649 w 10000"/>
                <a:gd name="connsiteY40" fmla="*/ 3816 h 10021"/>
                <a:gd name="connsiteX41" fmla="*/ 6635 w 10000"/>
                <a:gd name="connsiteY41" fmla="*/ 3761 h 10021"/>
                <a:gd name="connsiteX42" fmla="*/ 6620 w 10000"/>
                <a:gd name="connsiteY42" fmla="*/ 3701 h 10021"/>
                <a:gd name="connsiteX43" fmla="*/ 6612 w 10000"/>
                <a:gd name="connsiteY43" fmla="*/ 3642 h 10021"/>
                <a:gd name="connsiteX44" fmla="*/ 6605 w 10000"/>
                <a:gd name="connsiteY44" fmla="*/ 3582 h 10021"/>
                <a:gd name="connsiteX45" fmla="*/ 6597 w 10000"/>
                <a:gd name="connsiteY45" fmla="*/ 3518 h 10021"/>
                <a:gd name="connsiteX46" fmla="*/ 6597 w 10000"/>
                <a:gd name="connsiteY46" fmla="*/ 3458 h 10021"/>
                <a:gd name="connsiteX47" fmla="*/ 6590 w 10000"/>
                <a:gd name="connsiteY47" fmla="*/ 3394 h 10021"/>
                <a:gd name="connsiteX48" fmla="*/ 6597 w 10000"/>
                <a:gd name="connsiteY48" fmla="*/ 3334 h 10021"/>
                <a:gd name="connsiteX49" fmla="*/ 6605 w 10000"/>
                <a:gd name="connsiteY49" fmla="*/ 3266 h 10021"/>
                <a:gd name="connsiteX50" fmla="*/ 6605 w 10000"/>
                <a:gd name="connsiteY50" fmla="*/ 3202 h 10021"/>
                <a:gd name="connsiteX51" fmla="*/ 6612 w 10000"/>
                <a:gd name="connsiteY51" fmla="*/ 3137 h 10021"/>
                <a:gd name="connsiteX52" fmla="*/ 6620 w 10000"/>
                <a:gd name="connsiteY52" fmla="*/ 3073 h 10021"/>
                <a:gd name="connsiteX53" fmla="*/ 6635 w 10000"/>
                <a:gd name="connsiteY53" fmla="*/ 3014 h 10021"/>
                <a:gd name="connsiteX54" fmla="*/ 6649 w 10000"/>
                <a:gd name="connsiteY54" fmla="*/ 2950 h 10021"/>
                <a:gd name="connsiteX55" fmla="*/ 6664 w 10000"/>
                <a:gd name="connsiteY55" fmla="*/ 2890 h 10021"/>
                <a:gd name="connsiteX56" fmla="*/ 6686 w 10000"/>
                <a:gd name="connsiteY56" fmla="*/ 2826 h 10021"/>
                <a:gd name="connsiteX57" fmla="*/ 6709 w 10000"/>
                <a:gd name="connsiteY57" fmla="*/ 2766 h 10021"/>
                <a:gd name="connsiteX58" fmla="*/ 6731 w 10000"/>
                <a:gd name="connsiteY58" fmla="*/ 2707 h 10021"/>
                <a:gd name="connsiteX59" fmla="*/ 6753 w 10000"/>
                <a:gd name="connsiteY59" fmla="*/ 2642 h 10021"/>
                <a:gd name="connsiteX60" fmla="*/ 6783 w 10000"/>
                <a:gd name="connsiteY60" fmla="*/ 2587 h 10021"/>
                <a:gd name="connsiteX61" fmla="*/ 6812 w 10000"/>
                <a:gd name="connsiteY61" fmla="*/ 2528 h 10021"/>
                <a:gd name="connsiteX62" fmla="*/ 6842 w 10000"/>
                <a:gd name="connsiteY62" fmla="*/ 2468 h 10021"/>
                <a:gd name="connsiteX63" fmla="*/ 6879 w 10000"/>
                <a:gd name="connsiteY63" fmla="*/ 2409 h 10021"/>
                <a:gd name="connsiteX64" fmla="*/ 6909 w 10000"/>
                <a:gd name="connsiteY64" fmla="*/ 2354 h 10021"/>
                <a:gd name="connsiteX65" fmla="*/ 6946 w 10000"/>
                <a:gd name="connsiteY65" fmla="*/ 2294 h 10021"/>
                <a:gd name="connsiteX66" fmla="*/ 6990 w 10000"/>
                <a:gd name="connsiteY66" fmla="*/ 2239 h 10021"/>
                <a:gd name="connsiteX67" fmla="*/ 7027 w 10000"/>
                <a:gd name="connsiteY67" fmla="*/ 2184 h 10021"/>
                <a:gd name="connsiteX68" fmla="*/ 7072 w 10000"/>
                <a:gd name="connsiteY68" fmla="*/ 2129 h 10021"/>
                <a:gd name="connsiteX69" fmla="*/ 7109 w 10000"/>
                <a:gd name="connsiteY69" fmla="*/ 2074 h 10021"/>
                <a:gd name="connsiteX70" fmla="*/ 7161 w 10000"/>
                <a:gd name="connsiteY70" fmla="*/ 2024 h 10021"/>
                <a:gd name="connsiteX71" fmla="*/ 7213 w 10000"/>
                <a:gd name="connsiteY71" fmla="*/ 1969 h 10021"/>
                <a:gd name="connsiteX72" fmla="*/ 7257 w 10000"/>
                <a:gd name="connsiteY72" fmla="*/ 1914 h 10021"/>
                <a:gd name="connsiteX73" fmla="*/ 7309 w 10000"/>
                <a:gd name="connsiteY73" fmla="*/ 1863 h 10021"/>
                <a:gd name="connsiteX74" fmla="*/ 7361 w 10000"/>
                <a:gd name="connsiteY74" fmla="*/ 1813 h 10021"/>
                <a:gd name="connsiteX75" fmla="*/ 7413 w 10000"/>
                <a:gd name="connsiteY75" fmla="*/ 1763 h 10021"/>
                <a:gd name="connsiteX76" fmla="*/ 7472 w 10000"/>
                <a:gd name="connsiteY76" fmla="*/ 1712 h 10021"/>
                <a:gd name="connsiteX77" fmla="*/ 7524 w 10000"/>
                <a:gd name="connsiteY77" fmla="*/ 1666 h 10021"/>
                <a:gd name="connsiteX78" fmla="*/ 7583 w 10000"/>
                <a:gd name="connsiteY78" fmla="*/ 1620 h 10021"/>
                <a:gd name="connsiteX79" fmla="*/ 7643 w 10000"/>
                <a:gd name="connsiteY79" fmla="*/ 1570 h 10021"/>
                <a:gd name="connsiteX80" fmla="*/ 5390 w 10000"/>
                <a:gd name="connsiteY80" fmla="*/ 14 h 10021"/>
                <a:gd name="connsiteX81" fmla="*/ 1401 w 10000"/>
                <a:gd name="connsiteY81" fmla="*/ 0 h 10021"/>
                <a:gd name="connsiteX82" fmla="*/ 1305 w 10000"/>
                <a:gd name="connsiteY82" fmla="*/ 149 h 10021"/>
                <a:gd name="connsiteX83" fmla="*/ 1223 w 10000"/>
                <a:gd name="connsiteY83" fmla="*/ 241 h 10021"/>
                <a:gd name="connsiteX84" fmla="*/ 1149 w 10000"/>
                <a:gd name="connsiteY84" fmla="*/ 337 h 10021"/>
                <a:gd name="connsiteX85" fmla="*/ 1067 w 10000"/>
                <a:gd name="connsiteY85" fmla="*/ 433 h 10021"/>
                <a:gd name="connsiteX86" fmla="*/ 1001 w 10000"/>
                <a:gd name="connsiteY86" fmla="*/ 530 h 10021"/>
                <a:gd name="connsiteX87" fmla="*/ 927 w 10000"/>
                <a:gd name="connsiteY87" fmla="*/ 626 h 10021"/>
                <a:gd name="connsiteX88" fmla="*/ 860 w 10000"/>
                <a:gd name="connsiteY88" fmla="*/ 727 h 10021"/>
                <a:gd name="connsiteX89" fmla="*/ 793 w 10000"/>
                <a:gd name="connsiteY89" fmla="*/ 828 h 10021"/>
                <a:gd name="connsiteX90" fmla="*/ 734 w 10000"/>
                <a:gd name="connsiteY90" fmla="*/ 924 h 10021"/>
                <a:gd name="connsiteX91" fmla="*/ 675 w 10000"/>
                <a:gd name="connsiteY91" fmla="*/ 1025 h 10021"/>
                <a:gd name="connsiteX92" fmla="*/ 615 w 10000"/>
                <a:gd name="connsiteY92" fmla="*/ 1125 h 10021"/>
                <a:gd name="connsiteX93" fmla="*/ 556 w 10000"/>
                <a:gd name="connsiteY93" fmla="*/ 1231 h 10021"/>
                <a:gd name="connsiteX94" fmla="*/ 504 w 10000"/>
                <a:gd name="connsiteY94" fmla="*/ 1327 h 10021"/>
                <a:gd name="connsiteX95" fmla="*/ 452 w 10000"/>
                <a:gd name="connsiteY95" fmla="*/ 1433 h 10021"/>
                <a:gd name="connsiteX96" fmla="*/ 408 w 10000"/>
                <a:gd name="connsiteY96" fmla="*/ 1533 h 10021"/>
                <a:gd name="connsiteX97" fmla="*/ 363 w 10000"/>
                <a:gd name="connsiteY97" fmla="*/ 1639 h 10021"/>
                <a:gd name="connsiteX98" fmla="*/ 319 w 10000"/>
                <a:gd name="connsiteY98" fmla="*/ 1744 h 10021"/>
                <a:gd name="connsiteX99" fmla="*/ 282 w 10000"/>
                <a:gd name="connsiteY99" fmla="*/ 1850 h 10021"/>
                <a:gd name="connsiteX100" fmla="*/ 237 w 10000"/>
                <a:gd name="connsiteY100" fmla="*/ 1960 h 10021"/>
                <a:gd name="connsiteX101" fmla="*/ 208 w 10000"/>
                <a:gd name="connsiteY101" fmla="*/ 2065 h 10021"/>
                <a:gd name="connsiteX102" fmla="*/ 170 w 10000"/>
                <a:gd name="connsiteY102" fmla="*/ 2175 h 10021"/>
                <a:gd name="connsiteX103" fmla="*/ 148 w 10000"/>
                <a:gd name="connsiteY103" fmla="*/ 2285 h 10021"/>
                <a:gd name="connsiteX104" fmla="*/ 119 w 10000"/>
                <a:gd name="connsiteY104" fmla="*/ 2390 h 10021"/>
                <a:gd name="connsiteX105" fmla="*/ 96 w 10000"/>
                <a:gd name="connsiteY105" fmla="*/ 2500 h 10021"/>
                <a:gd name="connsiteX106" fmla="*/ 74 w 10000"/>
                <a:gd name="connsiteY106" fmla="*/ 2610 h 10021"/>
                <a:gd name="connsiteX107" fmla="*/ 52 w 10000"/>
                <a:gd name="connsiteY107" fmla="*/ 2725 h 10021"/>
                <a:gd name="connsiteX108" fmla="*/ 37 w 10000"/>
                <a:gd name="connsiteY108" fmla="*/ 2835 h 10021"/>
                <a:gd name="connsiteX109" fmla="*/ 22 w 10000"/>
                <a:gd name="connsiteY109" fmla="*/ 2945 h 10021"/>
                <a:gd name="connsiteX110" fmla="*/ 15 w 10000"/>
                <a:gd name="connsiteY110" fmla="*/ 3055 h 10021"/>
                <a:gd name="connsiteX111" fmla="*/ 7 w 10000"/>
                <a:gd name="connsiteY111" fmla="*/ 3169 h 10021"/>
                <a:gd name="connsiteX112" fmla="*/ 0 w 10000"/>
                <a:gd name="connsiteY112" fmla="*/ 3279 h 10021"/>
                <a:gd name="connsiteX113" fmla="*/ 0 w 10000"/>
                <a:gd name="connsiteY113" fmla="*/ 3394 h 10021"/>
                <a:gd name="connsiteX114" fmla="*/ 7 w 10000"/>
                <a:gd name="connsiteY114" fmla="*/ 3541 h 10021"/>
                <a:gd name="connsiteX115" fmla="*/ 7 w 10000"/>
                <a:gd name="connsiteY115" fmla="*/ 3687 h 10021"/>
                <a:gd name="connsiteX116" fmla="*/ 22 w 10000"/>
                <a:gd name="connsiteY116" fmla="*/ 3825 h 10021"/>
                <a:gd name="connsiteX117" fmla="*/ 37 w 10000"/>
                <a:gd name="connsiteY117" fmla="*/ 3967 h 10021"/>
                <a:gd name="connsiteX118" fmla="*/ 59 w 10000"/>
                <a:gd name="connsiteY118" fmla="*/ 4109 h 10021"/>
                <a:gd name="connsiteX119" fmla="*/ 89 w 10000"/>
                <a:gd name="connsiteY119" fmla="*/ 4251 h 10021"/>
                <a:gd name="connsiteX120" fmla="*/ 119 w 10000"/>
                <a:gd name="connsiteY120" fmla="*/ 4393 h 10021"/>
                <a:gd name="connsiteX121" fmla="*/ 148 w 10000"/>
                <a:gd name="connsiteY121" fmla="*/ 4535 h 10021"/>
                <a:gd name="connsiteX122" fmla="*/ 193 w 10000"/>
                <a:gd name="connsiteY122" fmla="*/ 4673 h 10021"/>
                <a:gd name="connsiteX123" fmla="*/ 237 w 10000"/>
                <a:gd name="connsiteY123" fmla="*/ 4810 h 10021"/>
                <a:gd name="connsiteX124" fmla="*/ 282 w 10000"/>
                <a:gd name="connsiteY124" fmla="*/ 4948 h 10021"/>
                <a:gd name="connsiteX125" fmla="*/ 334 w 10000"/>
                <a:gd name="connsiteY125" fmla="*/ 5085 h 10021"/>
                <a:gd name="connsiteX126" fmla="*/ 393 w 10000"/>
                <a:gd name="connsiteY126" fmla="*/ 5218 h 10021"/>
                <a:gd name="connsiteX127" fmla="*/ 452 w 10000"/>
                <a:gd name="connsiteY127" fmla="*/ 5351 h 10021"/>
                <a:gd name="connsiteX128" fmla="*/ 519 w 10000"/>
                <a:gd name="connsiteY128" fmla="*/ 5484 h 10021"/>
                <a:gd name="connsiteX129" fmla="*/ 586 w 10000"/>
                <a:gd name="connsiteY129" fmla="*/ 5617 h 10021"/>
                <a:gd name="connsiteX130" fmla="*/ 660 w 10000"/>
                <a:gd name="connsiteY130" fmla="*/ 5745 h 10021"/>
                <a:gd name="connsiteX131" fmla="*/ 741 w 10000"/>
                <a:gd name="connsiteY131" fmla="*/ 5873 h 10021"/>
                <a:gd name="connsiteX132" fmla="*/ 823 w 10000"/>
                <a:gd name="connsiteY132" fmla="*/ 6006 h 10021"/>
                <a:gd name="connsiteX133" fmla="*/ 904 w 10000"/>
                <a:gd name="connsiteY133" fmla="*/ 6130 h 10021"/>
                <a:gd name="connsiteX134" fmla="*/ 993 w 10000"/>
                <a:gd name="connsiteY134" fmla="*/ 6254 h 10021"/>
                <a:gd name="connsiteX135" fmla="*/ 1090 w 10000"/>
                <a:gd name="connsiteY135" fmla="*/ 6373 h 10021"/>
                <a:gd name="connsiteX136" fmla="*/ 1186 w 10000"/>
                <a:gd name="connsiteY136" fmla="*/ 6497 h 10021"/>
                <a:gd name="connsiteX137" fmla="*/ 1290 w 10000"/>
                <a:gd name="connsiteY137" fmla="*/ 6620 h 10021"/>
                <a:gd name="connsiteX138" fmla="*/ 1386 w 10000"/>
                <a:gd name="connsiteY138" fmla="*/ 6740 h 10021"/>
                <a:gd name="connsiteX139" fmla="*/ 1497 w 10000"/>
                <a:gd name="connsiteY139" fmla="*/ 6859 h 10021"/>
                <a:gd name="connsiteX140" fmla="*/ 1609 w 10000"/>
                <a:gd name="connsiteY140" fmla="*/ 6973 h 10021"/>
                <a:gd name="connsiteX141" fmla="*/ 1727 w 10000"/>
                <a:gd name="connsiteY141" fmla="*/ 7092 h 10021"/>
                <a:gd name="connsiteX142" fmla="*/ 1846 w 10000"/>
                <a:gd name="connsiteY142" fmla="*/ 7207 h 10021"/>
                <a:gd name="connsiteX143" fmla="*/ 1964 w 10000"/>
                <a:gd name="connsiteY143" fmla="*/ 7317 h 10021"/>
                <a:gd name="connsiteX144" fmla="*/ 2090 w 10000"/>
                <a:gd name="connsiteY144" fmla="*/ 7427 h 10021"/>
                <a:gd name="connsiteX145" fmla="*/ 2224 w 10000"/>
                <a:gd name="connsiteY145" fmla="*/ 7537 h 10021"/>
                <a:gd name="connsiteX146" fmla="*/ 2350 w 10000"/>
                <a:gd name="connsiteY146" fmla="*/ 7647 h 10021"/>
                <a:gd name="connsiteX147" fmla="*/ 2491 w 10000"/>
                <a:gd name="connsiteY147" fmla="*/ 7752 h 10021"/>
                <a:gd name="connsiteX148" fmla="*/ 2617 w 10000"/>
                <a:gd name="connsiteY148" fmla="*/ 7858 h 10021"/>
                <a:gd name="connsiteX149" fmla="*/ 2765 w 10000"/>
                <a:gd name="connsiteY149" fmla="*/ 7959 h 10021"/>
                <a:gd name="connsiteX150" fmla="*/ 2906 w 10000"/>
                <a:gd name="connsiteY150" fmla="*/ 8059 h 10021"/>
                <a:gd name="connsiteX151" fmla="*/ 3054 w 10000"/>
                <a:gd name="connsiteY151" fmla="*/ 8160 h 10021"/>
                <a:gd name="connsiteX152" fmla="*/ 3210 w 10000"/>
                <a:gd name="connsiteY152" fmla="*/ 8257 h 10021"/>
                <a:gd name="connsiteX153" fmla="*/ 3358 w 10000"/>
                <a:gd name="connsiteY153" fmla="*/ 8353 h 10021"/>
                <a:gd name="connsiteX154" fmla="*/ 3514 w 10000"/>
                <a:gd name="connsiteY154" fmla="*/ 8449 h 10021"/>
                <a:gd name="connsiteX155" fmla="*/ 3677 w 10000"/>
                <a:gd name="connsiteY155" fmla="*/ 8541 h 10021"/>
                <a:gd name="connsiteX156" fmla="*/ 3840 w 10000"/>
                <a:gd name="connsiteY156" fmla="*/ 8628 h 10021"/>
                <a:gd name="connsiteX157" fmla="*/ 4010 w 10000"/>
                <a:gd name="connsiteY157" fmla="*/ 8719 h 10021"/>
                <a:gd name="connsiteX158" fmla="*/ 4181 w 10000"/>
                <a:gd name="connsiteY158" fmla="*/ 8797 h 10021"/>
                <a:gd name="connsiteX159" fmla="*/ 4351 w 10000"/>
                <a:gd name="connsiteY159" fmla="*/ 8884 h 10021"/>
                <a:gd name="connsiteX160" fmla="*/ 4522 w 10000"/>
                <a:gd name="connsiteY160" fmla="*/ 8962 h 10021"/>
                <a:gd name="connsiteX161" fmla="*/ 4700 w 10000"/>
                <a:gd name="connsiteY161" fmla="*/ 9045 h 10021"/>
                <a:gd name="connsiteX162" fmla="*/ 4878 w 10000"/>
                <a:gd name="connsiteY162" fmla="*/ 9123 h 10021"/>
                <a:gd name="connsiteX163" fmla="*/ 5063 w 10000"/>
                <a:gd name="connsiteY163" fmla="*/ 9196 h 10021"/>
                <a:gd name="connsiteX164" fmla="*/ 5248 w 10000"/>
                <a:gd name="connsiteY164" fmla="*/ 9274 h 10021"/>
                <a:gd name="connsiteX165" fmla="*/ 5426 w 10000"/>
                <a:gd name="connsiteY165" fmla="*/ 9343 h 10021"/>
                <a:gd name="connsiteX166" fmla="*/ 5619 w 10000"/>
                <a:gd name="connsiteY166" fmla="*/ 9411 h 10021"/>
                <a:gd name="connsiteX167" fmla="*/ 5812 w 10000"/>
                <a:gd name="connsiteY167" fmla="*/ 9480 h 10021"/>
                <a:gd name="connsiteX168" fmla="*/ 6004 w 10000"/>
                <a:gd name="connsiteY168" fmla="*/ 9544 h 10021"/>
                <a:gd name="connsiteX169" fmla="*/ 6205 w 10000"/>
                <a:gd name="connsiteY169" fmla="*/ 9609 h 10021"/>
                <a:gd name="connsiteX170" fmla="*/ 6397 w 10000"/>
                <a:gd name="connsiteY170" fmla="*/ 9668 h 10021"/>
                <a:gd name="connsiteX171" fmla="*/ 6605 w 10000"/>
                <a:gd name="connsiteY171" fmla="*/ 9723 h 10021"/>
                <a:gd name="connsiteX172" fmla="*/ 6805 w 10000"/>
                <a:gd name="connsiteY172" fmla="*/ 9778 h 10021"/>
                <a:gd name="connsiteX173" fmla="*/ 7005 w 10000"/>
                <a:gd name="connsiteY173" fmla="*/ 9833 h 10021"/>
                <a:gd name="connsiteX174" fmla="*/ 7213 w 10000"/>
                <a:gd name="connsiteY174" fmla="*/ 9884 h 10021"/>
                <a:gd name="connsiteX175" fmla="*/ 7420 w 10000"/>
                <a:gd name="connsiteY175" fmla="*/ 9929 h 10021"/>
                <a:gd name="connsiteX176" fmla="*/ 7628 w 10000"/>
                <a:gd name="connsiteY176" fmla="*/ 9975 h 10021"/>
                <a:gd name="connsiteX177" fmla="*/ 7835 w 10000"/>
                <a:gd name="connsiteY177" fmla="*/ 10021 h 10021"/>
                <a:gd name="connsiteX178" fmla="*/ 7539 w 10000"/>
                <a:gd name="connsiteY178" fmla="*/ 7775 h 10021"/>
                <a:gd name="connsiteX179" fmla="*/ 10000 w 10000"/>
                <a:gd name="connsiteY179" fmla="*/ 6162 h 10021"/>
                <a:gd name="connsiteX0" fmla="*/ 10000 w 10000"/>
                <a:gd name="connsiteY0" fmla="*/ 6148 h 10007"/>
                <a:gd name="connsiteX1" fmla="*/ 10000 w 10000"/>
                <a:gd name="connsiteY1" fmla="*/ 6148 h 10007"/>
                <a:gd name="connsiteX2" fmla="*/ 9911 w 10000"/>
                <a:gd name="connsiteY2" fmla="*/ 6134 h 10007"/>
                <a:gd name="connsiteX3" fmla="*/ 9815 w 10000"/>
                <a:gd name="connsiteY3" fmla="*/ 6116 h 10007"/>
                <a:gd name="connsiteX4" fmla="*/ 9726 w 10000"/>
                <a:gd name="connsiteY4" fmla="*/ 6098 h 10007"/>
                <a:gd name="connsiteX5" fmla="*/ 9637 w 10000"/>
                <a:gd name="connsiteY5" fmla="*/ 6075 h 10007"/>
                <a:gd name="connsiteX6" fmla="*/ 9548 w 10000"/>
                <a:gd name="connsiteY6" fmla="*/ 6056 h 10007"/>
                <a:gd name="connsiteX7" fmla="*/ 9466 w 10000"/>
                <a:gd name="connsiteY7" fmla="*/ 6034 h 10007"/>
                <a:gd name="connsiteX8" fmla="*/ 9377 w 10000"/>
                <a:gd name="connsiteY8" fmla="*/ 6011 h 10007"/>
                <a:gd name="connsiteX9" fmla="*/ 9288 w 10000"/>
                <a:gd name="connsiteY9" fmla="*/ 5988 h 10007"/>
                <a:gd name="connsiteX10" fmla="*/ 9118 w 10000"/>
                <a:gd name="connsiteY10" fmla="*/ 5937 h 10007"/>
                <a:gd name="connsiteX11" fmla="*/ 8955 w 10000"/>
                <a:gd name="connsiteY11" fmla="*/ 5882 h 10007"/>
                <a:gd name="connsiteX12" fmla="*/ 8792 w 10000"/>
                <a:gd name="connsiteY12" fmla="*/ 5823 h 10007"/>
                <a:gd name="connsiteX13" fmla="*/ 8636 w 10000"/>
                <a:gd name="connsiteY13" fmla="*/ 5759 h 10007"/>
                <a:gd name="connsiteX14" fmla="*/ 8480 w 10000"/>
                <a:gd name="connsiteY14" fmla="*/ 5694 h 10007"/>
                <a:gd name="connsiteX15" fmla="*/ 8340 w 10000"/>
                <a:gd name="connsiteY15" fmla="*/ 5626 h 10007"/>
                <a:gd name="connsiteX16" fmla="*/ 8199 w 10000"/>
                <a:gd name="connsiteY16" fmla="*/ 5552 h 10007"/>
                <a:gd name="connsiteX17" fmla="*/ 8058 w 10000"/>
                <a:gd name="connsiteY17" fmla="*/ 5474 h 10007"/>
                <a:gd name="connsiteX18" fmla="*/ 7924 w 10000"/>
                <a:gd name="connsiteY18" fmla="*/ 5392 h 10007"/>
                <a:gd name="connsiteX19" fmla="*/ 7798 w 10000"/>
                <a:gd name="connsiteY19" fmla="*/ 5309 h 10007"/>
                <a:gd name="connsiteX20" fmla="*/ 7672 w 10000"/>
                <a:gd name="connsiteY20" fmla="*/ 5222 h 10007"/>
                <a:gd name="connsiteX21" fmla="*/ 7554 w 10000"/>
                <a:gd name="connsiteY21" fmla="*/ 5135 h 10007"/>
                <a:gd name="connsiteX22" fmla="*/ 7450 w 10000"/>
                <a:gd name="connsiteY22" fmla="*/ 5039 h 10007"/>
                <a:gd name="connsiteX23" fmla="*/ 7346 w 10000"/>
                <a:gd name="connsiteY23" fmla="*/ 4943 h 10007"/>
                <a:gd name="connsiteX24" fmla="*/ 7250 w 10000"/>
                <a:gd name="connsiteY24" fmla="*/ 4847 h 10007"/>
                <a:gd name="connsiteX25" fmla="*/ 7161 w 10000"/>
                <a:gd name="connsiteY25" fmla="*/ 4746 h 10007"/>
                <a:gd name="connsiteX26" fmla="*/ 7072 w 10000"/>
                <a:gd name="connsiteY26" fmla="*/ 4645 h 10007"/>
                <a:gd name="connsiteX27" fmla="*/ 6990 w 10000"/>
                <a:gd name="connsiteY27" fmla="*/ 4535 h 10007"/>
                <a:gd name="connsiteX28" fmla="*/ 6953 w 10000"/>
                <a:gd name="connsiteY28" fmla="*/ 4485 h 10007"/>
                <a:gd name="connsiteX29" fmla="*/ 6916 w 10000"/>
                <a:gd name="connsiteY29" fmla="*/ 4430 h 10007"/>
                <a:gd name="connsiteX30" fmla="*/ 6887 w 10000"/>
                <a:gd name="connsiteY30" fmla="*/ 4375 h 10007"/>
                <a:gd name="connsiteX31" fmla="*/ 6850 w 10000"/>
                <a:gd name="connsiteY31" fmla="*/ 4320 h 10007"/>
                <a:gd name="connsiteX32" fmla="*/ 6820 w 10000"/>
                <a:gd name="connsiteY32" fmla="*/ 4265 h 10007"/>
                <a:gd name="connsiteX33" fmla="*/ 6790 w 10000"/>
                <a:gd name="connsiteY33" fmla="*/ 4210 h 10007"/>
                <a:gd name="connsiteX34" fmla="*/ 6768 w 10000"/>
                <a:gd name="connsiteY34" fmla="*/ 4150 h 10007"/>
                <a:gd name="connsiteX35" fmla="*/ 6738 w 10000"/>
                <a:gd name="connsiteY35" fmla="*/ 4095 h 10007"/>
                <a:gd name="connsiteX36" fmla="*/ 6723 w 10000"/>
                <a:gd name="connsiteY36" fmla="*/ 4035 h 10007"/>
                <a:gd name="connsiteX37" fmla="*/ 6694 w 10000"/>
                <a:gd name="connsiteY37" fmla="*/ 3980 h 10007"/>
                <a:gd name="connsiteX38" fmla="*/ 6679 w 10000"/>
                <a:gd name="connsiteY38" fmla="*/ 3921 h 10007"/>
                <a:gd name="connsiteX39" fmla="*/ 6664 w 10000"/>
                <a:gd name="connsiteY39" fmla="*/ 3861 h 10007"/>
                <a:gd name="connsiteX40" fmla="*/ 6649 w 10000"/>
                <a:gd name="connsiteY40" fmla="*/ 3802 h 10007"/>
                <a:gd name="connsiteX41" fmla="*/ 6635 w 10000"/>
                <a:gd name="connsiteY41" fmla="*/ 3747 h 10007"/>
                <a:gd name="connsiteX42" fmla="*/ 6620 w 10000"/>
                <a:gd name="connsiteY42" fmla="*/ 3687 h 10007"/>
                <a:gd name="connsiteX43" fmla="*/ 6612 w 10000"/>
                <a:gd name="connsiteY43" fmla="*/ 3628 h 10007"/>
                <a:gd name="connsiteX44" fmla="*/ 6605 w 10000"/>
                <a:gd name="connsiteY44" fmla="*/ 3568 h 10007"/>
                <a:gd name="connsiteX45" fmla="*/ 6597 w 10000"/>
                <a:gd name="connsiteY45" fmla="*/ 3504 h 10007"/>
                <a:gd name="connsiteX46" fmla="*/ 6597 w 10000"/>
                <a:gd name="connsiteY46" fmla="*/ 3444 h 10007"/>
                <a:gd name="connsiteX47" fmla="*/ 6590 w 10000"/>
                <a:gd name="connsiteY47" fmla="*/ 3380 h 10007"/>
                <a:gd name="connsiteX48" fmla="*/ 6597 w 10000"/>
                <a:gd name="connsiteY48" fmla="*/ 3320 h 10007"/>
                <a:gd name="connsiteX49" fmla="*/ 6605 w 10000"/>
                <a:gd name="connsiteY49" fmla="*/ 3252 h 10007"/>
                <a:gd name="connsiteX50" fmla="*/ 6605 w 10000"/>
                <a:gd name="connsiteY50" fmla="*/ 3188 h 10007"/>
                <a:gd name="connsiteX51" fmla="*/ 6612 w 10000"/>
                <a:gd name="connsiteY51" fmla="*/ 3123 h 10007"/>
                <a:gd name="connsiteX52" fmla="*/ 6620 w 10000"/>
                <a:gd name="connsiteY52" fmla="*/ 3059 h 10007"/>
                <a:gd name="connsiteX53" fmla="*/ 6635 w 10000"/>
                <a:gd name="connsiteY53" fmla="*/ 3000 h 10007"/>
                <a:gd name="connsiteX54" fmla="*/ 6649 w 10000"/>
                <a:gd name="connsiteY54" fmla="*/ 2936 h 10007"/>
                <a:gd name="connsiteX55" fmla="*/ 6664 w 10000"/>
                <a:gd name="connsiteY55" fmla="*/ 2876 h 10007"/>
                <a:gd name="connsiteX56" fmla="*/ 6686 w 10000"/>
                <a:gd name="connsiteY56" fmla="*/ 2812 h 10007"/>
                <a:gd name="connsiteX57" fmla="*/ 6709 w 10000"/>
                <a:gd name="connsiteY57" fmla="*/ 2752 h 10007"/>
                <a:gd name="connsiteX58" fmla="*/ 6731 w 10000"/>
                <a:gd name="connsiteY58" fmla="*/ 2693 h 10007"/>
                <a:gd name="connsiteX59" fmla="*/ 6753 w 10000"/>
                <a:gd name="connsiteY59" fmla="*/ 2628 h 10007"/>
                <a:gd name="connsiteX60" fmla="*/ 6783 w 10000"/>
                <a:gd name="connsiteY60" fmla="*/ 2573 h 10007"/>
                <a:gd name="connsiteX61" fmla="*/ 6812 w 10000"/>
                <a:gd name="connsiteY61" fmla="*/ 2514 h 10007"/>
                <a:gd name="connsiteX62" fmla="*/ 6842 w 10000"/>
                <a:gd name="connsiteY62" fmla="*/ 2454 h 10007"/>
                <a:gd name="connsiteX63" fmla="*/ 6879 w 10000"/>
                <a:gd name="connsiteY63" fmla="*/ 2395 h 10007"/>
                <a:gd name="connsiteX64" fmla="*/ 6909 w 10000"/>
                <a:gd name="connsiteY64" fmla="*/ 2340 h 10007"/>
                <a:gd name="connsiteX65" fmla="*/ 6946 w 10000"/>
                <a:gd name="connsiteY65" fmla="*/ 2280 h 10007"/>
                <a:gd name="connsiteX66" fmla="*/ 6990 w 10000"/>
                <a:gd name="connsiteY66" fmla="*/ 2225 h 10007"/>
                <a:gd name="connsiteX67" fmla="*/ 7027 w 10000"/>
                <a:gd name="connsiteY67" fmla="*/ 2170 h 10007"/>
                <a:gd name="connsiteX68" fmla="*/ 7072 w 10000"/>
                <a:gd name="connsiteY68" fmla="*/ 2115 h 10007"/>
                <a:gd name="connsiteX69" fmla="*/ 7109 w 10000"/>
                <a:gd name="connsiteY69" fmla="*/ 2060 h 10007"/>
                <a:gd name="connsiteX70" fmla="*/ 7161 w 10000"/>
                <a:gd name="connsiteY70" fmla="*/ 2010 h 10007"/>
                <a:gd name="connsiteX71" fmla="*/ 7213 w 10000"/>
                <a:gd name="connsiteY71" fmla="*/ 1955 h 10007"/>
                <a:gd name="connsiteX72" fmla="*/ 7257 w 10000"/>
                <a:gd name="connsiteY72" fmla="*/ 1900 h 10007"/>
                <a:gd name="connsiteX73" fmla="*/ 7309 w 10000"/>
                <a:gd name="connsiteY73" fmla="*/ 1849 h 10007"/>
                <a:gd name="connsiteX74" fmla="*/ 7361 w 10000"/>
                <a:gd name="connsiteY74" fmla="*/ 1799 h 10007"/>
                <a:gd name="connsiteX75" fmla="*/ 7413 w 10000"/>
                <a:gd name="connsiteY75" fmla="*/ 1749 h 10007"/>
                <a:gd name="connsiteX76" fmla="*/ 7472 w 10000"/>
                <a:gd name="connsiteY76" fmla="*/ 1698 h 10007"/>
                <a:gd name="connsiteX77" fmla="*/ 7524 w 10000"/>
                <a:gd name="connsiteY77" fmla="*/ 1652 h 10007"/>
                <a:gd name="connsiteX78" fmla="*/ 7583 w 10000"/>
                <a:gd name="connsiteY78" fmla="*/ 1606 h 10007"/>
                <a:gd name="connsiteX79" fmla="*/ 7643 w 10000"/>
                <a:gd name="connsiteY79" fmla="*/ 1556 h 10007"/>
                <a:gd name="connsiteX80" fmla="*/ 5390 w 10000"/>
                <a:gd name="connsiteY80" fmla="*/ 0 h 10007"/>
                <a:gd name="connsiteX81" fmla="*/ 1401 w 10000"/>
                <a:gd name="connsiteY81" fmla="*/ 0 h 10007"/>
                <a:gd name="connsiteX82" fmla="*/ 1305 w 10000"/>
                <a:gd name="connsiteY82" fmla="*/ 135 h 10007"/>
                <a:gd name="connsiteX83" fmla="*/ 1223 w 10000"/>
                <a:gd name="connsiteY83" fmla="*/ 227 h 10007"/>
                <a:gd name="connsiteX84" fmla="*/ 1149 w 10000"/>
                <a:gd name="connsiteY84" fmla="*/ 323 h 10007"/>
                <a:gd name="connsiteX85" fmla="*/ 1067 w 10000"/>
                <a:gd name="connsiteY85" fmla="*/ 419 h 10007"/>
                <a:gd name="connsiteX86" fmla="*/ 1001 w 10000"/>
                <a:gd name="connsiteY86" fmla="*/ 516 h 10007"/>
                <a:gd name="connsiteX87" fmla="*/ 927 w 10000"/>
                <a:gd name="connsiteY87" fmla="*/ 612 h 10007"/>
                <a:gd name="connsiteX88" fmla="*/ 860 w 10000"/>
                <a:gd name="connsiteY88" fmla="*/ 713 h 10007"/>
                <a:gd name="connsiteX89" fmla="*/ 793 w 10000"/>
                <a:gd name="connsiteY89" fmla="*/ 814 h 10007"/>
                <a:gd name="connsiteX90" fmla="*/ 734 w 10000"/>
                <a:gd name="connsiteY90" fmla="*/ 910 h 10007"/>
                <a:gd name="connsiteX91" fmla="*/ 675 w 10000"/>
                <a:gd name="connsiteY91" fmla="*/ 1011 h 10007"/>
                <a:gd name="connsiteX92" fmla="*/ 615 w 10000"/>
                <a:gd name="connsiteY92" fmla="*/ 1111 h 10007"/>
                <a:gd name="connsiteX93" fmla="*/ 556 w 10000"/>
                <a:gd name="connsiteY93" fmla="*/ 1217 h 10007"/>
                <a:gd name="connsiteX94" fmla="*/ 504 w 10000"/>
                <a:gd name="connsiteY94" fmla="*/ 1313 h 10007"/>
                <a:gd name="connsiteX95" fmla="*/ 452 w 10000"/>
                <a:gd name="connsiteY95" fmla="*/ 1419 h 10007"/>
                <a:gd name="connsiteX96" fmla="*/ 408 w 10000"/>
                <a:gd name="connsiteY96" fmla="*/ 1519 h 10007"/>
                <a:gd name="connsiteX97" fmla="*/ 363 w 10000"/>
                <a:gd name="connsiteY97" fmla="*/ 1625 h 10007"/>
                <a:gd name="connsiteX98" fmla="*/ 319 w 10000"/>
                <a:gd name="connsiteY98" fmla="*/ 1730 h 10007"/>
                <a:gd name="connsiteX99" fmla="*/ 282 w 10000"/>
                <a:gd name="connsiteY99" fmla="*/ 1836 h 10007"/>
                <a:gd name="connsiteX100" fmla="*/ 237 w 10000"/>
                <a:gd name="connsiteY100" fmla="*/ 1946 h 10007"/>
                <a:gd name="connsiteX101" fmla="*/ 208 w 10000"/>
                <a:gd name="connsiteY101" fmla="*/ 2051 h 10007"/>
                <a:gd name="connsiteX102" fmla="*/ 170 w 10000"/>
                <a:gd name="connsiteY102" fmla="*/ 2161 h 10007"/>
                <a:gd name="connsiteX103" fmla="*/ 148 w 10000"/>
                <a:gd name="connsiteY103" fmla="*/ 2271 h 10007"/>
                <a:gd name="connsiteX104" fmla="*/ 119 w 10000"/>
                <a:gd name="connsiteY104" fmla="*/ 2376 h 10007"/>
                <a:gd name="connsiteX105" fmla="*/ 96 w 10000"/>
                <a:gd name="connsiteY105" fmla="*/ 2486 h 10007"/>
                <a:gd name="connsiteX106" fmla="*/ 74 w 10000"/>
                <a:gd name="connsiteY106" fmla="*/ 2596 h 10007"/>
                <a:gd name="connsiteX107" fmla="*/ 52 w 10000"/>
                <a:gd name="connsiteY107" fmla="*/ 2711 h 10007"/>
                <a:gd name="connsiteX108" fmla="*/ 37 w 10000"/>
                <a:gd name="connsiteY108" fmla="*/ 2821 h 10007"/>
                <a:gd name="connsiteX109" fmla="*/ 22 w 10000"/>
                <a:gd name="connsiteY109" fmla="*/ 2931 h 10007"/>
                <a:gd name="connsiteX110" fmla="*/ 15 w 10000"/>
                <a:gd name="connsiteY110" fmla="*/ 3041 h 10007"/>
                <a:gd name="connsiteX111" fmla="*/ 7 w 10000"/>
                <a:gd name="connsiteY111" fmla="*/ 3155 h 10007"/>
                <a:gd name="connsiteX112" fmla="*/ 0 w 10000"/>
                <a:gd name="connsiteY112" fmla="*/ 3265 h 10007"/>
                <a:gd name="connsiteX113" fmla="*/ 0 w 10000"/>
                <a:gd name="connsiteY113" fmla="*/ 3380 h 10007"/>
                <a:gd name="connsiteX114" fmla="*/ 7 w 10000"/>
                <a:gd name="connsiteY114" fmla="*/ 3527 h 10007"/>
                <a:gd name="connsiteX115" fmla="*/ 7 w 10000"/>
                <a:gd name="connsiteY115" fmla="*/ 3673 h 10007"/>
                <a:gd name="connsiteX116" fmla="*/ 22 w 10000"/>
                <a:gd name="connsiteY116" fmla="*/ 3811 h 10007"/>
                <a:gd name="connsiteX117" fmla="*/ 37 w 10000"/>
                <a:gd name="connsiteY117" fmla="*/ 3953 h 10007"/>
                <a:gd name="connsiteX118" fmla="*/ 59 w 10000"/>
                <a:gd name="connsiteY118" fmla="*/ 4095 h 10007"/>
                <a:gd name="connsiteX119" fmla="*/ 89 w 10000"/>
                <a:gd name="connsiteY119" fmla="*/ 4237 h 10007"/>
                <a:gd name="connsiteX120" fmla="*/ 119 w 10000"/>
                <a:gd name="connsiteY120" fmla="*/ 4379 h 10007"/>
                <a:gd name="connsiteX121" fmla="*/ 148 w 10000"/>
                <a:gd name="connsiteY121" fmla="*/ 4521 h 10007"/>
                <a:gd name="connsiteX122" fmla="*/ 193 w 10000"/>
                <a:gd name="connsiteY122" fmla="*/ 4659 h 10007"/>
                <a:gd name="connsiteX123" fmla="*/ 237 w 10000"/>
                <a:gd name="connsiteY123" fmla="*/ 4796 h 10007"/>
                <a:gd name="connsiteX124" fmla="*/ 282 w 10000"/>
                <a:gd name="connsiteY124" fmla="*/ 4934 h 10007"/>
                <a:gd name="connsiteX125" fmla="*/ 334 w 10000"/>
                <a:gd name="connsiteY125" fmla="*/ 5071 h 10007"/>
                <a:gd name="connsiteX126" fmla="*/ 393 w 10000"/>
                <a:gd name="connsiteY126" fmla="*/ 5204 h 10007"/>
                <a:gd name="connsiteX127" fmla="*/ 452 w 10000"/>
                <a:gd name="connsiteY127" fmla="*/ 5337 h 10007"/>
                <a:gd name="connsiteX128" fmla="*/ 519 w 10000"/>
                <a:gd name="connsiteY128" fmla="*/ 5470 h 10007"/>
                <a:gd name="connsiteX129" fmla="*/ 586 w 10000"/>
                <a:gd name="connsiteY129" fmla="*/ 5603 h 10007"/>
                <a:gd name="connsiteX130" fmla="*/ 660 w 10000"/>
                <a:gd name="connsiteY130" fmla="*/ 5731 h 10007"/>
                <a:gd name="connsiteX131" fmla="*/ 741 w 10000"/>
                <a:gd name="connsiteY131" fmla="*/ 5859 h 10007"/>
                <a:gd name="connsiteX132" fmla="*/ 823 w 10000"/>
                <a:gd name="connsiteY132" fmla="*/ 5992 h 10007"/>
                <a:gd name="connsiteX133" fmla="*/ 904 w 10000"/>
                <a:gd name="connsiteY133" fmla="*/ 6116 h 10007"/>
                <a:gd name="connsiteX134" fmla="*/ 993 w 10000"/>
                <a:gd name="connsiteY134" fmla="*/ 6240 h 10007"/>
                <a:gd name="connsiteX135" fmla="*/ 1090 w 10000"/>
                <a:gd name="connsiteY135" fmla="*/ 6359 h 10007"/>
                <a:gd name="connsiteX136" fmla="*/ 1186 w 10000"/>
                <a:gd name="connsiteY136" fmla="*/ 6483 h 10007"/>
                <a:gd name="connsiteX137" fmla="*/ 1290 w 10000"/>
                <a:gd name="connsiteY137" fmla="*/ 6606 h 10007"/>
                <a:gd name="connsiteX138" fmla="*/ 1386 w 10000"/>
                <a:gd name="connsiteY138" fmla="*/ 6726 h 10007"/>
                <a:gd name="connsiteX139" fmla="*/ 1497 w 10000"/>
                <a:gd name="connsiteY139" fmla="*/ 6845 h 10007"/>
                <a:gd name="connsiteX140" fmla="*/ 1609 w 10000"/>
                <a:gd name="connsiteY140" fmla="*/ 6959 h 10007"/>
                <a:gd name="connsiteX141" fmla="*/ 1727 w 10000"/>
                <a:gd name="connsiteY141" fmla="*/ 7078 h 10007"/>
                <a:gd name="connsiteX142" fmla="*/ 1846 w 10000"/>
                <a:gd name="connsiteY142" fmla="*/ 7193 h 10007"/>
                <a:gd name="connsiteX143" fmla="*/ 1964 w 10000"/>
                <a:gd name="connsiteY143" fmla="*/ 7303 h 10007"/>
                <a:gd name="connsiteX144" fmla="*/ 2090 w 10000"/>
                <a:gd name="connsiteY144" fmla="*/ 7413 h 10007"/>
                <a:gd name="connsiteX145" fmla="*/ 2224 w 10000"/>
                <a:gd name="connsiteY145" fmla="*/ 7523 h 10007"/>
                <a:gd name="connsiteX146" fmla="*/ 2350 w 10000"/>
                <a:gd name="connsiteY146" fmla="*/ 7633 h 10007"/>
                <a:gd name="connsiteX147" fmla="*/ 2491 w 10000"/>
                <a:gd name="connsiteY147" fmla="*/ 7738 h 10007"/>
                <a:gd name="connsiteX148" fmla="*/ 2617 w 10000"/>
                <a:gd name="connsiteY148" fmla="*/ 7844 h 10007"/>
                <a:gd name="connsiteX149" fmla="*/ 2765 w 10000"/>
                <a:gd name="connsiteY149" fmla="*/ 7945 h 10007"/>
                <a:gd name="connsiteX150" fmla="*/ 2906 w 10000"/>
                <a:gd name="connsiteY150" fmla="*/ 8045 h 10007"/>
                <a:gd name="connsiteX151" fmla="*/ 3054 w 10000"/>
                <a:gd name="connsiteY151" fmla="*/ 8146 h 10007"/>
                <a:gd name="connsiteX152" fmla="*/ 3210 w 10000"/>
                <a:gd name="connsiteY152" fmla="*/ 8243 h 10007"/>
                <a:gd name="connsiteX153" fmla="*/ 3358 w 10000"/>
                <a:gd name="connsiteY153" fmla="*/ 8339 h 10007"/>
                <a:gd name="connsiteX154" fmla="*/ 3514 w 10000"/>
                <a:gd name="connsiteY154" fmla="*/ 8435 h 10007"/>
                <a:gd name="connsiteX155" fmla="*/ 3677 w 10000"/>
                <a:gd name="connsiteY155" fmla="*/ 8527 h 10007"/>
                <a:gd name="connsiteX156" fmla="*/ 3840 w 10000"/>
                <a:gd name="connsiteY156" fmla="*/ 8614 h 10007"/>
                <a:gd name="connsiteX157" fmla="*/ 4010 w 10000"/>
                <a:gd name="connsiteY157" fmla="*/ 8705 h 10007"/>
                <a:gd name="connsiteX158" fmla="*/ 4181 w 10000"/>
                <a:gd name="connsiteY158" fmla="*/ 8783 h 10007"/>
                <a:gd name="connsiteX159" fmla="*/ 4351 w 10000"/>
                <a:gd name="connsiteY159" fmla="*/ 8870 h 10007"/>
                <a:gd name="connsiteX160" fmla="*/ 4522 w 10000"/>
                <a:gd name="connsiteY160" fmla="*/ 8948 h 10007"/>
                <a:gd name="connsiteX161" fmla="*/ 4700 w 10000"/>
                <a:gd name="connsiteY161" fmla="*/ 9031 h 10007"/>
                <a:gd name="connsiteX162" fmla="*/ 4878 w 10000"/>
                <a:gd name="connsiteY162" fmla="*/ 9109 h 10007"/>
                <a:gd name="connsiteX163" fmla="*/ 5063 w 10000"/>
                <a:gd name="connsiteY163" fmla="*/ 9182 h 10007"/>
                <a:gd name="connsiteX164" fmla="*/ 5248 w 10000"/>
                <a:gd name="connsiteY164" fmla="*/ 9260 h 10007"/>
                <a:gd name="connsiteX165" fmla="*/ 5426 w 10000"/>
                <a:gd name="connsiteY165" fmla="*/ 9329 h 10007"/>
                <a:gd name="connsiteX166" fmla="*/ 5619 w 10000"/>
                <a:gd name="connsiteY166" fmla="*/ 9397 h 10007"/>
                <a:gd name="connsiteX167" fmla="*/ 5812 w 10000"/>
                <a:gd name="connsiteY167" fmla="*/ 9466 h 10007"/>
                <a:gd name="connsiteX168" fmla="*/ 6004 w 10000"/>
                <a:gd name="connsiteY168" fmla="*/ 9530 h 10007"/>
                <a:gd name="connsiteX169" fmla="*/ 6205 w 10000"/>
                <a:gd name="connsiteY169" fmla="*/ 9595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61 h 10007"/>
                <a:gd name="connsiteX179" fmla="*/ 10000 w 10000"/>
                <a:gd name="connsiteY179" fmla="*/ 6148 h 10007"/>
                <a:gd name="connsiteX0" fmla="*/ 10000 w 10000"/>
                <a:gd name="connsiteY0" fmla="*/ 6148 h 10007"/>
                <a:gd name="connsiteX1" fmla="*/ 10000 w 10000"/>
                <a:gd name="connsiteY1" fmla="*/ 6148 h 10007"/>
                <a:gd name="connsiteX2" fmla="*/ 9911 w 10000"/>
                <a:gd name="connsiteY2" fmla="*/ 6134 h 10007"/>
                <a:gd name="connsiteX3" fmla="*/ 9815 w 10000"/>
                <a:gd name="connsiteY3" fmla="*/ 6116 h 10007"/>
                <a:gd name="connsiteX4" fmla="*/ 9726 w 10000"/>
                <a:gd name="connsiteY4" fmla="*/ 6098 h 10007"/>
                <a:gd name="connsiteX5" fmla="*/ 9637 w 10000"/>
                <a:gd name="connsiteY5" fmla="*/ 6075 h 10007"/>
                <a:gd name="connsiteX6" fmla="*/ 9548 w 10000"/>
                <a:gd name="connsiteY6" fmla="*/ 6056 h 10007"/>
                <a:gd name="connsiteX7" fmla="*/ 9466 w 10000"/>
                <a:gd name="connsiteY7" fmla="*/ 6034 h 10007"/>
                <a:gd name="connsiteX8" fmla="*/ 9377 w 10000"/>
                <a:gd name="connsiteY8" fmla="*/ 6011 h 10007"/>
                <a:gd name="connsiteX9" fmla="*/ 9288 w 10000"/>
                <a:gd name="connsiteY9" fmla="*/ 5988 h 10007"/>
                <a:gd name="connsiteX10" fmla="*/ 9118 w 10000"/>
                <a:gd name="connsiteY10" fmla="*/ 5937 h 10007"/>
                <a:gd name="connsiteX11" fmla="*/ 8955 w 10000"/>
                <a:gd name="connsiteY11" fmla="*/ 5882 h 10007"/>
                <a:gd name="connsiteX12" fmla="*/ 8792 w 10000"/>
                <a:gd name="connsiteY12" fmla="*/ 5823 h 10007"/>
                <a:gd name="connsiteX13" fmla="*/ 8636 w 10000"/>
                <a:gd name="connsiteY13" fmla="*/ 5759 h 10007"/>
                <a:gd name="connsiteX14" fmla="*/ 8480 w 10000"/>
                <a:gd name="connsiteY14" fmla="*/ 5694 h 10007"/>
                <a:gd name="connsiteX15" fmla="*/ 8340 w 10000"/>
                <a:gd name="connsiteY15" fmla="*/ 5626 h 10007"/>
                <a:gd name="connsiteX16" fmla="*/ 8199 w 10000"/>
                <a:gd name="connsiteY16" fmla="*/ 5552 h 10007"/>
                <a:gd name="connsiteX17" fmla="*/ 8058 w 10000"/>
                <a:gd name="connsiteY17" fmla="*/ 5474 h 10007"/>
                <a:gd name="connsiteX18" fmla="*/ 7924 w 10000"/>
                <a:gd name="connsiteY18" fmla="*/ 5392 h 10007"/>
                <a:gd name="connsiteX19" fmla="*/ 7798 w 10000"/>
                <a:gd name="connsiteY19" fmla="*/ 5309 h 10007"/>
                <a:gd name="connsiteX20" fmla="*/ 7672 w 10000"/>
                <a:gd name="connsiteY20" fmla="*/ 5222 h 10007"/>
                <a:gd name="connsiteX21" fmla="*/ 7554 w 10000"/>
                <a:gd name="connsiteY21" fmla="*/ 5135 h 10007"/>
                <a:gd name="connsiteX22" fmla="*/ 7450 w 10000"/>
                <a:gd name="connsiteY22" fmla="*/ 5039 h 10007"/>
                <a:gd name="connsiteX23" fmla="*/ 7346 w 10000"/>
                <a:gd name="connsiteY23" fmla="*/ 4943 h 10007"/>
                <a:gd name="connsiteX24" fmla="*/ 7250 w 10000"/>
                <a:gd name="connsiteY24" fmla="*/ 4847 h 10007"/>
                <a:gd name="connsiteX25" fmla="*/ 7161 w 10000"/>
                <a:gd name="connsiteY25" fmla="*/ 4746 h 10007"/>
                <a:gd name="connsiteX26" fmla="*/ 7072 w 10000"/>
                <a:gd name="connsiteY26" fmla="*/ 4645 h 10007"/>
                <a:gd name="connsiteX27" fmla="*/ 6990 w 10000"/>
                <a:gd name="connsiteY27" fmla="*/ 4535 h 10007"/>
                <a:gd name="connsiteX28" fmla="*/ 6953 w 10000"/>
                <a:gd name="connsiteY28" fmla="*/ 4485 h 10007"/>
                <a:gd name="connsiteX29" fmla="*/ 6916 w 10000"/>
                <a:gd name="connsiteY29" fmla="*/ 4430 h 10007"/>
                <a:gd name="connsiteX30" fmla="*/ 6887 w 10000"/>
                <a:gd name="connsiteY30" fmla="*/ 4375 h 10007"/>
                <a:gd name="connsiteX31" fmla="*/ 6850 w 10000"/>
                <a:gd name="connsiteY31" fmla="*/ 4320 h 10007"/>
                <a:gd name="connsiteX32" fmla="*/ 6820 w 10000"/>
                <a:gd name="connsiteY32" fmla="*/ 4265 h 10007"/>
                <a:gd name="connsiteX33" fmla="*/ 6790 w 10000"/>
                <a:gd name="connsiteY33" fmla="*/ 4210 h 10007"/>
                <a:gd name="connsiteX34" fmla="*/ 6768 w 10000"/>
                <a:gd name="connsiteY34" fmla="*/ 4150 h 10007"/>
                <a:gd name="connsiteX35" fmla="*/ 6738 w 10000"/>
                <a:gd name="connsiteY35" fmla="*/ 4095 h 10007"/>
                <a:gd name="connsiteX36" fmla="*/ 6723 w 10000"/>
                <a:gd name="connsiteY36" fmla="*/ 4035 h 10007"/>
                <a:gd name="connsiteX37" fmla="*/ 6694 w 10000"/>
                <a:gd name="connsiteY37" fmla="*/ 3980 h 10007"/>
                <a:gd name="connsiteX38" fmla="*/ 6679 w 10000"/>
                <a:gd name="connsiteY38" fmla="*/ 3921 h 10007"/>
                <a:gd name="connsiteX39" fmla="*/ 6664 w 10000"/>
                <a:gd name="connsiteY39" fmla="*/ 3861 h 10007"/>
                <a:gd name="connsiteX40" fmla="*/ 6649 w 10000"/>
                <a:gd name="connsiteY40" fmla="*/ 3802 h 10007"/>
                <a:gd name="connsiteX41" fmla="*/ 6635 w 10000"/>
                <a:gd name="connsiteY41" fmla="*/ 3747 h 10007"/>
                <a:gd name="connsiteX42" fmla="*/ 6620 w 10000"/>
                <a:gd name="connsiteY42" fmla="*/ 3687 h 10007"/>
                <a:gd name="connsiteX43" fmla="*/ 6612 w 10000"/>
                <a:gd name="connsiteY43" fmla="*/ 3628 h 10007"/>
                <a:gd name="connsiteX44" fmla="*/ 6605 w 10000"/>
                <a:gd name="connsiteY44" fmla="*/ 3568 h 10007"/>
                <a:gd name="connsiteX45" fmla="*/ 6597 w 10000"/>
                <a:gd name="connsiteY45" fmla="*/ 3504 h 10007"/>
                <a:gd name="connsiteX46" fmla="*/ 6597 w 10000"/>
                <a:gd name="connsiteY46" fmla="*/ 3444 h 10007"/>
                <a:gd name="connsiteX47" fmla="*/ 6590 w 10000"/>
                <a:gd name="connsiteY47" fmla="*/ 3380 h 10007"/>
                <a:gd name="connsiteX48" fmla="*/ 6597 w 10000"/>
                <a:gd name="connsiteY48" fmla="*/ 3320 h 10007"/>
                <a:gd name="connsiteX49" fmla="*/ 6605 w 10000"/>
                <a:gd name="connsiteY49" fmla="*/ 3252 h 10007"/>
                <a:gd name="connsiteX50" fmla="*/ 6605 w 10000"/>
                <a:gd name="connsiteY50" fmla="*/ 3188 h 10007"/>
                <a:gd name="connsiteX51" fmla="*/ 6612 w 10000"/>
                <a:gd name="connsiteY51" fmla="*/ 3123 h 10007"/>
                <a:gd name="connsiteX52" fmla="*/ 6620 w 10000"/>
                <a:gd name="connsiteY52" fmla="*/ 3059 h 10007"/>
                <a:gd name="connsiteX53" fmla="*/ 6635 w 10000"/>
                <a:gd name="connsiteY53" fmla="*/ 3000 h 10007"/>
                <a:gd name="connsiteX54" fmla="*/ 6649 w 10000"/>
                <a:gd name="connsiteY54" fmla="*/ 2936 h 10007"/>
                <a:gd name="connsiteX55" fmla="*/ 6664 w 10000"/>
                <a:gd name="connsiteY55" fmla="*/ 2876 h 10007"/>
                <a:gd name="connsiteX56" fmla="*/ 6686 w 10000"/>
                <a:gd name="connsiteY56" fmla="*/ 2812 h 10007"/>
                <a:gd name="connsiteX57" fmla="*/ 6709 w 10000"/>
                <a:gd name="connsiteY57" fmla="*/ 2752 h 10007"/>
                <a:gd name="connsiteX58" fmla="*/ 6731 w 10000"/>
                <a:gd name="connsiteY58" fmla="*/ 2693 h 10007"/>
                <a:gd name="connsiteX59" fmla="*/ 6753 w 10000"/>
                <a:gd name="connsiteY59" fmla="*/ 2628 h 10007"/>
                <a:gd name="connsiteX60" fmla="*/ 6783 w 10000"/>
                <a:gd name="connsiteY60" fmla="*/ 2573 h 10007"/>
                <a:gd name="connsiteX61" fmla="*/ 6812 w 10000"/>
                <a:gd name="connsiteY61" fmla="*/ 2514 h 10007"/>
                <a:gd name="connsiteX62" fmla="*/ 6842 w 10000"/>
                <a:gd name="connsiteY62" fmla="*/ 2454 h 10007"/>
                <a:gd name="connsiteX63" fmla="*/ 6879 w 10000"/>
                <a:gd name="connsiteY63" fmla="*/ 2395 h 10007"/>
                <a:gd name="connsiteX64" fmla="*/ 6909 w 10000"/>
                <a:gd name="connsiteY64" fmla="*/ 2340 h 10007"/>
                <a:gd name="connsiteX65" fmla="*/ 6946 w 10000"/>
                <a:gd name="connsiteY65" fmla="*/ 2280 h 10007"/>
                <a:gd name="connsiteX66" fmla="*/ 6990 w 10000"/>
                <a:gd name="connsiteY66" fmla="*/ 2225 h 10007"/>
                <a:gd name="connsiteX67" fmla="*/ 7027 w 10000"/>
                <a:gd name="connsiteY67" fmla="*/ 2170 h 10007"/>
                <a:gd name="connsiteX68" fmla="*/ 7072 w 10000"/>
                <a:gd name="connsiteY68" fmla="*/ 2115 h 10007"/>
                <a:gd name="connsiteX69" fmla="*/ 7109 w 10000"/>
                <a:gd name="connsiteY69" fmla="*/ 2060 h 10007"/>
                <a:gd name="connsiteX70" fmla="*/ 7161 w 10000"/>
                <a:gd name="connsiteY70" fmla="*/ 2010 h 10007"/>
                <a:gd name="connsiteX71" fmla="*/ 7213 w 10000"/>
                <a:gd name="connsiteY71" fmla="*/ 1955 h 10007"/>
                <a:gd name="connsiteX72" fmla="*/ 7257 w 10000"/>
                <a:gd name="connsiteY72" fmla="*/ 1900 h 10007"/>
                <a:gd name="connsiteX73" fmla="*/ 7309 w 10000"/>
                <a:gd name="connsiteY73" fmla="*/ 1849 h 10007"/>
                <a:gd name="connsiteX74" fmla="*/ 7361 w 10000"/>
                <a:gd name="connsiteY74" fmla="*/ 1799 h 10007"/>
                <a:gd name="connsiteX75" fmla="*/ 7413 w 10000"/>
                <a:gd name="connsiteY75" fmla="*/ 1749 h 10007"/>
                <a:gd name="connsiteX76" fmla="*/ 7472 w 10000"/>
                <a:gd name="connsiteY76" fmla="*/ 1698 h 10007"/>
                <a:gd name="connsiteX77" fmla="*/ 7524 w 10000"/>
                <a:gd name="connsiteY77" fmla="*/ 1652 h 10007"/>
                <a:gd name="connsiteX78" fmla="*/ 7583 w 10000"/>
                <a:gd name="connsiteY78" fmla="*/ 1606 h 10007"/>
                <a:gd name="connsiteX79" fmla="*/ 7643 w 10000"/>
                <a:gd name="connsiteY79" fmla="*/ 1556 h 10007"/>
                <a:gd name="connsiteX80" fmla="*/ 5390 w 10000"/>
                <a:gd name="connsiteY80" fmla="*/ 0 h 10007"/>
                <a:gd name="connsiteX81" fmla="*/ 1401 w 10000"/>
                <a:gd name="connsiteY81" fmla="*/ 21 h 10007"/>
                <a:gd name="connsiteX82" fmla="*/ 1305 w 10000"/>
                <a:gd name="connsiteY82" fmla="*/ 135 h 10007"/>
                <a:gd name="connsiteX83" fmla="*/ 1223 w 10000"/>
                <a:gd name="connsiteY83" fmla="*/ 227 h 10007"/>
                <a:gd name="connsiteX84" fmla="*/ 1149 w 10000"/>
                <a:gd name="connsiteY84" fmla="*/ 323 h 10007"/>
                <a:gd name="connsiteX85" fmla="*/ 1067 w 10000"/>
                <a:gd name="connsiteY85" fmla="*/ 419 h 10007"/>
                <a:gd name="connsiteX86" fmla="*/ 1001 w 10000"/>
                <a:gd name="connsiteY86" fmla="*/ 516 h 10007"/>
                <a:gd name="connsiteX87" fmla="*/ 927 w 10000"/>
                <a:gd name="connsiteY87" fmla="*/ 612 h 10007"/>
                <a:gd name="connsiteX88" fmla="*/ 860 w 10000"/>
                <a:gd name="connsiteY88" fmla="*/ 713 h 10007"/>
                <a:gd name="connsiteX89" fmla="*/ 793 w 10000"/>
                <a:gd name="connsiteY89" fmla="*/ 814 h 10007"/>
                <a:gd name="connsiteX90" fmla="*/ 734 w 10000"/>
                <a:gd name="connsiteY90" fmla="*/ 910 h 10007"/>
                <a:gd name="connsiteX91" fmla="*/ 675 w 10000"/>
                <a:gd name="connsiteY91" fmla="*/ 1011 h 10007"/>
                <a:gd name="connsiteX92" fmla="*/ 615 w 10000"/>
                <a:gd name="connsiteY92" fmla="*/ 1111 h 10007"/>
                <a:gd name="connsiteX93" fmla="*/ 556 w 10000"/>
                <a:gd name="connsiteY93" fmla="*/ 1217 h 10007"/>
                <a:gd name="connsiteX94" fmla="*/ 504 w 10000"/>
                <a:gd name="connsiteY94" fmla="*/ 1313 h 10007"/>
                <a:gd name="connsiteX95" fmla="*/ 452 w 10000"/>
                <a:gd name="connsiteY95" fmla="*/ 1419 h 10007"/>
                <a:gd name="connsiteX96" fmla="*/ 408 w 10000"/>
                <a:gd name="connsiteY96" fmla="*/ 1519 h 10007"/>
                <a:gd name="connsiteX97" fmla="*/ 363 w 10000"/>
                <a:gd name="connsiteY97" fmla="*/ 1625 h 10007"/>
                <a:gd name="connsiteX98" fmla="*/ 319 w 10000"/>
                <a:gd name="connsiteY98" fmla="*/ 1730 h 10007"/>
                <a:gd name="connsiteX99" fmla="*/ 282 w 10000"/>
                <a:gd name="connsiteY99" fmla="*/ 1836 h 10007"/>
                <a:gd name="connsiteX100" fmla="*/ 237 w 10000"/>
                <a:gd name="connsiteY100" fmla="*/ 1946 h 10007"/>
                <a:gd name="connsiteX101" fmla="*/ 208 w 10000"/>
                <a:gd name="connsiteY101" fmla="*/ 2051 h 10007"/>
                <a:gd name="connsiteX102" fmla="*/ 170 w 10000"/>
                <a:gd name="connsiteY102" fmla="*/ 2161 h 10007"/>
                <a:gd name="connsiteX103" fmla="*/ 148 w 10000"/>
                <a:gd name="connsiteY103" fmla="*/ 2271 h 10007"/>
                <a:gd name="connsiteX104" fmla="*/ 119 w 10000"/>
                <a:gd name="connsiteY104" fmla="*/ 2376 h 10007"/>
                <a:gd name="connsiteX105" fmla="*/ 96 w 10000"/>
                <a:gd name="connsiteY105" fmla="*/ 2486 h 10007"/>
                <a:gd name="connsiteX106" fmla="*/ 74 w 10000"/>
                <a:gd name="connsiteY106" fmla="*/ 2596 h 10007"/>
                <a:gd name="connsiteX107" fmla="*/ 52 w 10000"/>
                <a:gd name="connsiteY107" fmla="*/ 2711 h 10007"/>
                <a:gd name="connsiteX108" fmla="*/ 37 w 10000"/>
                <a:gd name="connsiteY108" fmla="*/ 2821 h 10007"/>
                <a:gd name="connsiteX109" fmla="*/ 22 w 10000"/>
                <a:gd name="connsiteY109" fmla="*/ 2931 h 10007"/>
                <a:gd name="connsiteX110" fmla="*/ 15 w 10000"/>
                <a:gd name="connsiteY110" fmla="*/ 3041 h 10007"/>
                <a:gd name="connsiteX111" fmla="*/ 7 w 10000"/>
                <a:gd name="connsiteY111" fmla="*/ 3155 h 10007"/>
                <a:gd name="connsiteX112" fmla="*/ 0 w 10000"/>
                <a:gd name="connsiteY112" fmla="*/ 3265 h 10007"/>
                <a:gd name="connsiteX113" fmla="*/ 0 w 10000"/>
                <a:gd name="connsiteY113" fmla="*/ 3380 h 10007"/>
                <a:gd name="connsiteX114" fmla="*/ 7 w 10000"/>
                <a:gd name="connsiteY114" fmla="*/ 3527 h 10007"/>
                <a:gd name="connsiteX115" fmla="*/ 7 w 10000"/>
                <a:gd name="connsiteY115" fmla="*/ 3673 h 10007"/>
                <a:gd name="connsiteX116" fmla="*/ 22 w 10000"/>
                <a:gd name="connsiteY116" fmla="*/ 3811 h 10007"/>
                <a:gd name="connsiteX117" fmla="*/ 37 w 10000"/>
                <a:gd name="connsiteY117" fmla="*/ 3953 h 10007"/>
                <a:gd name="connsiteX118" fmla="*/ 59 w 10000"/>
                <a:gd name="connsiteY118" fmla="*/ 4095 h 10007"/>
                <a:gd name="connsiteX119" fmla="*/ 89 w 10000"/>
                <a:gd name="connsiteY119" fmla="*/ 4237 h 10007"/>
                <a:gd name="connsiteX120" fmla="*/ 119 w 10000"/>
                <a:gd name="connsiteY120" fmla="*/ 4379 h 10007"/>
                <a:gd name="connsiteX121" fmla="*/ 148 w 10000"/>
                <a:gd name="connsiteY121" fmla="*/ 4521 h 10007"/>
                <a:gd name="connsiteX122" fmla="*/ 193 w 10000"/>
                <a:gd name="connsiteY122" fmla="*/ 4659 h 10007"/>
                <a:gd name="connsiteX123" fmla="*/ 237 w 10000"/>
                <a:gd name="connsiteY123" fmla="*/ 4796 h 10007"/>
                <a:gd name="connsiteX124" fmla="*/ 282 w 10000"/>
                <a:gd name="connsiteY124" fmla="*/ 4934 h 10007"/>
                <a:gd name="connsiteX125" fmla="*/ 334 w 10000"/>
                <a:gd name="connsiteY125" fmla="*/ 5071 h 10007"/>
                <a:gd name="connsiteX126" fmla="*/ 393 w 10000"/>
                <a:gd name="connsiteY126" fmla="*/ 5204 h 10007"/>
                <a:gd name="connsiteX127" fmla="*/ 452 w 10000"/>
                <a:gd name="connsiteY127" fmla="*/ 5337 h 10007"/>
                <a:gd name="connsiteX128" fmla="*/ 519 w 10000"/>
                <a:gd name="connsiteY128" fmla="*/ 5470 h 10007"/>
                <a:gd name="connsiteX129" fmla="*/ 586 w 10000"/>
                <a:gd name="connsiteY129" fmla="*/ 5603 h 10007"/>
                <a:gd name="connsiteX130" fmla="*/ 660 w 10000"/>
                <a:gd name="connsiteY130" fmla="*/ 5731 h 10007"/>
                <a:gd name="connsiteX131" fmla="*/ 741 w 10000"/>
                <a:gd name="connsiteY131" fmla="*/ 5859 h 10007"/>
                <a:gd name="connsiteX132" fmla="*/ 823 w 10000"/>
                <a:gd name="connsiteY132" fmla="*/ 5992 h 10007"/>
                <a:gd name="connsiteX133" fmla="*/ 904 w 10000"/>
                <a:gd name="connsiteY133" fmla="*/ 6116 h 10007"/>
                <a:gd name="connsiteX134" fmla="*/ 993 w 10000"/>
                <a:gd name="connsiteY134" fmla="*/ 6240 h 10007"/>
                <a:gd name="connsiteX135" fmla="*/ 1090 w 10000"/>
                <a:gd name="connsiteY135" fmla="*/ 6359 h 10007"/>
                <a:gd name="connsiteX136" fmla="*/ 1186 w 10000"/>
                <a:gd name="connsiteY136" fmla="*/ 6483 h 10007"/>
                <a:gd name="connsiteX137" fmla="*/ 1290 w 10000"/>
                <a:gd name="connsiteY137" fmla="*/ 6606 h 10007"/>
                <a:gd name="connsiteX138" fmla="*/ 1386 w 10000"/>
                <a:gd name="connsiteY138" fmla="*/ 6726 h 10007"/>
                <a:gd name="connsiteX139" fmla="*/ 1497 w 10000"/>
                <a:gd name="connsiteY139" fmla="*/ 6845 h 10007"/>
                <a:gd name="connsiteX140" fmla="*/ 1609 w 10000"/>
                <a:gd name="connsiteY140" fmla="*/ 6959 h 10007"/>
                <a:gd name="connsiteX141" fmla="*/ 1727 w 10000"/>
                <a:gd name="connsiteY141" fmla="*/ 7078 h 10007"/>
                <a:gd name="connsiteX142" fmla="*/ 1846 w 10000"/>
                <a:gd name="connsiteY142" fmla="*/ 7193 h 10007"/>
                <a:gd name="connsiteX143" fmla="*/ 1964 w 10000"/>
                <a:gd name="connsiteY143" fmla="*/ 7303 h 10007"/>
                <a:gd name="connsiteX144" fmla="*/ 2090 w 10000"/>
                <a:gd name="connsiteY144" fmla="*/ 7413 h 10007"/>
                <a:gd name="connsiteX145" fmla="*/ 2224 w 10000"/>
                <a:gd name="connsiteY145" fmla="*/ 7523 h 10007"/>
                <a:gd name="connsiteX146" fmla="*/ 2350 w 10000"/>
                <a:gd name="connsiteY146" fmla="*/ 7633 h 10007"/>
                <a:gd name="connsiteX147" fmla="*/ 2491 w 10000"/>
                <a:gd name="connsiteY147" fmla="*/ 7738 h 10007"/>
                <a:gd name="connsiteX148" fmla="*/ 2617 w 10000"/>
                <a:gd name="connsiteY148" fmla="*/ 7844 h 10007"/>
                <a:gd name="connsiteX149" fmla="*/ 2765 w 10000"/>
                <a:gd name="connsiteY149" fmla="*/ 7945 h 10007"/>
                <a:gd name="connsiteX150" fmla="*/ 2906 w 10000"/>
                <a:gd name="connsiteY150" fmla="*/ 8045 h 10007"/>
                <a:gd name="connsiteX151" fmla="*/ 3054 w 10000"/>
                <a:gd name="connsiteY151" fmla="*/ 8146 h 10007"/>
                <a:gd name="connsiteX152" fmla="*/ 3210 w 10000"/>
                <a:gd name="connsiteY152" fmla="*/ 8243 h 10007"/>
                <a:gd name="connsiteX153" fmla="*/ 3358 w 10000"/>
                <a:gd name="connsiteY153" fmla="*/ 8339 h 10007"/>
                <a:gd name="connsiteX154" fmla="*/ 3514 w 10000"/>
                <a:gd name="connsiteY154" fmla="*/ 8435 h 10007"/>
                <a:gd name="connsiteX155" fmla="*/ 3677 w 10000"/>
                <a:gd name="connsiteY155" fmla="*/ 8527 h 10007"/>
                <a:gd name="connsiteX156" fmla="*/ 3840 w 10000"/>
                <a:gd name="connsiteY156" fmla="*/ 8614 h 10007"/>
                <a:gd name="connsiteX157" fmla="*/ 4010 w 10000"/>
                <a:gd name="connsiteY157" fmla="*/ 8705 h 10007"/>
                <a:gd name="connsiteX158" fmla="*/ 4181 w 10000"/>
                <a:gd name="connsiteY158" fmla="*/ 8783 h 10007"/>
                <a:gd name="connsiteX159" fmla="*/ 4351 w 10000"/>
                <a:gd name="connsiteY159" fmla="*/ 8870 h 10007"/>
                <a:gd name="connsiteX160" fmla="*/ 4522 w 10000"/>
                <a:gd name="connsiteY160" fmla="*/ 8948 h 10007"/>
                <a:gd name="connsiteX161" fmla="*/ 4700 w 10000"/>
                <a:gd name="connsiteY161" fmla="*/ 9031 h 10007"/>
                <a:gd name="connsiteX162" fmla="*/ 4878 w 10000"/>
                <a:gd name="connsiteY162" fmla="*/ 9109 h 10007"/>
                <a:gd name="connsiteX163" fmla="*/ 5063 w 10000"/>
                <a:gd name="connsiteY163" fmla="*/ 9182 h 10007"/>
                <a:gd name="connsiteX164" fmla="*/ 5248 w 10000"/>
                <a:gd name="connsiteY164" fmla="*/ 9260 h 10007"/>
                <a:gd name="connsiteX165" fmla="*/ 5426 w 10000"/>
                <a:gd name="connsiteY165" fmla="*/ 9329 h 10007"/>
                <a:gd name="connsiteX166" fmla="*/ 5619 w 10000"/>
                <a:gd name="connsiteY166" fmla="*/ 9397 h 10007"/>
                <a:gd name="connsiteX167" fmla="*/ 5812 w 10000"/>
                <a:gd name="connsiteY167" fmla="*/ 9466 h 10007"/>
                <a:gd name="connsiteX168" fmla="*/ 6004 w 10000"/>
                <a:gd name="connsiteY168" fmla="*/ 9530 h 10007"/>
                <a:gd name="connsiteX169" fmla="*/ 6205 w 10000"/>
                <a:gd name="connsiteY169" fmla="*/ 9595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61 h 10007"/>
                <a:gd name="connsiteX179" fmla="*/ 10000 w 10000"/>
                <a:gd name="connsiteY179" fmla="*/ 6148 h 10007"/>
                <a:gd name="connsiteX0" fmla="*/ 10000 w 10000"/>
                <a:gd name="connsiteY0" fmla="*/ 6127 h 9986"/>
                <a:gd name="connsiteX1" fmla="*/ 10000 w 10000"/>
                <a:gd name="connsiteY1" fmla="*/ 6127 h 9986"/>
                <a:gd name="connsiteX2" fmla="*/ 9911 w 10000"/>
                <a:gd name="connsiteY2" fmla="*/ 6113 h 9986"/>
                <a:gd name="connsiteX3" fmla="*/ 9815 w 10000"/>
                <a:gd name="connsiteY3" fmla="*/ 6095 h 9986"/>
                <a:gd name="connsiteX4" fmla="*/ 9726 w 10000"/>
                <a:gd name="connsiteY4" fmla="*/ 6077 h 9986"/>
                <a:gd name="connsiteX5" fmla="*/ 9637 w 10000"/>
                <a:gd name="connsiteY5" fmla="*/ 6054 h 9986"/>
                <a:gd name="connsiteX6" fmla="*/ 9548 w 10000"/>
                <a:gd name="connsiteY6" fmla="*/ 6035 h 9986"/>
                <a:gd name="connsiteX7" fmla="*/ 9466 w 10000"/>
                <a:gd name="connsiteY7" fmla="*/ 6013 h 9986"/>
                <a:gd name="connsiteX8" fmla="*/ 9377 w 10000"/>
                <a:gd name="connsiteY8" fmla="*/ 5990 h 9986"/>
                <a:gd name="connsiteX9" fmla="*/ 9288 w 10000"/>
                <a:gd name="connsiteY9" fmla="*/ 5967 h 9986"/>
                <a:gd name="connsiteX10" fmla="*/ 9118 w 10000"/>
                <a:gd name="connsiteY10" fmla="*/ 5916 h 9986"/>
                <a:gd name="connsiteX11" fmla="*/ 8955 w 10000"/>
                <a:gd name="connsiteY11" fmla="*/ 5861 h 9986"/>
                <a:gd name="connsiteX12" fmla="*/ 8792 w 10000"/>
                <a:gd name="connsiteY12" fmla="*/ 5802 h 9986"/>
                <a:gd name="connsiteX13" fmla="*/ 8636 w 10000"/>
                <a:gd name="connsiteY13" fmla="*/ 5738 h 9986"/>
                <a:gd name="connsiteX14" fmla="*/ 8480 w 10000"/>
                <a:gd name="connsiteY14" fmla="*/ 5673 h 9986"/>
                <a:gd name="connsiteX15" fmla="*/ 8340 w 10000"/>
                <a:gd name="connsiteY15" fmla="*/ 5605 h 9986"/>
                <a:gd name="connsiteX16" fmla="*/ 8199 w 10000"/>
                <a:gd name="connsiteY16" fmla="*/ 5531 h 9986"/>
                <a:gd name="connsiteX17" fmla="*/ 8058 w 10000"/>
                <a:gd name="connsiteY17" fmla="*/ 5453 h 9986"/>
                <a:gd name="connsiteX18" fmla="*/ 7924 w 10000"/>
                <a:gd name="connsiteY18" fmla="*/ 5371 h 9986"/>
                <a:gd name="connsiteX19" fmla="*/ 7798 w 10000"/>
                <a:gd name="connsiteY19" fmla="*/ 5288 h 9986"/>
                <a:gd name="connsiteX20" fmla="*/ 7672 w 10000"/>
                <a:gd name="connsiteY20" fmla="*/ 5201 h 9986"/>
                <a:gd name="connsiteX21" fmla="*/ 7554 w 10000"/>
                <a:gd name="connsiteY21" fmla="*/ 5114 h 9986"/>
                <a:gd name="connsiteX22" fmla="*/ 7450 w 10000"/>
                <a:gd name="connsiteY22" fmla="*/ 5018 h 9986"/>
                <a:gd name="connsiteX23" fmla="*/ 7346 w 10000"/>
                <a:gd name="connsiteY23" fmla="*/ 4922 h 9986"/>
                <a:gd name="connsiteX24" fmla="*/ 7250 w 10000"/>
                <a:gd name="connsiteY24" fmla="*/ 4826 h 9986"/>
                <a:gd name="connsiteX25" fmla="*/ 7161 w 10000"/>
                <a:gd name="connsiteY25" fmla="*/ 4725 h 9986"/>
                <a:gd name="connsiteX26" fmla="*/ 7072 w 10000"/>
                <a:gd name="connsiteY26" fmla="*/ 4624 h 9986"/>
                <a:gd name="connsiteX27" fmla="*/ 6990 w 10000"/>
                <a:gd name="connsiteY27" fmla="*/ 4514 h 9986"/>
                <a:gd name="connsiteX28" fmla="*/ 6953 w 10000"/>
                <a:gd name="connsiteY28" fmla="*/ 4464 h 9986"/>
                <a:gd name="connsiteX29" fmla="*/ 6916 w 10000"/>
                <a:gd name="connsiteY29" fmla="*/ 4409 h 9986"/>
                <a:gd name="connsiteX30" fmla="*/ 6887 w 10000"/>
                <a:gd name="connsiteY30" fmla="*/ 4354 h 9986"/>
                <a:gd name="connsiteX31" fmla="*/ 6850 w 10000"/>
                <a:gd name="connsiteY31" fmla="*/ 4299 h 9986"/>
                <a:gd name="connsiteX32" fmla="*/ 6820 w 10000"/>
                <a:gd name="connsiteY32" fmla="*/ 4244 h 9986"/>
                <a:gd name="connsiteX33" fmla="*/ 6790 w 10000"/>
                <a:gd name="connsiteY33" fmla="*/ 4189 h 9986"/>
                <a:gd name="connsiteX34" fmla="*/ 6768 w 10000"/>
                <a:gd name="connsiteY34" fmla="*/ 4129 h 9986"/>
                <a:gd name="connsiteX35" fmla="*/ 6738 w 10000"/>
                <a:gd name="connsiteY35" fmla="*/ 4074 h 9986"/>
                <a:gd name="connsiteX36" fmla="*/ 6723 w 10000"/>
                <a:gd name="connsiteY36" fmla="*/ 4014 h 9986"/>
                <a:gd name="connsiteX37" fmla="*/ 6694 w 10000"/>
                <a:gd name="connsiteY37" fmla="*/ 3959 h 9986"/>
                <a:gd name="connsiteX38" fmla="*/ 6679 w 10000"/>
                <a:gd name="connsiteY38" fmla="*/ 3900 h 9986"/>
                <a:gd name="connsiteX39" fmla="*/ 6664 w 10000"/>
                <a:gd name="connsiteY39" fmla="*/ 3840 h 9986"/>
                <a:gd name="connsiteX40" fmla="*/ 6649 w 10000"/>
                <a:gd name="connsiteY40" fmla="*/ 3781 h 9986"/>
                <a:gd name="connsiteX41" fmla="*/ 6635 w 10000"/>
                <a:gd name="connsiteY41" fmla="*/ 3726 h 9986"/>
                <a:gd name="connsiteX42" fmla="*/ 6620 w 10000"/>
                <a:gd name="connsiteY42" fmla="*/ 3666 h 9986"/>
                <a:gd name="connsiteX43" fmla="*/ 6612 w 10000"/>
                <a:gd name="connsiteY43" fmla="*/ 3607 h 9986"/>
                <a:gd name="connsiteX44" fmla="*/ 6605 w 10000"/>
                <a:gd name="connsiteY44" fmla="*/ 3547 h 9986"/>
                <a:gd name="connsiteX45" fmla="*/ 6597 w 10000"/>
                <a:gd name="connsiteY45" fmla="*/ 3483 h 9986"/>
                <a:gd name="connsiteX46" fmla="*/ 6597 w 10000"/>
                <a:gd name="connsiteY46" fmla="*/ 3423 h 9986"/>
                <a:gd name="connsiteX47" fmla="*/ 6590 w 10000"/>
                <a:gd name="connsiteY47" fmla="*/ 3359 h 9986"/>
                <a:gd name="connsiteX48" fmla="*/ 6597 w 10000"/>
                <a:gd name="connsiteY48" fmla="*/ 3299 h 9986"/>
                <a:gd name="connsiteX49" fmla="*/ 6605 w 10000"/>
                <a:gd name="connsiteY49" fmla="*/ 3231 h 9986"/>
                <a:gd name="connsiteX50" fmla="*/ 6605 w 10000"/>
                <a:gd name="connsiteY50" fmla="*/ 3167 h 9986"/>
                <a:gd name="connsiteX51" fmla="*/ 6612 w 10000"/>
                <a:gd name="connsiteY51" fmla="*/ 3102 h 9986"/>
                <a:gd name="connsiteX52" fmla="*/ 6620 w 10000"/>
                <a:gd name="connsiteY52" fmla="*/ 3038 h 9986"/>
                <a:gd name="connsiteX53" fmla="*/ 6635 w 10000"/>
                <a:gd name="connsiteY53" fmla="*/ 2979 h 9986"/>
                <a:gd name="connsiteX54" fmla="*/ 6649 w 10000"/>
                <a:gd name="connsiteY54" fmla="*/ 2915 h 9986"/>
                <a:gd name="connsiteX55" fmla="*/ 6664 w 10000"/>
                <a:gd name="connsiteY55" fmla="*/ 2855 h 9986"/>
                <a:gd name="connsiteX56" fmla="*/ 6686 w 10000"/>
                <a:gd name="connsiteY56" fmla="*/ 2791 h 9986"/>
                <a:gd name="connsiteX57" fmla="*/ 6709 w 10000"/>
                <a:gd name="connsiteY57" fmla="*/ 2731 h 9986"/>
                <a:gd name="connsiteX58" fmla="*/ 6731 w 10000"/>
                <a:gd name="connsiteY58" fmla="*/ 2672 h 9986"/>
                <a:gd name="connsiteX59" fmla="*/ 6753 w 10000"/>
                <a:gd name="connsiteY59" fmla="*/ 2607 h 9986"/>
                <a:gd name="connsiteX60" fmla="*/ 6783 w 10000"/>
                <a:gd name="connsiteY60" fmla="*/ 2552 h 9986"/>
                <a:gd name="connsiteX61" fmla="*/ 6812 w 10000"/>
                <a:gd name="connsiteY61" fmla="*/ 2493 h 9986"/>
                <a:gd name="connsiteX62" fmla="*/ 6842 w 10000"/>
                <a:gd name="connsiteY62" fmla="*/ 2433 h 9986"/>
                <a:gd name="connsiteX63" fmla="*/ 6879 w 10000"/>
                <a:gd name="connsiteY63" fmla="*/ 2374 h 9986"/>
                <a:gd name="connsiteX64" fmla="*/ 6909 w 10000"/>
                <a:gd name="connsiteY64" fmla="*/ 2319 h 9986"/>
                <a:gd name="connsiteX65" fmla="*/ 6946 w 10000"/>
                <a:gd name="connsiteY65" fmla="*/ 2259 h 9986"/>
                <a:gd name="connsiteX66" fmla="*/ 6990 w 10000"/>
                <a:gd name="connsiteY66" fmla="*/ 2204 h 9986"/>
                <a:gd name="connsiteX67" fmla="*/ 7027 w 10000"/>
                <a:gd name="connsiteY67" fmla="*/ 2149 h 9986"/>
                <a:gd name="connsiteX68" fmla="*/ 7072 w 10000"/>
                <a:gd name="connsiteY68" fmla="*/ 2094 h 9986"/>
                <a:gd name="connsiteX69" fmla="*/ 7109 w 10000"/>
                <a:gd name="connsiteY69" fmla="*/ 2039 h 9986"/>
                <a:gd name="connsiteX70" fmla="*/ 7161 w 10000"/>
                <a:gd name="connsiteY70" fmla="*/ 1989 h 9986"/>
                <a:gd name="connsiteX71" fmla="*/ 7213 w 10000"/>
                <a:gd name="connsiteY71" fmla="*/ 1934 h 9986"/>
                <a:gd name="connsiteX72" fmla="*/ 7257 w 10000"/>
                <a:gd name="connsiteY72" fmla="*/ 1879 h 9986"/>
                <a:gd name="connsiteX73" fmla="*/ 7309 w 10000"/>
                <a:gd name="connsiteY73" fmla="*/ 1828 h 9986"/>
                <a:gd name="connsiteX74" fmla="*/ 7361 w 10000"/>
                <a:gd name="connsiteY74" fmla="*/ 1778 h 9986"/>
                <a:gd name="connsiteX75" fmla="*/ 7413 w 10000"/>
                <a:gd name="connsiteY75" fmla="*/ 1728 h 9986"/>
                <a:gd name="connsiteX76" fmla="*/ 7472 w 10000"/>
                <a:gd name="connsiteY76" fmla="*/ 1677 h 9986"/>
                <a:gd name="connsiteX77" fmla="*/ 7524 w 10000"/>
                <a:gd name="connsiteY77" fmla="*/ 1631 h 9986"/>
                <a:gd name="connsiteX78" fmla="*/ 7583 w 10000"/>
                <a:gd name="connsiteY78" fmla="*/ 1585 h 9986"/>
                <a:gd name="connsiteX79" fmla="*/ 7643 w 10000"/>
                <a:gd name="connsiteY79" fmla="*/ 1535 h 9986"/>
                <a:gd name="connsiteX80" fmla="*/ 5390 w 10000"/>
                <a:gd name="connsiteY80" fmla="*/ 6 h 9986"/>
                <a:gd name="connsiteX81" fmla="*/ 1401 w 10000"/>
                <a:gd name="connsiteY81" fmla="*/ 0 h 9986"/>
                <a:gd name="connsiteX82" fmla="*/ 1305 w 10000"/>
                <a:gd name="connsiteY82" fmla="*/ 114 h 9986"/>
                <a:gd name="connsiteX83" fmla="*/ 1223 w 10000"/>
                <a:gd name="connsiteY83" fmla="*/ 206 h 9986"/>
                <a:gd name="connsiteX84" fmla="*/ 1149 w 10000"/>
                <a:gd name="connsiteY84" fmla="*/ 302 h 9986"/>
                <a:gd name="connsiteX85" fmla="*/ 1067 w 10000"/>
                <a:gd name="connsiteY85" fmla="*/ 398 h 9986"/>
                <a:gd name="connsiteX86" fmla="*/ 1001 w 10000"/>
                <a:gd name="connsiteY86" fmla="*/ 495 h 9986"/>
                <a:gd name="connsiteX87" fmla="*/ 927 w 10000"/>
                <a:gd name="connsiteY87" fmla="*/ 591 h 9986"/>
                <a:gd name="connsiteX88" fmla="*/ 860 w 10000"/>
                <a:gd name="connsiteY88" fmla="*/ 692 h 9986"/>
                <a:gd name="connsiteX89" fmla="*/ 793 w 10000"/>
                <a:gd name="connsiteY89" fmla="*/ 793 h 9986"/>
                <a:gd name="connsiteX90" fmla="*/ 734 w 10000"/>
                <a:gd name="connsiteY90" fmla="*/ 889 h 9986"/>
                <a:gd name="connsiteX91" fmla="*/ 675 w 10000"/>
                <a:gd name="connsiteY91" fmla="*/ 990 h 9986"/>
                <a:gd name="connsiteX92" fmla="*/ 615 w 10000"/>
                <a:gd name="connsiteY92" fmla="*/ 1090 h 9986"/>
                <a:gd name="connsiteX93" fmla="*/ 556 w 10000"/>
                <a:gd name="connsiteY93" fmla="*/ 1196 h 9986"/>
                <a:gd name="connsiteX94" fmla="*/ 504 w 10000"/>
                <a:gd name="connsiteY94" fmla="*/ 1292 h 9986"/>
                <a:gd name="connsiteX95" fmla="*/ 452 w 10000"/>
                <a:gd name="connsiteY95" fmla="*/ 1398 h 9986"/>
                <a:gd name="connsiteX96" fmla="*/ 408 w 10000"/>
                <a:gd name="connsiteY96" fmla="*/ 1498 h 9986"/>
                <a:gd name="connsiteX97" fmla="*/ 363 w 10000"/>
                <a:gd name="connsiteY97" fmla="*/ 1604 h 9986"/>
                <a:gd name="connsiteX98" fmla="*/ 319 w 10000"/>
                <a:gd name="connsiteY98" fmla="*/ 1709 h 9986"/>
                <a:gd name="connsiteX99" fmla="*/ 282 w 10000"/>
                <a:gd name="connsiteY99" fmla="*/ 1815 h 9986"/>
                <a:gd name="connsiteX100" fmla="*/ 237 w 10000"/>
                <a:gd name="connsiteY100" fmla="*/ 1925 h 9986"/>
                <a:gd name="connsiteX101" fmla="*/ 208 w 10000"/>
                <a:gd name="connsiteY101" fmla="*/ 2030 h 9986"/>
                <a:gd name="connsiteX102" fmla="*/ 170 w 10000"/>
                <a:gd name="connsiteY102" fmla="*/ 2140 h 9986"/>
                <a:gd name="connsiteX103" fmla="*/ 148 w 10000"/>
                <a:gd name="connsiteY103" fmla="*/ 2250 h 9986"/>
                <a:gd name="connsiteX104" fmla="*/ 119 w 10000"/>
                <a:gd name="connsiteY104" fmla="*/ 2355 h 9986"/>
                <a:gd name="connsiteX105" fmla="*/ 96 w 10000"/>
                <a:gd name="connsiteY105" fmla="*/ 2465 h 9986"/>
                <a:gd name="connsiteX106" fmla="*/ 74 w 10000"/>
                <a:gd name="connsiteY106" fmla="*/ 2575 h 9986"/>
                <a:gd name="connsiteX107" fmla="*/ 52 w 10000"/>
                <a:gd name="connsiteY107" fmla="*/ 2690 h 9986"/>
                <a:gd name="connsiteX108" fmla="*/ 37 w 10000"/>
                <a:gd name="connsiteY108" fmla="*/ 2800 h 9986"/>
                <a:gd name="connsiteX109" fmla="*/ 22 w 10000"/>
                <a:gd name="connsiteY109" fmla="*/ 2910 h 9986"/>
                <a:gd name="connsiteX110" fmla="*/ 15 w 10000"/>
                <a:gd name="connsiteY110" fmla="*/ 3020 h 9986"/>
                <a:gd name="connsiteX111" fmla="*/ 7 w 10000"/>
                <a:gd name="connsiteY111" fmla="*/ 3134 h 9986"/>
                <a:gd name="connsiteX112" fmla="*/ 0 w 10000"/>
                <a:gd name="connsiteY112" fmla="*/ 3244 h 9986"/>
                <a:gd name="connsiteX113" fmla="*/ 0 w 10000"/>
                <a:gd name="connsiteY113" fmla="*/ 3359 h 9986"/>
                <a:gd name="connsiteX114" fmla="*/ 7 w 10000"/>
                <a:gd name="connsiteY114" fmla="*/ 3506 h 9986"/>
                <a:gd name="connsiteX115" fmla="*/ 7 w 10000"/>
                <a:gd name="connsiteY115" fmla="*/ 3652 h 9986"/>
                <a:gd name="connsiteX116" fmla="*/ 22 w 10000"/>
                <a:gd name="connsiteY116" fmla="*/ 3790 h 9986"/>
                <a:gd name="connsiteX117" fmla="*/ 37 w 10000"/>
                <a:gd name="connsiteY117" fmla="*/ 3932 h 9986"/>
                <a:gd name="connsiteX118" fmla="*/ 59 w 10000"/>
                <a:gd name="connsiteY118" fmla="*/ 4074 h 9986"/>
                <a:gd name="connsiteX119" fmla="*/ 89 w 10000"/>
                <a:gd name="connsiteY119" fmla="*/ 4216 h 9986"/>
                <a:gd name="connsiteX120" fmla="*/ 119 w 10000"/>
                <a:gd name="connsiteY120" fmla="*/ 4358 h 9986"/>
                <a:gd name="connsiteX121" fmla="*/ 148 w 10000"/>
                <a:gd name="connsiteY121" fmla="*/ 4500 h 9986"/>
                <a:gd name="connsiteX122" fmla="*/ 193 w 10000"/>
                <a:gd name="connsiteY122" fmla="*/ 4638 h 9986"/>
                <a:gd name="connsiteX123" fmla="*/ 237 w 10000"/>
                <a:gd name="connsiteY123" fmla="*/ 4775 h 9986"/>
                <a:gd name="connsiteX124" fmla="*/ 282 w 10000"/>
                <a:gd name="connsiteY124" fmla="*/ 4913 h 9986"/>
                <a:gd name="connsiteX125" fmla="*/ 334 w 10000"/>
                <a:gd name="connsiteY125" fmla="*/ 5050 h 9986"/>
                <a:gd name="connsiteX126" fmla="*/ 393 w 10000"/>
                <a:gd name="connsiteY126" fmla="*/ 5183 h 9986"/>
                <a:gd name="connsiteX127" fmla="*/ 452 w 10000"/>
                <a:gd name="connsiteY127" fmla="*/ 5316 h 9986"/>
                <a:gd name="connsiteX128" fmla="*/ 519 w 10000"/>
                <a:gd name="connsiteY128" fmla="*/ 5449 h 9986"/>
                <a:gd name="connsiteX129" fmla="*/ 586 w 10000"/>
                <a:gd name="connsiteY129" fmla="*/ 5582 h 9986"/>
                <a:gd name="connsiteX130" fmla="*/ 660 w 10000"/>
                <a:gd name="connsiteY130" fmla="*/ 5710 h 9986"/>
                <a:gd name="connsiteX131" fmla="*/ 741 w 10000"/>
                <a:gd name="connsiteY131" fmla="*/ 5838 h 9986"/>
                <a:gd name="connsiteX132" fmla="*/ 823 w 10000"/>
                <a:gd name="connsiteY132" fmla="*/ 5971 h 9986"/>
                <a:gd name="connsiteX133" fmla="*/ 904 w 10000"/>
                <a:gd name="connsiteY133" fmla="*/ 6095 h 9986"/>
                <a:gd name="connsiteX134" fmla="*/ 993 w 10000"/>
                <a:gd name="connsiteY134" fmla="*/ 6219 h 9986"/>
                <a:gd name="connsiteX135" fmla="*/ 1090 w 10000"/>
                <a:gd name="connsiteY135" fmla="*/ 6338 h 9986"/>
                <a:gd name="connsiteX136" fmla="*/ 1186 w 10000"/>
                <a:gd name="connsiteY136" fmla="*/ 6462 h 9986"/>
                <a:gd name="connsiteX137" fmla="*/ 1290 w 10000"/>
                <a:gd name="connsiteY137" fmla="*/ 6585 h 9986"/>
                <a:gd name="connsiteX138" fmla="*/ 1386 w 10000"/>
                <a:gd name="connsiteY138" fmla="*/ 6705 h 9986"/>
                <a:gd name="connsiteX139" fmla="*/ 1497 w 10000"/>
                <a:gd name="connsiteY139" fmla="*/ 6824 h 9986"/>
                <a:gd name="connsiteX140" fmla="*/ 1609 w 10000"/>
                <a:gd name="connsiteY140" fmla="*/ 6938 h 9986"/>
                <a:gd name="connsiteX141" fmla="*/ 1727 w 10000"/>
                <a:gd name="connsiteY141" fmla="*/ 7057 h 9986"/>
                <a:gd name="connsiteX142" fmla="*/ 1846 w 10000"/>
                <a:gd name="connsiteY142" fmla="*/ 7172 h 9986"/>
                <a:gd name="connsiteX143" fmla="*/ 1964 w 10000"/>
                <a:gd name="connsiteY143" fmla="*/ 7282 h 9986"/>
                <a:gd name="connsiteX144" fmla="*/ 2090 w 10000"/>
                <a:gd name="connsiteY144" fmla="*/ 7392 h 9986"/>
                <a:gd name="connsiteX145" fmla="*/ 2224 w 10000"/>
                <a:gd name="connsiteY145" fmla="*/ 7502 h 9986"/>
                <a:gd name="connsiteX146" fmla="*/ 2350 w 10000"/>
                <a:gd name="connsiteY146" fmla="*/ 7612 h 9986"/>
                <a:gd name="connsiteX147" fmla="*/ 2491 w 10000"/>
                <a:gd name="connsiteY147" fmla="*/ 7717 h 9986"/>
                <a:gd name="connsiteX148" fmla="*/ 2617 w 10000"/>
                <a:gd name="connsiteY148" fmla="*/ 7823 h 9986"/>
                <a:gd name="connsiteX149" fmla="*/ 2765 w 10000"/>
                <a:gd name="connsiteY149" fmla="*/ 7924 h 9986"/>
                <a:gd name="connsiteX150" fmla="*/ 2906 w 10000"/>
                <a:gd name="connsiteY150" fmla="*/ 8024 h 9986"/>
                <a:gd name="connsiteX151" fmla="*/ 3054 w 10000"/>
                <a:gd name="connsiteY151" fmla="*/ 8125 h 9986"/>
                <a:gd name="connsiteX152" fmla="*/ 3210 w 10000"/>
                <a:gd name="connsiteY152" fmla="*/ 8222 h 9986"/>
                <a:gd name="connsiteX153" fmla="*/ 3358 w 10000"/>
                <a:gd name="connsiteY153" fmla="*/ 8318 h 9986"/>
                <a:gd name="connsiteX154" fmla="*/ 3514 w 10000"/>
                <a:gd name="connsiteY154" fmla="*/ 8414 h 9986"/>
                <a:gd name="connsiteX155" fmla="*/ 3677 w 10000"/>
                <a:gd name="connsiteY155" fmla="*/ 8506 h 9986"/>
                <a:gd name="connsiteX156" fmla="*/ 3840 w 10000"/>
                <a:gd name="connsiteY156" fmla="*/ 8593 h 9986"/>
                <a:gd name="connsiteX157" fmla="*/ 4010 w 10000"/>
                <a:gd name="connsiteY157" fmla="*/ 8684 h 9986"/>
                <a:gd name="connsiteX158" fmla="*/ 4181 w 10000"/>
                <a:gd name="connsiteY158" fmla="*/ 8762 h 9986"/>
                <a:gd name="connsiteX159" fmla="*/ 4351 w 10000"/>
                <a:gd name="connsiteY159" fmla="*/ 8849 h 9986"/>
                <a:gd name="connsiteX160" fmla="*/ 4522 w 10000"/>
                <a:gd name="connsiteY160" fmla="*/ 8927 h 9986"/>
                <a:gd name="connsiteX161" fmla="*/ 4700 w 10000"/>
                <a:gd name="connsiteY161" fmla="*/ 9010 h 9986"/>
                <a:gd name="connsiteX162" fmla="*/ 4878 w 10000"/>
                <a:gd name="connsiteY162" fmla="*/ 9088 h 9986"/>
                <a:gd name="connsiteX163" fmla="*/ 5063 w 10000"/>
                <a:gd name="connsiteY163" fmla="*/ 9161 h 9986"/>
                <a:gd name="connsiteX164" fmla="*/ 5248 w 10000"/>
                <a:gd name="connsiteY164" fmla="*/ 9239 h 9986"/>
                <a:gd name="connsiteX165" fmla="*/ 5426 w 10000"/>
                <a:gd name="connsiteY165" fmla="*/ 9308 h 9986"/>
                <a:gd name="connsiteX166" fmla="*/ 5619 w 10000"/>
                <a:gd name="connsiteY166" fmla="*/ 9376 h 9986"/>
                <a:gd name="connsiteX167" fmla="*/ 5812 w 10000"/>
                <a:gd name="connsiteY167" fmla="*/ 9445 h 9986"/>
                <a:gd name="connsiteX168" fmla="*/ 6004 w 10000"/>
                <a:gd name="connsiteY168" fmla="*/ 9509 h 9986"/>
                <a:gd name="connsiteX169" fmla="*/ 6205 w 10000"/>
                <a:gd name="connsiteY169" fmla="*/ 9574 h 9986"/>
                <a:gd name="connsiteX170" fmla="*/ 6397 w 10000"/>
                <a:gd name="connsiteY170" fmla="*/ 9633 h 9986"/>
                <a:gd name="connsiteX171" fmla="*/ 6605 w 10000"/>
                <a:gd name="connsiteY171" fmla="*/ 9688 h 9986"/>
                <a:gd name="connsiteX172" fmla="*/ 6805 w 10000"/>
                <a:gd name="connsiteY172" fmla="*/ 9743 h 9986"/>
                <a:gd name="connsiteX173" fmla="*/ 7005 w 10000"/>
                <a:gd name="connsiteY173" fmla="*/ 9798 h 9986"/>
                <a:gd name="connsiteX174" fmla="*/ 7213 w 10000"/>
                <a:gd name="connsiteY174" fmla="*/ 9849 h 9986"/>
                <a:gd name="connsiteX175" fmla="*/ 7420 w 10000"/>
                <a:gd name="connsiteY175" fmla="*/ 9894 h 9986"/>
                <a:gd name="connsiteX176" fmla="*/ 7628 w 10000"/>
                <a:gd name="connsiteY176" fmla="*/ 9940 h 9986"/>
                <a:gd name="connsiteX177" fmla="*/ 7835 w 10000"/>
                <a:gd name="connsiteY177" fmla="*/ 9986 h 9986"/>
                <a:gd name="connsiteX178" fmla="*/ 7539 w 10000"/>
                <a:gd name="connsiteY178" fmla="*/ 7740 h 9986"/>
                <a:gd name="connsiteX179" fmla="*/ 10000 w 10000"/>
                <a:gd name="connsiteY179" fmla="*/ 6127 h 9986"/>
                <a:gd name="connsiteX0" fmla="*/ 10000 w 10000"/>
                <a:gd name="connsiteY0" fmla="*/ 6136 h 10000"/>
                <a:gd name="connsiteX1" fmla="*/ 10000 w 10000"/>
                <a:gd name="connsiteY1" fmla="*/ 6136 h 10000"/>
                <a:gd name="connsiteX2" fmla="*/ 9911 w 10000"/>
                <a:gd name="connsiteY2" fmla="*/ 6122 h 10000"/>
                <a:gd name="connsiteX3" fmla="*/ 9815 w 10000"/>
                <a:gd name="connsiteY3" fmla="*/ 6104 h 10000"/>
                <a:gd name="connsiteX4" fmla="*/ 9726 w 10000"/>
                <a:gd name="connsiteY4" fmla="*/ 6086 h 10000"/>
                <a:gd name="connsiteX5" fmla="*/ 9637 w 10000"/>
                <a:gd name="connsiteY5" fmla="*/ 6062 h 10000"/>
                <a:gd name="connsiteX6" fmla="*/ 9548 w 10000"/>
                <a:gd name="connsiteY6" fmla="*/ 6043 h 10000"/>
                <a:gd name="connsiteX7" fmla="*/ 9466 w 10000"/>
                <a:gd name="connsiteY7" fmla="*/ 6021 h 10000"/>
                <a:gd name="connsiteX8" fmla="*/ 9377 w 10000"/>
                <a:gd name="connsiteY8" fmla="*/ 5998 h 10000"/>
                <a:gd name="connsiteX9" fmla="*/ 9288 w 10000"/>
                <a:gd name="connsiteY9" fmla="*/ 5975 h 10000"/>
                <a:gd name="connsiteX10" fmla="*/ 9118 w 10000"/>
                <a:gd name="connsiteY10" fmla="*/ 5924 h 10000"/>
                <a:gd name="connsiteX11" fmla="*/ 8955 w 10000"/>
                <a:gd name="connsiteY11" fmla="*/ 5869 h 10000"/>
                <a:gd name="connsiteX12" fmla="*/ 8792 w 10000"/>
                <a:gd name="connsiteY12" fmla="*/ 5810 h 10000"/>
                <a:gd name="connsiteX13" fmla="*/ 8636 w 10000"/>
                <a:gd name="connsiteY13" fmla="*/ 5746 h 10000"/>
                <a:gd name="connsiteX14" fmla="*/ 8480 w 10000"/>
                <a:gd name="connsiteY14" fmla="*/ 5681 h 10000"/>
                <a:gd name="connsiteX15" fmla="*/ 8340 w 10000"/>
                <a:gd name="connsiteY15" fmla="*/ 5613 h 10000"/>
                <a:gd name="connsiteX16" fmla="*/ 8199 w 10000"/>
                <a:gd name="connsiteY16" fmla="*/ 5539 h 10000"/>
                <a:gd name="connsiteX17" fmla="*/ 8058 w 10000"/>
                <a:gd name="connsiteY17" fmla="*/ 5461 h 10000"/>
                <a:gd name="connsiteX18" fmla="*/ 7924 w 10000"/>
                <a:gd name="connsiteY18" fmla="*/ 5379 h 10000"/>
                <a:gd name="connsiteX19" fmla="*/ 7798 w 10000"/>
                <a:gd name="connsiteY19" fmla="*/ 5295 h 10000"/>
                <a:gd name="connsiteX20" fmla="*/ 7672 w 10000"/>
                <a:gd name="connsiteY20" fmla="*/ 5208 h 10000"/>
                <a:gd name="connsiteX21" fmla="*/ 7554 w 10000"/>
                <a:gd name="connsiteY21" fmla="*/ 5121 h 10000"/>
                <a:gd name="connsiteX22" fmla="*/ 7450 w 10000"/>
                <a:gd name="connsiteY22" fmla="*/ 5025 h 10000"/>
                <a:gd name="connsiteX23" fmla="*/ 7346 w 10000"/>
                <a:gd name="connsiteY23" fmla="*/ 4929 h 10000"/>
                <a:gd name="connsiteX24" fmla="*/ 7250 w 10000"/>
                <a:gd name="connsiteY24" fmla="*/ 4833 h 10000"/>
                <a:gd name="connsiteX25" fmla="*/ 7161 w 10000"/>
                <a:gd name="connsiteY25" fmla="*/ 4732 h 10000"/>
                <a:gd name="connsiteX26" fmla="*/ 7072 w 10000"/>
                <a:gd name="connsiteY26" fmla="*/ 4630 h 10000"/>
                <a:gd name="connsiteX27" fmla="*/ 6990 w 10000"/>
                <a:gd name="connsiteY27" fmla="*/ 4520 h 10000"/>
                <a:gd name="connsiteX28" fmla="*/ 6953 w 10000"/>
                <a:gd name="connsiteY28" fmla="*/ 4470 h 10000"/>
                <a:gd name="connsiteX29" fmla="*/ 6916 w 10000"/>
                <a:gd name="connsiteY29" fmla="*/ 4415 h 10000"/>
                <a:gd name="connsiteX30" fmla="*/ 6887 w 10000"/>
                <a:gd name="connsiteY30" fmla="*/ 4360 h 10000"/>
                <a:gd name="connsiteX31" fmla="*/ 6850 w 10000"/>
                <a:gd name="connsiteY31" fmla="*/ 4305 h 10000"/>
                <a:gd name="connsiteX32" fmla="*/ 6820 w 10000"/>
                <a:gd name="connsiteY32" fmla="*/ 4250 h 10000"/>
                <a:gd name="connsiteX33" fmla="*/ 6790 w 10000"/>
                <a:gd name="connsiteY33" fmla="*/ 4195 h 10000"/>
                <a:gd name="connsiteX34" fmla="*/ 6768 w 10000"/>
                <a:gd name="connsiteY34" fmla="*/ 4135 h 10000"/>
                <a:gd name="connsiteX35" fmla="*/ 6738 w 10000"/>
                <a:gd name="connsiteY35" fmla="*/ 4080 h 10000"/>
                <a:gd name="connsiteX36" fmla="*/ 6723 w 10000"/>
                <a:gd name="connsiteY36" fmla="*/ 4020 h 10000"/>
                <a:gd name="connsiteX37" fmla="*/ 6694 w 10000"/>
                <a:gd name="connsiteY37" fmla="*/ 3965 h 10000"/>
                <a:gd name="connsiteX38" fmla="*/ 6679 w 10000"/>
                <a:gd name="connsiteY38" fmla="*/ 3905 h 10000"/>
                <a:gd name="connsiteX39" fmla="*/ 6664 w 10000"/>
                <a:gd name="connsiteY39" fmla="*/ 3845 h 10000"/>
                <a:gd name="connsiteX40" fmla="*/ 6649 w 10000"/>
                <a:gd name="connsiteY40" fmla="*/ 3786 h 10000"/>
                <a:gd name="connsiteX41" fmla="*/ 6635 w 10000"/>
                <a:gd name="connsiteY41" fmla="*/ 3731 h 10000"/>
                <a:gd name="connsiteX42" fmla="*/ 6620 w 10000"/>
                <a:gd name="connsiteY42" fmla="*/ 3671 h 10000"/>
                <a:gd name="connsiteX43" fmla="*/ 6612 w 10000"/>
                <a:gd name="connsiteY43" fmla="*/ 3612 h 10000"/>
                <a:gd name="connsiteX44" fmla="*/ 6605 w 10000"/>
                <a:gd name="connsiteY44" fmla="*/ 3552 h 10000"/>
                <a:gd name="connsiteX45" fmla="*/ 6597 w 10000"/>
                <a:gd name="connsiteY45" fmla="*/ 3488 h 10000"/>
                <a:gd name="connsiteX46" fmla="*/ 6597 w 10000"/>
                <a:gd name="connsiteY46" fmla="*/ 3428 h 10000"/>
                <a:gd name="connsiteX47" fmla="*/ 6590 w 10000"/>
                <a:gd name="connsiteY47" fmla="*/ 3364 h 10000"/>
                <a:gd name="connsiteX48" fmla="*/ 6597 w 10000"/>
                <a:gd name="connsiteY48" fmla="*/ 3304 h 10000"/>
                <a:gd name="connsiteX49" fmla="*/ 6605 w 10000"/>
                <a:gd name="connsiteY49" fmla="*/ 3236 h 10000"/>
                <a:gd name="connsiteX50" fmla="*/ 6605 w 10000"/>
                <a:gd name="connsiteY50" fmla="*/ 3171 h 10000"/>
                <a:gd name="connsiteX51" fmla="*/ 6612 w 10000"/>
                <a:gd name="connsiteY51" fmla="*/ 3106 h 10000"/>
                <a:gd name="connsiteX52" fmla="*/ 6620 w 10000"/>
                <a:gd name="connsiteY52" fmla="*/ 3042 h 10000"/>
                <a:gd name="connsiteX53" fmla="*/ 6635 w 10000"/>
                <a:gd name="connsiteY53" fmla="*/ 2983 h 10000"/>
                <a:gd name="connsiteX54" fmla="*/ 6649 w 10000"/>
                <a:gd name="connsiteY54" fmla="*/ 2919 h 10000"/>
                <a:gd name="connsiteX55" fmla="*/ 6664 w 10000"/>
                <a:gd name="connsiteY55" fmla="*/ 2859 h 10000"/>
                <a:gd name="connsiteX56" fmla="*/ 6686 w 10000"/>
                <a:gd name="connsiteY56" fmla="*/ 2795 h 10000"/>
                <a:gd name="connsiteX57" fmla="*/ 6709 w 10000"/>
                <a:gd name="connsiteY57" fmla="*/ 2735 h 10000"/>
                <a:gd name="connsiteX58" fmla="*/ 6731 w 10000"/>
                <a:gd name="connsiteY58" fmla="*/ 2676 h 10000"/>
                <a:gd name="connsiteX59" fmla="*/ 6753 w 10000"/>
                <a:gd name="connsiteY59" fmla="*/ 2611 h 10000"/>
                <a:gd name="connsiteX60" fmla="*/ 6783 w 10000"/>
                <a:gd name="connsiteY60" fmla="*/ 2556 h 10000"/>
                <a:gd name="connsiteX61" fmla="*/ 6812 w 10000"/>
                <a:gd name="connsiteY61" fmla="*/ 2496 h 10000"/>
                <a:gd name="connsiteX62" fmla="*/ 6842 w 10000"/>
                <a:gd name="connsiteY62" fmla="*/ 2436 h 10000"/>
                <a:gd name="connsiteX63" fmla="*/ 6879 w 10000"/>
                <a:gd name="connsiteY63" fmla="*/ 2377 h 10000"/>
                <a:gd name="connsiteX64" fmla="*/ 6909 w 10000"/>
                <a:gd name="connsiteY64" fmla="*/ 2322 h 10000"/>
                <a:gd name="connsiteX65" fmla="*/ 6946 w 10000"/>
                <a:gd name="connsiteY65" fmla="*/ 2262 h 10000"/>
                <a:gd name="connsiteX66" fmla="*/ 6990 w 10000"/>
                <a:gd name="connsiteY66" fmla="*/ 2207 h 10000"/>
                <a:gd name="connsiteX67" fmla="*/ 7027 w 10000"/>
                <a:gd name="connsiteY67" fmla="*/ 2152 h 10000"/>
                <a:gd name="connsiteX68" fmla="*/ 7072 w 10000"/>
                <a:gd name="connsiteY68" fmla="*/ 2097 h 10000"/>
                <a:gd name="connsiteX69" fmla="*/ 7109 w 10000"/>
                <a:gd name="connsiteY69" fmla="*/ 2042 h 10000"/>
                <a:gd name="connsiteX70" fmla="*/ 7161 w 10000"/>
                <a:gd name="connsiteY70" fmla="*/ 1992 h 10000"/>
                <a:gd name="connsiteX71" fmla="*/ 7213 w 10000"/>
                <a:gd name="connsiteY71" fmla="*/ 1937 h 10000"/>
                <a:gd name="connsiteX72" fmla="*/ 7257 w 10000"/>
                <a:gd name="connsiteY72" fmla="*/ 1882 h 10000"/>
                <a:gd name="connsiteX73" fmla="*/ 7309 w 10000"/>
                <a:gd name="connsiteY73" fmla="*/ 1831 h 10000"/>
                <a:gd name="connsiteX74" fmla="*/ 7361 w 10000"/>
                <a:gd name="connsiteY74" fmla="*/ 1780 h 10000"/>
                <a:gd name="connsiteX75" fmla="*/ 7413 w 10000"/>
                <a:gd name="connsiteY75" fmla="*/ 1730 h 10000"/>
                <a:gd name="connsiteX76" fmla="*/ 7472 w 10000"/>
                <a:gd name="connsiteY76" fmla="*/ 1679 h 10000"/>
                <a:gd name="connsiteX77" fmla="*/ 7524 w 10000"/>
                <a:gd name="connsiteY77" fmla="*/ 1633 h 10000"/>
                <a:gd name="connsiteX78" fmla="*/ 7583 w 10000"/>
                <a:gd name="connsiteY78" fmla="*/ 1587 h 10000"/>
                <a:gd name="connsiteX79" fmla="*/ 7610 w 10000"/>
                <a:gd name="connsiteY79" fmla="*/ 1558 h 10000"/>
                <a:gd name="connsiteX80" fmla="*/ 5390 w 10000"/>
                <a:gd name="connsiteY80" fmla="*/ 6 h 10000"/>
                <a:gd name="connsiteX81" fmla="*/ 1401 w 10000"/>
                <a:gd name="connsiteY81" fmla="*/ 0 h 10000"/>
                <a:gd name="connsiteX82" fmla="*/ 1305 w 10000"/>
                <a:gd name="connsiteY82" fmla="*/ 114 h 10000"/>
                <a:gd name="connsiteX83" fmla="*/ 1223 w 10000"/>
                <a:gd name="connsiteY83" fmla="*/ 206 h 10000"/>
                <a:gd name="connsiteX84" fmla="*/ 1149 w 10000"/>
                <a:gd name="connsiteY84" fmla="*/ 302 h 10000"/>
                <a:gd name="connsiteX85" fmla="*/ 1067 w 10000"/>
                <a:gd name="connsiteY85" fmla="*/ 399 h 10000"/>
                <a:gd name="connsiteX86" fmla="*/ 1001 w 10000"/>
                <a:gd name="connsiteY86" fmla="*/ 496 h 10000"/>
                <a:gd name="connsiteX87" fmla="*/ 927 w 10000"/>
                <a:gd name="connsiteY87" fmla="*/ 592 h 10000"/>
                <a:gd name="connsiteX88" fmla="*/ 860 w 10000"/>
                <a:gd name="connsiteY88" fmla="*/ 693 h 10000"/>
                <a:gd name="connsiteX89" fmla="*/ 793 w 10000"/>
                <a:gd name="connsiteY89" fmla="*/ 794 h 10000"/>
                <a:gd name="connsiteX90" fmla="*/ 734 w 10000"/>
                <a:gd name="connsiteY90" fmla="*/ 890 h 10000"/>
                <a:gd name="connsiteX91" fmla="*/ 675 w 10000"/>
                <a:gd name="connsiteY91" fmla="*/ 991 h 10000"/>
                <a:gd name="connsiteX92" fmla="*/ 615 w 10000"/>
                <a:gd name="connsiteY92" fmla="*/ 1092 h 10000"/>
                <a:gd name="connsiteX93" fmla="*/ 556 w 10000"/>
                <a:gd name="connsiteY93" fmla="*/ 1198 h 10000"/>
                <a:gd name="connsiteX94" fmla="*/ 504 w 10000"/>
                <a:gd name="connsiteY94" fmla="*/ 1294 h 10000"/>
                <a:gd name="connsiteX95" fmla="*/ 452 w 10000"/>
                <a:gd name="connsiteY95" fmla="*/ 1400 h 10000"/>
                <a:gd name="connsiteX96" fmla="*/ 408 w 10000"/>
                <a:gd name="connsiteY96" fmla="*/ 1500 h 10000"/>
                <a:gd name="connsiteX97" fmla="*/ 363 w 10000"/>
                <a:gd name="connsiteY97" fmla="*/ 1606 h 10000"/>
                <a:gd name="connsiteX98" fmla="*/ 319 w 10000"/>
                <a:gd name="connsiteY98" fmla="*/ 1711 h 10000"/>
                <a:gd name="connsiteX99" fmla="*/ 282 w 10000"/>
                <a:gd name="connsiteY99" fmla="*/ 1818 h 10000"/>
                <a:gd name="connsiteX100" fmla="*/ 237 w 10000"/>
                <a:gd name="connsiteY100" fmla="*/ 1928 h 10000"/>
                <a:gd name="connsiteX101" fmla="*/ 208 w 10000"/>
                <a:gd name="connsiteY101" fmla="*/ 2033 h 10000"/>
                <a:gd name="connsiteX102" fmla="*/ 170 w 10000"/>
                <a:gd name="connsiteY102" fmla="*/ 2143 h 10000"/>
                <a:gd name="connsiteX103" fmla="*/ 148 w 10000"/>
                <a:gd name="connsiteY103" fmla="*/ 2253 h 10000"/>
                <a:gd name="connsiteX104" fmla="*/ 119 w 10000"/>
                <a:gd name="connsiteY104" fmla="*/ 2358 h 10000"/>
                <a:gd name="connsiteX105" fmla="*/ 96 w 10000"/>
                <a:gd name="connsiteY105" fmla="*/ 2468 h 10000"/>
                <a:gd name="connsiteX106" fmla="*/ 74 w 10000"/>
                <a:gd name="connsiteY106" fmla="*/ 2579 h 10000"/>
                <a:gd name="connsiteX107" fmla="*/ 52 w 10000"/>
                <a:gd name="connsiteY107" fmla="*/ 2694 h 10000"/>
                <a:gd name="connsiteX108" fmla="*/ 37 w 10000"/>
                <a:gd name="connsiteY108" fmla="*/ 2804 h 10000"/>
                <a:gd name="connsiteX109" fmla="*/ 22 w 10000"/>
                <a:gd name="connsiteY109" fmla="*/ 2914 h 10000"/>
                <a:gd name="connsiteX110" fmla="*/ 15 w 10000"/>
                <a:gd name="connsiteY110" fmla="*/ 3024 h 10000"/>
                <a:gd name="connsiteX111" fmla="*/ 7 w 10000"/>
                <a:gd name="connsiteY111" fmla="*/ 3138 h 10000"/>
                <a:gd name="connsiteX112" fmla="*/ 0 w 10000"/>
                <a:gd name="connsiteY112" fmla="*/ 3249 h 10000"/>
                <a:gd name="connsiteX113" fmla="*/ 0 w 10000"/>
                <a:gd name="connsiteY113" fmla="*/ 3364 h 10000"/>
                <a:gd name="connsiteX114" fmla="*/ 7 w 10000"/>
                <a:gd name="connsiteY114" fmla="*/ 3511 h 10000"/>
                <a:gd name="connsiteX115" fmla="*/ 7 w 10000"/>
                <a:gd name="connsiteY115" fmla="*/ 3657 h 10000"/>
                <a:gd name="connsiteX116" fmla="*/ 22 w 10000"/>
                <a:gd name="connsiteY116" fmla="*/ 3795 h 10000"/>
                <a:gd name="connsiteX117" fmla="*/ 37 w 10000"/>
                <a:gd name="connsiteY117" fmla="*/ 3938 h 10000"/>
                <a:gd name="connsiteX118" fmla="*/ 59 w 10000"/>
                <a:gd name="connsiteY118" fmla="*/ 4080 h 10000"/>
                <a:gd name="connsiteX119" fmla="*/ 89 w 10000"/>
                <a:gd name="connsiteY119" fmla="*/ 4222 h 10000"/>
                <a:gd name="connsiteX120" fmla="*/ 119 w 10000"/>
                <a:gd name="connsiteY120" fmla="*/ 4364 h 10000"/>
                <a:gd name="connsiteX121" fmla="*/ 148 w 10000"/>
                <a:gd name="connsiteY121" fmla="*/ 4506 h 10000"/>
                <a:gd name="connsiteX122" fmla="*/ 193 w 10000"/>
                <a:gd name="connsiteY122" fmla="*/ 4645 h 10000"/>
                <a:gd name="connsiteX123" fmla="*/ 237 w 10000"/>
                <a:gd name="connsiteY123" fmla="*/ 4782 h 10000"/>
                <a:gd name="connsiteX124" fmla="*/ 282 w 10000"/>
                <a:gd name="connsiteY124" fmla="*/ 4920 h 10000"/>
                <a:gd name="connsiteX125" fmla="*/ 334 w 10000"/>
                <a:gd name="connsiteY125" fmla="*/ 5057 h 10000"/>
                <a:gd name="connsiteX126" fmla="*/ 393 w 10000"/>
                <a:gd name="connsiteY126" fmla="*/ 5190 h 10000"/>
                <a:gd name="connsiteX127" fmla="*/ 452 w 10000"/>
                <a:gd name="connsiteY127" fmla="*/ 5323 h 10000"/>
                <a:gd name="connsiteX128" fmla="*/ 519 w 10000"/>
                <a:gd name="connsiteY128" fmla="*/ 5457 h 10000"/>
                <a:gd name="connsiteX129" fmla="*/ 586 w 10000"/>
                <a:gd name="connsiteY129" fmla="*/ 5590 h 10000"/>
                <a:gd name="connsiteX130" fmla="*/ 660 w 10000"/>
                <a:gd name="connsiteY130" fmla="*/ 5718 h 10000"/>
                <a:gd name="connsiteX131" fmla="*/ 741 w 10000"/>
                <a:gd name="connsiteY131" fmla="*/ 5846 h 10000"/>
                <a:gd name="connsiteX132" fmla="*/ 823 w 10000"/>
                <a:gd name="connsiteY132" fmla="*/ 5979 h 10000"/>
                <a:gd name="connsiteX133" fmla="*/ 904 w 10000"/>
                <a:gd name="connsiteY133" fmla="*/ 6104 h 10000"/>
                <a:gd name="connsiteX134" fmla="*/ 993 w 10000"/>
                <a:gd name="connsiteY134" fmla="*/ 6228 h 10000"/>
                <a:gd name="connsiteX135" fmla="*/ 1090 w 10000"/>
                <a:gd name="connsiteY135" fmla="*/ 6347 h 10000"/>
                <a:gd name="connsiteX136" fmla="*/ 1186 w 10000"/>
                <a:gd name="connsiteY136" fmla="*/ 6471 h 10000"/>
                <a:gd name="connsiteX137" fmla="*/ 1290 w 10000"/>
                <a:gd name="connsiteY137" fmla="*/ 6594 h 10000"/>
                <a:gd name="connsiteX138" fmla="*/ 1386 w 10000"/>
                <a:gd name="connsiteY138" fmla="*/ 6714 h 10000"/>
                <a:gd name="connsiteX139" fmla="*/ 1497 w 10000"/>
                <a:gd name="connsiteY139" fmla="*/ 6834 h 10000"/>
                <a:gd name="connsiteX140" fmla="*/ 1609 w 10000"/>
                <a:gd name="connsiteY140" fmla="*/ 6948 h 10000"/>
                <a:gd name="connsiteX141" fmla="*/ 1727 w 10000"/>
                <a:gd name="connsiteY141" fmla="*/ 7067 h 10000"/>
                <a:gd name="connsiteX142" fmla="*/ 1846 w 10000"/>
                <a:gd name="connsiteY142" fmla="*/ 7182 h 10000"/>
                <a:gd name="connsiteX143" fmla="*/ 1964 w 10000"/>
                <a:gd name="connsiteY143" fmla="*/ 7292 h 10000"/>
                <a:gd name="connsiteX144" fmla="*/ 2090 w 10000"/>
                <a:gd name="connsiteY144" fmla="*/ 7402 h 10000"/>
                <a:gd name="connsiteX145" fmla="*/ 2224 w 10000"/>
                <a:gd name="connsiteY145" fmla="*/ 7513 h 10000"/>
                <a:gd name="connsiteX146" fmla="*/ 2350 w 10000"/>
                <a:gd name="connsiteY146" fmla="*/ 7623 h 10000"/>
                <a:gd name="connsiteX147" fmla="*/ 2491 w 10000"/>
                <a:gd name="connsiteY147" fmla="*/ 7728 h 10000"/>
                <a:gd name="connsiteX148" fmla="*/ 2617 w 10000"/>
                <a:gd name="connsiteY148" fmla="*/ 7834 h 10000"/>
                <a:gd name="connsiteX149" fmla="*/ 2765 w 10000"/>
                <a:gd name="connsiteY149" fmla="*/ 7935 h 10000"/>
                <a:gd name="connsiteX150" fmla="*/ 2906 w 10000"/>
                <a:gd name="connsiteY150" fmla="*/ 8035 h 10000"/>
                <a:gd name="connsiteX151" fmla="*/ 3054 w 10000"/>
                <a:gd name="connsiteY151" fmla="*/ 8136 h 10000"/>
                <a:gd name="connsiteX152" fmla="*/ 3210 w 10000"/>
                <a:gd name="connsiteY152" fmla="*/ 8234 h 10000"/>
                <a:gd name="connsiteX153" fmla="*/ 3358 w 10000"/>
                <a:gd name="connsiteY153" fmla="*/ 8330 h 10000"/>
                <a:gd name="connsiteX154" fmla="*/ 3514 w 10000"/>
                <a:gd name="connsiteY154" fmla="*/ 8426 h 10000"/>
                <a:gd name="connsiteX155" fmla="*/ 3677 w 10000"/>
                <a:gd name="connsiteY155" fmla="*/ 8518 h 10000"/>
                <a:gd name="connsiteX156" fmla="*/ 3840 w 10000"/>
                <a:gd name="connsiteY156" fmla="*/ 8605 h 10000"/>
                <a:gd name="connsiteX157" fmla="*/ 4010 w 10000"/>
                <a:gd name="connsiteY157" fmla="*/ 8696 h 10000"/>
                <a:gd name="connsiteX158" fmla="*/ 4181 w 10000"/>
                <a:gd name="connsiteY158" fmla="*/ 8774 h 10000"/>
                <a:gd name="connsiteX159" fmla="*/ 4351 w 10000"/>
                <a:gd name="connsiteY159" fmla="*/ 8861 h 10000"/>
                <a:gd name="connsiteX160" fmla="*/ 4522 w 10000"/>
                <a:gd name="connsiteY160" fmla="*/ 8940 h 10000"/>
                <a:gd name="connsiteX161" fmla="*/ 4700 w 10000"/>
                <a:gd name="connsiteY161" fmla="*/ 9023 h 10000"/>
                <a:gd name="connsiteX162" fmla="*/ 4878 w 10000"/>
                <a:gd name="connsiteY162" fmla="*/ 9101 h 10000"/>
                <a:gd name="connsiteX163" fmla="*/ 5063 w 10000"/>
                <a:gd name="connsiteY163" fmla="*/ 9174 h 10000"/>
                <a:gd name="connsiteX164" fmla="*/ 5248 w 10000"/>
                <a:gd name="connsiteY164" fmla="*/ 9252 h 10000"/>
                <a:gd name="connsiteX165" fmla="*/ 5426 w 10000"/>
                <a:gd name="connsiteY165" fmla="*/ 9321 h 10000"/>
                <a:gd name="connsiteX166" fmla="*/ 5619 w 10000"/>
                <a:gd name="connsiteY166" fmla="*/ 9389 h 10000"/>
                <a:gd name="connsiteX167" fmla="*/ 5812 w 10000"/>
                <a:gd name="connsiteY167" fmla="*/ 9458 h 10000"/>
                <a:gd name="connsiteX168" fmla="*/ 6004 w 10000"/>
                <a:gd name="connsiteY168" fmla="*/ 9522 h 10000"/>
                <a:gd name="connsiteX169" fmla="*/ 6205 w 10000"/>
                <a:gd name="connsiteY169" fmla="*/ 9587 h 10000"/>
                <a:gd name="connsiteX170" fmla="*/ 6397 w 10000"/>
                <a:gd name="connsiteY170" fmla="*/ 9647 h 10000"/>
                <a:gd name="connsiteX171" fmla="*/ 6605 w 10000"/>
                <a:gd name="connsiteY171" fmla="*/ 9702 h 10000"/>
                <a:gd name="connsiteX172" fmla="*/ 6805 w 10000"/>
                <a:gd name="connsiteY172" fmla="*/ 9757 h 10000"/>
                <a:gd name="connsiteX173" fmla="*/ 7005 w 10000"/>
                <a:gd name="connsiteY173" fmla="*/ 9812 h 10000"/>
                <a:gd name="connsiteX174" fmla="*/ 7213 w 10000"/>
                <a:gd name="connsiteY174" fmla="*/ 9863 h 10000"/>
                <a:gd name="connsiteX175" fmla="*/ 7420 w 10000"/>
                <a:gd name="connsiteY175" fmla="*/ 9908 h 10000"/>
                <a:gd name="connsiteX176" fmla="*/ 7628 w 10000"/>
                <a:gd name="connsiteY176" fmla="*/ 9954 h 10000"/>
                <a:gd name="connsiteX177" fmla="*/ 7835 w 10000"/>
                <a:gd name="connsiteY177" fmla="*/ 10000 h 10000"/>
                <a:gd name="connsiteX178" fmla="*/ 7539 w 10000"/>
                <a:gd name="connsiteY178" fmla="*/ 7751 h 10000"/>
                <a:gd name="connsiteX179" fmla="*/ 10000 w 10000"/>
                <a:gd name="connsiteY179" fmla="*/ 6136 h 10000"/>
                <a:gd name="connsiteX0" fmla="*/ 10000 w 10000"/>
                <a:gd name="connsiteY0" fmla="*/ 6151 h 10015"/>
                <a:gd name="connsiteX1" fmla="*/ 10000 w 10000"/>
                <a:gd name="connsiteY1" fmla="*/ 6151 h 10015"/>
                <a:gd name="connsiteX2" fmla="*/ 9911 w 10000"/>
                <a:gd name="connsiteY2" fmla="*/ 6137 h 10015"/>
                <a:gd name="connsiteX3" fmla="*/ 9815 w 10000"/>
                <a:gd name="connsiteY3" fmla="*/ 6119 h 10015"/>
                <a:gd name="connsiteX4" fmla="*/ 9726 w 10000"/>
                <a:gd name="connsiteY4" fmla="*/ 6101 h 10015"/>
                <a:gd name="connsiteX5" fmla="*/ 9637 w 10000"/>
                <a:gd name="connsiteY5" fmla="*/ 6077 h 10015"/>
                <a:gd name="connsiteX6" fmla="*/ 9548 w 10000"/>
                <a:gd name="connsiteY6" fmla="*/ 6058 h 10015"/>
                <a:gd name="connsiteX7" fmla="*/ 9466 w 10000"/>
                <a:gd name="connsiteY7" fmla="*/ 6036 h 10015"/>
                <a:gd name="connsiteX8" fmla="*/ 9377 w 10000"/>
                <a:gd name="connsiteY8" fmla="*/ 6013 h 10015"/>
                <a:gd name="connsiteX9" fmla="*/ 9288 w 10000"/>
                <a:gd name="connsiteY9" fmla="*/ 5990 h 10015"/>
                <a:gd name="connsiteX10" fmla="*/ 9118 w 10000"/>
                <a:gd name="connsiteY10" fmla="*/ 5939 h 10015"/>
                <a:gd name="connsiteX11" fmla="*/ 8955 w 10000"/>
                <a:gd name="connsiteY11" fmla="*/ 5884 h 10015"/>
                <a:gd name="connsiteX12" fmla="*/ 8792 w 10000"/>
                <a:gd name="connsiteY12" fmla="*/ 5825 h 10015"/>
                <a:gd name="connsiteX13" fmla="*/ 8636 w 10000"/>
                <a:gd name="connsiteY13" fmla="*/ 5761 h 10015"/>
                <a:gd name="connsiteX14" fmla="*/ 8480 w 10000"/>
                <a:gd name="connsiteY14" fmla="*/ 5696 h 10015"/>
                <a:gd name="connsiteX15" fmla="*/ 8340 w 10000"/>
                <a:gd name="connsiteY15" fmla="*/ 5628 h 10015"/>
                <a:gd name="connsiteX16" fmla="*/ 8199 w 10000"/>
                <a:gd name="connsiteY16" fmla="*/ 5554 h 10015"/>
                <a:gd name="connsiteX17" fmla="*/ 8058 w 10000"/>
                <a:gd name="connsiteY17" fmla="*/ 5476 h 10015"/>
                <a:gd name="connsiteX18" fmla="*/ 7924 w 10000"/>
                <a:gd name="connsiteY18" fmla="*/ 5394 h 10015"/>
                <a:gd name="connsiteX19" fmla="*/ 7798 w 10000"/>
                <a:gd name="connsiteY19" fmla="*/ 5310 h 10015"/>
                <a:gd name="connsiteX20" fmla="*/ 7672 w 10000"/>
                <a:gd name="connsiteY20" fmla="*/ 5223 h 10015"/>
                <a:gd name="connsiteX21" fmla="*/ 7554 w 10000"/>
                <a:gd name="connsiteY21" fmla="*/ 5136 h 10015"/>
                <a:gd name="connsiteX22" fmla="*/ 7450 w 10000"/>
                <a:gd name="connsiteY22" fmla="*/ 5040 h 10015"/>
                <a:gd name="connsiteX23" fmla="*/ 7346 w 10000"/>
                <a:gd name="connsiteY23" fmla="*/ 4944 h 10015"/>
                <a:gd name="connsiteX24" fmla="*/ 7250 w 10000"/>
                <a:gd name="connsiteY24" fmla="*/ 4848 h 10015"/>
                <a:gd name="connsiteX25" fmla="*/ 7161 w 10000"/>
                <a:gd name="connsiteY25" fmla="*/ 4747 h 10015"/>
                <a:gd name="connsiteX26" fmla="*/ 7072 w 10000"/>
                <a:gd name="connsiteY26" fmla="*/ 4645 h 10015"/>
                <a:gd name="connsiteX27" fmla="*/ 6990 w 10000"/>
                <a:gd name="connsiteY27" fmla="*/ 4535 h 10015"/>
                <a:gd name="connsiteX28" fmla="*/ 6953 w 10000"/>
                <a:gd name="connsiteY28" fmla="*/ 4485 h 10015"/>
                <a:gd name="connsiteX29" fmla="*/ 6916 w 10000"/>
                <a:gd name="connsiteY29" fmla="*/ 4430 h 10015"/>
                <a:gd name="connsiteX30" fmla="*/ 6887 w 10000"/>
                <a:gd name="connsiteY30" fmla="*/ 4375 h 10015"/>
                <a:gd name="connsiteX31" fmla="*/ 6850 w 10000"/>
                <a:gd name="connsiteY31" fmla="*/ 4320 h 10015"/>
                <a:gd name="connsiteX32" fmla="*/ 6820 w 10000"/>
                <a:gd name="connsiteY32" fmla="*/ 4265 h 10015"/>
                <a:gd name="connsiteX33" fmla="*/ 6790 w 10000"/>
                <a:gd name="connsiteY33" fmla="*/ 4210 h 10015"/>
                <a:gd name="connsiteX34" fmla="*/ 6768 w 10000"/>
                <a:gd name="connsiteY34" fmla="*/ 4150 h 10015"/>
                <a:gd name="connsiteX35" fmla="*/ 6738 w 10000"/>
                <a:gd name="connsiteY35" fmla="*/ 4095 h 10015"/>
                <a:gd name="connsiteX36" fmla="*/ 6723 w 10000"/>
                <a:gd name="connsiteY36" fmla="*/ 4035 h 10015"/>
                <a:gd name="connsiteX37" fmla="*/ 6694 w 10000"/>
                <a:gd name="connsiteY37" fmla="*/ 3980 h 10015"/>
                <a:gd name="connsiteX38" fmla="*/ 6679 w 10000"/>
                <a:gd name="connsiteY38" fmla="*/ 3920 h 10015"/>
                <a:gd name="connsiteX39" fmla="*/ 6664 w 10000"/>
                <a:gd name="connsiteY39" fmla="*/ 3860 h 10015"/>
                <a:gd name="connsiteX40" fmla="*/ 6649 w 10000"/>
                <a:gd name="connsiteY40" fmla="*/ 3801 h 10015"/>
                <a:gd name="connsiteX41" fmla="*/ 6635 w 10000"/>
                <a:gd name="connsiteY41" fmla="*/ 3746 h 10015"/>
                <a:gd name="connsiteX42" fmla="*/ 6620 w 10000"/>
                <a:gd name="connsiteY42" fmla="*/ 3686 h 10015"/>
                <a:gd name="connsiteX43" fmla="*/ 6612 w 10000"/>
                <a:gd name="connsiteY43" fmla="*/ 3627 h 10015"/>
                <a:gd name="connsiteX44" fmla="*/ 6605 w 10000"/>
                <a:gd name="connsiteY44" fmla="*/ 3567 h 10015"/>
                <a:gd name="connsiteX45" fmla="*/ 6597 w 10000"/>
                <a:gd name="connsiteY45" fmla="*/ 3503 h 10015"/>
                <a:gd name="connsiteX46" fmla="*/ 6597 w 10000"/>
                <a:gd name="connsiteY46" fmla="*/ 3443 h 10015"/>
                <a:gd name="connsiteX47" fmla="*/ 6590 w 10000"/>
                <a:gd name="connsiteY47" fmla="*/ 3379 h 10015"/>
                <a:gd name="connsiteX48" fmla="*/ 6597 w 10000"/>
                <a:gd name="connsiteY48" fmla="*/ 3319 h 10015"/>
                <a:gd name="connsiteX49" fmla="*/ 6605 w 10000"/>
                <a:gd name="connsiteY49" fmla="*/ 3251 h 10015"/>
                <a:gd name="connsiteX50" fmla="*/ 6605 w 10000"/>
                <a:gd name="connsiteY50" fmla="*/ 3186 h 10015"/>
                <a:gd name="connsiteX51" fmla="*/ 6612 w 10000"/>
                <a:gd name="connsiteY51" fmla="*/ 3121 h 10015"/>
                <a:gd name="connsiteX52" fmla="*/ 6620 w 10000"/>
                <a:gd name="connsiteY52" fmla="*/ 3057 h 10015"/>
                <a:gd name="connsiteX53" fmla="*/ 6635 w 10000"/>
                <a:gd name="connsiteY53" fmla="*/ 2998 h 10015"/>
                <a:gd name="connsiteX54" fmla="*/ 6649 w 10000"/>
                <a:gd name="connsiteY54" fmla="*/ 2934 h 10015"/>
                <a:gd name="connsiteX55" fmla="*/ 6664 w 10000"/>
                <a:gd name="connsiteY55" fmla="*/ 2874 h 10015"/>
                <a:gd name="connsiteX56" fmla="*/ 6686 w 10000"/>
                <a:gd name="connsiteY56" fmla="*/ 2810 h 10015"/>
                <a:gd name="connsiteX57" fmla="*/ 6709 w 10000"/>
                <a:gd name="connsiteY57" fmla="*/ 2750 h 10015"/>
                <a:gd name="connsiteX58" fmla="*/ 6731 w 10000"/>
                <a:gd name="connsiteY58" fmla="*/ 2691 h 10015"/>
                <a:gd name="connsiteX59" fmla="*/ 6753 w 10000"/>
                <a:gd name="connsiteY59" fmla="*/ 2626 h 10015"/>
                <a:gd name="connsiteX60" fmla="*/ 6783 w 10000"/>
                <a:gd name="connsiteY60" fmla="*/ 2571 h 10015"/>
                <a:gd name="connsiteX61" fmla="*/ 6812 w 10000"/>
                <a:gd name="connsiteY61" fmla="*/ 2511 h 10015"/>
                <a:gd name="connsiteX62" fmla="*/ 6842 w 10000"/>
                <a:gd name="connsiteY62" fmla="*/ 2451 h 10015"/>
                <a:gd name="connsiteX63" fmla="*/ 6879 w 10000"/>
                <a:gd name="connsiteY63" fmla="*/ 2392 h 10015"/>
                <a:gd name="connsiteX64" fmla="*/ 6909 w 10000"/>
                <a:gd name="connsiteY64" fmla="*/ 2337 h 10015"/>
                <a:gd name="connsiteX65" fmla="*/ 6946 w 10000"/>
                <a:gd name="connsiteY65" fmla="*/ 2277 h 10015"/>
                <a:gd name="connsiteX66" fmla="*/ 6990 w 10000"/>
                <a:gd name="connsiteY66" fmla="*/ 2222 h 10015"/>
                <a:gd name="connsiteX67" fmla="*/ 7027 w 10000"/>
                <a:gd name="connsiteY67" fmla="*/ 2167 h 10015"/>
                <a:gd name="connsiteX68" fmla="*/ 7072 w 10000"/>
                <a:gd name="connsiteY68" fmla="*/ 2112 h 10015"/>
                <a:gd name="connsiteX69" fmla="*/ 7109 w 10000"/>
                <a:gd name="connsiteY69" fmla="*/ 2057 h 10015"/>
                <a:gd name="connsiteX70" fmla="*/ 7161 w 10000"/>
                <a:gd name="connsiteY70" fmla="*/ 2007 h 10015"/>
                <a:gd name="connsiteX71" fmla="*/ 7213 w 10000"/>
                <a:gd name="connsiteY71" fmla="*/ 1952 h 10015"/>
                <a:gd name="connsiteX72" fmla="*/ 7257 w 10000"/>
                <a:gd name="connsiteY72" fmla="*/ 1897 h 10015"/>
                <a:gd name="connsiteX73" fmla="*/ 7309 w 10000"/>
                <a:gd name="connsiteY73" fmla="*/ 1846 h 10015"/>
                <a:gd name="connsiteX74" fmla="*/ 7361 w 10000"/>
                <a:gd name="connsiteY74" fmla="*/ 1795 h 10015"/>
                <a:gd name="connsiteX75" fmla="*/ 7413 w 10000"/>
                <a:gd name="connsiteY75" fmla="*/ 1745 h 10015"/>
                <a:gd name="connsiteX76" fmla="*/ 7472 w 10000"/>
                <a:gd name="connsiteY76" fmla="*/ 1694 h 10015"/>
                <a:gd name="connsiteX77" fmla="*/ 7524 w 10000"/>
                <a:gd name="connsiteY77" fmla="*/ 1648 h 10015"/>
                <a:gd name="connsiteX78" fmla="*/ 7583 w 10000"/>
                <a:gd name="connsiteY78" fmla="*/ 1602 h 10015"/>
                <a:gd name="connsiteX79" fmla="*/ 7610 w 10000"/>
                <a:gd name="connsiteY79" fmla="*/ 1573 h 10015"/>
                <a:gd name="connsiteX80" fmla="*/ 5390 w 10000"/>
                <a:gd name="connsiteY80" fmla="*/ 0 h 10015"/>
                <a:gd name="connsiteX81" fmla="*/ 1401 w 10000"/>
                <a:gd name="connsiteY81" fmla="*/ 15 h 10015"/>
                <a:gd name="connsiteX82" fmla="*/ 1305 w 10000"/>
                <a:gd name="connsiteY82" fmla="*/ 129 h 10015"/>
                <a:gd name="connsiteX83" fmla="*/ 1223 w 10000"/>
                <a:gd name="connsiteY83" fmla="*/ 221 h 10015"/>
                <a:gd name="connsiteX84" fmla="*/ 1149 w 10000"/>
                <a:gd name="connsiteY84" fmla="*/ 317 h 10015"/>
                <a:gd name="connsiteX85" fmla="*/ 1067 w 10000"/>
                <a:gd name="connsiteY85" fmla="*/ 414 h 10015"/>
                <a:gd name="connsiteX86" fmla="*/ 1001 w 10000"/>
                <a:gd name="connsiteY86" fmla="*/ 511 h 10015"/>
                <a:gd name="connsiteX87" fmla="*/ 927 w 10000"/>
                <a:gd name="connsiteY87" fmla="*/ 607 h 10015"/>
                <a:gd name="connsiteX88" fmla="*/ 860 w 10000"/>
                <a:gd name="connsiteY88" fmla="*/ 708 h 10015"/>
                <a:gd name="connsiteX89" fmla="*/ 793 w 10000"/>
                <a:gd name="connsiteY89" fmla="*/ 809 h 10015"/>
                <a:gd name="connsiteX90" fmla="*/ 734 w 10000"/>
                <a:gd name="connsiteY90" fmla="*/ 905 h 10015"/>
                <a:gd name="connsiteX91" fmla="*/ 675 w 10000"/>
                <a:gd name="connsiteY91" fmla="*/ 1006 h 10015"/>
                <a:gd name="connsiteX92" fmla="*/ 615 w 10000"/>
                <a:gd name="connsiteY92" fmla="*/ 1107 h 10015"/>
                <a:gd name="connsiteX93" fmla="*/ 556 w 10000"/>
                <a:gd name="connsiteY93" fmla="*/ 1213 h 10015"/>
                <a:gd name="connsiteX94" fmla="*/ 504 w 10000"/>
                <a:gd name="connsiteY94" fmla="*/ 1309 h 10015"/>
                <a:gd name="connsiteX95" fmla="*/ 452 w 10000"/>
                <a:gd name="connsiteY95" fmla="*/ 1415 h 10015"/>
                <a:gd name="connsiteX96" fmla="*/ 408 w 10000"/>
                <a:gd name="connsiteY96" fmla="*/ 1515 h 10015"/>
                <a:gd name="connsiteX97" fmla="*/ 363 w 10000"/>
                <a:gd name="connsiteY97" fmla="*/ 1621 h 10015"/>
                <a:gd name="connsiteX98" fmla="*/ 319 w 10000"/>
                <a:gd name="connsiteY98" fmla="*/ 1726 h 10015"/>
                <a:gd name="connsiteX99" fmla="*/ 282 w 10000"/>
                <a:gd name="connsiteY99" fmla="*/ 1833 h 10015"/>
                <a:gd name="connsiteX100" fmla="*/ 237 w 10000"/>
                <a:gd name="connsiteY100" fmla="*/ 1943 h 10015"/>
                <a:gd name="connsiteX101" fmla="*/ 208 w 10000"/>
                <a:gd name="connsiteY101" fmla="*/ 2048 h 10015"/>
                <a:gd name="connsiteX102" fmla="*/ 170 w 10000"/>
                <a:gd name="connsiteY102" fmla="*/ 2158 h 10015"/>
                <a:gd name="connsiteX103" fmla="*/ 148 w 10000"/>
                <a:gd name="connsiteY103" fmla="*/ 2268 h 10015"/>
                <a:gd name="connsiteX104" fmla="*/ 119 w 10000"/>
                <a:gd name="connsiteY104" fmla="*/ 2373 h 10015"/>
                <a:gd name="connsiteX105" fmla="*/ 96 w 10000"/>
                <a:gd name="connsiteY105" fmla="*/ 2483 h 10015"/>
                <a:gd name="connsiteX106" fmla="*/ 74 w 10000"/>
                <a:gd name="connsiteY106" fmla="*/ 2594 h 10015"/>
                <a:gd name="connsiteX107" fmla="*/ 52 w 10000"/>
                <a:gd name="connsiteY107" fmla="*/ 2709 h 10015"/>
                <a:gd name="connsiteX108" fmla="*/ 37 w 10000"/>
                <a:gd name="connsiteY108" fmla="*/ 2819 h 10015"/>
                <a:gd name="connsiteX109" fmla="*/ 22 w 10000"/>
                <a:gd name="connsiteY109" fmla="*/ 2929 h 10015"/>
                <a:gd name="connsiteX110" fmla="*/ 15 w 10000"/>
                <a:gd name="connsiteY110" fmla="*/ 3039 h 10015"/>
                <a:gd name="connsiteX111" fmla="*/ 7 w 10000"/>
                <a:gd name="connsiteY111" fmla="*/ 3153 h 10015"/>
                <a:gd name="connsiteX112" fmla="*/ 0 w 10000"/>
                <a:gd name="connsiteY112" fmla="*/ 3264 h 10015"/>
                <a:gd name="connsiteX113" fmla="*/ 0 w 10000"/>
                <a:gd name="connsiteY113" fmla="*/ 3379 h 10015"/>
                <a:gd name="connsiteX114" fmla="*/ 7 w 10000"/>
                <a:gd name="connsiteY114" fmla="*/ 3526 h 10015"/>
                <a:gd name="connsiteX115" fmla="*/ 7 w 10000"/>
                <a:gd name="connsiteY115" fmla="*/ 3672 h 10015"/>
                <a:gd name="connsiteX116" fmla="*/ 22 w 10000"/>
                <a:gd name="connsiteY116" fmla="*/ 3810 h 10015"/>
                <a:gd name="connsiteX117" fmla="*/ 37 w 10000"/>
                <a:gd name="connsiteY117" fmla="*/ 3953 h 10015"/>
                <a:gd name="connsiteX118" fmla="*/ 59 w 10000"/>
                <a:gd name="connsiteY118" fmla="*/ 4095 h 10015"/>
                <a:gd name="connsiteX119" fmla="*/ 89 w 10000"/>
                <a:gd name="connsiteY119" fmla="*/ 4237 h 10015"/>
                <a:gd name="connsiteX120" fmla="*/ 119 w 10000"/>
                <a:gd name="connsiteY120" fmla="*/ 4379 h 10015"/>
                <a:gd name="connsiteX121" fmla="*/ 148 w 10000"/>
                <a:gd name="connsiteY121" fmla="*/ 4521 h 10015"/>
                <a:gd name="connsiteX122" fmla="*/ 193 w 10000"/>
                <a:gd name="connsiteY122" fmla="*/ 4660 h 10015"/>
                <a:gd name="connsiteX123" fmla="*/ 237 w 10000"/>
                <a:gd name="connsiteY123" fmla="*/ 4797 h 10015"/>
                <a:gd name="connsiteX124" fmla="*/ 282 w 10000"/>
                <a:gd name="connsiteY124" fmla="*/ 4935 h 10015"/>
                <a:gd name="connsiteX125" fmla="*/ 334 w 10000"/>
                <a:gd name="connsiteY125" fmla="*/ 5072 h 10015"/>
                <a:gd name="connsiteX126" fmla="*/ 393 w 10000"/>
                <a:gd name="connsiteY126" fmla="*/ 5205 h 10015"/>
                <a:gd name="connsiteX127" fmla="*/ 452 w 10000"/>
                <a:gd name="connsiteY127" fmla="*/ 5338 h 10015"/>
                <a:gd name="connsiteX128" fmla="*/ 519 w 10000"/>
                <a:gd name="connsiteY128" fmla="*/ 5472 h 10015"/>
                <a:gd name="connsiteX129" fmla="*/ 586 w 10000"/>
                <a:gd name="connsiteY129" fmla="*/ 5605 h 10015"/>
                <a:gd name="connsiteX130" fmla="*/ 660 w 10000"/>
                <a:gd name="connsiteY130" fmla="*/ 5733 h 10015"/>
                <a:gd name="connsiteX131" fmla="*/ 741 w 10000"/>
                <a:gd name="connsiteY131" fmla="*/ 5861 h 10015"/>
                <a:gd name="connsiteX132" fmla="*/ 823 w 10000"/>
                <a:gd name="connsiteY132" fmla="*/ 5994 h 10015"/>
                <a:gd name="connsiteX133" fmla="*/ 904 w 10000"/>
                <a:gd name="connsiteY133" fmla="*/ 6119 h 10015"/>
                <a:gd name="connsiteX134" fmla="*/ 993 w 10000"/>
                <a:gd name="connsiteY134" fmla="*/ 6243 h 10015"/>
                <a:gd name="connsiteX135" fmla="*/ 1090 w 10000"/>
                <a:gd name="connsiteY135" fmla="*/ 6362 h 10015"/>
                <a:gd name="connsiteX136" fmla="*/ 1186 w 10000"/>
                <a:gd name="connsiteY136" fmla="*/ 6486 h 10015"/>
                <a:gd name="connsiteX137" fmla="*/ 1290 w 10000"/>
                <a:gd name="connsiteY137" fmla="*/ 6609 h 10015"/>
                <a:gd name="connsiteX138" fmla="*/ 1386 w 10000"/>
                <a:gd name="connsiteY138" fmla="*/ 6729 h 10015"/>
                <a:gd name="connsiteX139" fmla="*/ 1497 w 10000"/>
                <a:gd name="connsiteY139" fmla="*/ 6849 h 10015"/>
                <a:gd name="connsiteX140" fmla="*/ 1609 w 10000"/>
                <a:gd name="connsiteY140" fmla="*/ 6963 h 10015"/>
                <a:gd name="connsiteX141" fmla="*/ 1727 w 10000"/>
                <a:gd name="connsiteY141" fmla="*/ 7082 h 10015"/>
                <a:gd name="connsiteX142" fmla="*/ 1846 w 10000"/>
                <a:gd name="connsiteY142" fmla="*/ 7197 h 10015"/>
                <a:gd name="connsiteX143" fmla="*/ 1964 w 10000"/>
                <a:gd name="connsiteY143" fmla="*/ 7307 h 10015"/>
                <a:gd name="connsiteX144" fmla="*/ 2090 w 10000"/>
                <a:gd name="connsiteY144" fmla="*/ 7417 h 10015"/>
                <a:gd name="connsiteX145" fmla="*/ 2224 w 10000"/>
                <a:gd name="connsiteY145" fmla="*/ 7528 h 10015"/>
                <a:gd name="connsiteX146" fmla="*/ 2350 w 10000"/>
                <a:gd name="connsiteY146" fmla="*/ 7638 h 10015"/>
                <a:gd name="connsiteX147" fmla="*/ 2491 w 10000"/>
                <a:gd name="connsiteY147" fmla="*/ 7743 h 10015"/>
                <a:gd name="connsiteX148" fmla="*/ 2617 w 10000"/>
                <a:gd name="connsiteY148" fmla="*/ 7849 h 10015"/>
                <a:gd name="connsiteX149" fmla="*/ 2765 w 10000"/>
                <a:gd name="connsiteY149" fmla="*/ 7950 h 10015"/>
                <a:gd name="connsiteX150" fmla="*/ 2906 w 10000"/>
                <a:gd name="connsiteY150" fmla="*/ 8050 h 10015"/>
                <a:gd name="connsiteX151" fmla="*/ 3054 w 10000"/>
                <a:gd name="connsiteY151" fmla="*/ 8151 h 10015"/>
                <a:gd name="connsiteX152" fmla="*/ 3210 w 10000"/>
                <a:gd name="connsiteY152" fmla="*/ 8249 h 10015"/>
                <a:gd name="connsiteX153" fmla="*/ 3358 w 10000"/>
                <a:gd name="connsiteY153" fmla="*/ 8345 h 10015"/>
                <a:gd name="connsiteX154" fmla="*/ 3514 w 10000"/>
                <a:gd name="connsiteY154" fmla="*/ 8441 h 10015"/>
                <a:gd name="connsiteX155" fmla="*/ 3677 w 10000"/>
                <a:gd name="connsiteY155" fmla="*/ 8533 h 10015"/>
                <a:gd name="connsiteX156" fmla="*/ 3840 w 10000"/>
                <a:gd name="connsiteY156" fmla="*/ 8620 h 10015"/>
                <a:gd name="connsiteX157" fmla="*/ 4010 w 10000"/>
                <a:gd name="connsiteY157" fmla="*/ 8711 h 10015"/>
                <a:gd name="connsiteX158" fmla="*/ 4181 w 10000"/>
                <a:gd name="connsiteY158" fmla="*/ 8789 h 10015"/>
                <a:gd name="connsiteX159" fmla="*/ 4351 w 10000"/>
                <a:gd name="connsiteY159" fmla="*/ 8876 h 10015"/>
                <a:gd name="connsiteX160" fmla="*/ 4522 w 10000"/>
                <a:gd name="connsiteY160" fmla="*/ 8955 h 10015"/>
                <a:gd name="connsiteX161" fmla="*/ 4700 w 10000"/>
                <a:gd name="connsiteY161" fmla="*/ 9038 h 10015"/>
                <a:gd name="connsiteX162" fmla="*/ 4878 w 10000"/>
                <a:gd name="connsiteY162" fmla="*/ 9116 h 10015"/>
                <a:gd name="connsiteX163" fmla="*/ 5063 w 10000"/>
                <a:gd name="connsiteY163" fmla="*/ 9189 h 10015"/>
                <a:gd name="connsiteX164" fmla="*/ 5248 w 10000"/>
                <a:gd name="connsiteY164" fmla="*/ 9267 h 10015"/>
                <a:gd name="connsiteX165" fmla="*/ 5426 w 10000"/>
                <a:gd name="connsiteY165" fmla="*/ 9336 h 10015"/>
                <a:gd name="connsiteX166" fmla="*/ 5619 w 10000"/>
                <a:gd name="connsiteY166" fmla="*/ 9404 h 10015"/>
                <a:gd name="connsiteX167" fmla="*/ 5812 w 10000"/>
                <a:gd name="connsiteY167" fmla="*/ 9473 h 10015"/>
                <a:gd name="connsiteX168" fmla="*/ 6004 w 10000"/>
                <a:gd name="connsiteY168" fmla="*/ 9537 h 10015"/>
                <a:gd name="connsiteX169" fmla="*/ 6205 w 10000"/>
                <a:gd name="connsiteY169" fmla="*/ 9602 h 10015"/>
                <a:gd name="connsiteX170" fmla="*/ 6397 w 10000"/>
                <a:gd name="connsiteY170" fmla="*/ 9662 h 10015"/>
                <a:gd name="connsiteX171" fmla="*/ 6605 w 10000"/>
                <a:gd name="connsiteY171" fmla="*/ 9717 h 10015"/>
                <a:gd name="connsiteX172" fmla="*/ 6805 w 10000"/>
                <a:gd name="connsiteY172" fmla="*/ 9772 h 10015"/>
                <a:gd name="connsiteX173" fmla="*/ 7005 w 10000"/>
                <a:gd name="connsiteY173" fmla="*/ 9827 h 10015"/>
                <a:gd name="connsiteX174" fmla="*/ 7213 w 10000"/>
                <a:gd name="connsiteY174" fmla="*/ 9878 h 10015"/>
                <a:gd name="connsiteX175" fmla="*/ 7420 w 10000"/>
                <a:gd name="connsiteY175" fmla="*/ 9923 h 10015"/>
                <a:gd name="connsiteX176" fmla="*/ 7628 w 10000"/>
                <a:gd name="connsiteY176" fmla="*/ 9969 h 10015"/>
                <a:gd name="connsiteX177" fmla="*/ 7835 w 10000"/>
                <a:gd name="connsiteY177" fmla="*/ 10015 h 10015"/>
                <a:gd name="connsiteX178" fmla="*/ 7539 w 10000"/>
                <a:gd name="connsiteY178" fmla="*/ 7766 h 10015"/>
                <a:gd name="connsiteX179" fmla="*/ 10000 w 10000"/>
                <a:gd name="connsiteY179" fmla="*/ 6151 h 10015"/>
                <a:gd name="connsiteX0" fmla="*/ 10000 w 10000"/>
                <a:gd name="connsiteY0" fmla="*/ 6151 h 10015"/>
                <a:gd name="connsiteX1" fmla="*/ 10000 w 10000"/>
                <a:gd name="connsiteY1" fmla="*/ 6151 h 10015"/>
                <a:gd name="connsiteX2" fmla="*/ 9911 w 10000"/>
                <a:gd name="connsiteY2" fmla="*/ 6137 h 10015"/>
                <a:gd name="connsiteX3" fmla="*/ 9815 w 10000"/>
                <a:gd name="connsiteY3" fmla="*/ 6119 h 10015"/>
                <a:gd name="connsiteX4" fmla="*/ 9726 w 10000"/>
                <a:gd name="connsiteY4" fmla="*/ 6101 h 10015"/>
                <a:gd name="connsiteX5" fmla="*/ 9637 w 10000"/>
                <a:gd name="connsiteY5" fmla="*/ 6077 h 10015"/>
                <a:gd name="connsiteX6" fmla="*/ 9548 w 10000"/>
                <a:gd name="connsiteY6" fmla="*/ 6058 h 10015"/>
                <a:gd name="connsiteX7" fmla="*/ 9466 w 10000"/>
                <a:gd name="connsiteY7" fmla="*/ 6036 h 10015"/>
                <a:gd name="connsiteX8" fmla="*/ 9377 w 10000"/>
                <a:gd name="connsiteY8" fmla="*/ 6013 h 10015"/>
                <a:gd name="connsiteX9" fmla="*/ 9288 w 10000"/>
                <a:gd name="connsiteY9" fmla="*/ 5990 h 10015"/>
                <a:gd name="connsiteX10" fmla="*/ 9118 w 10000"/>
                <a:gd name="connsiteY10" fmla="*/ 5939 h 10015"/>
                <a:gd name="connsiteX11" fmla="*/ 8955 w 10000"/>
                <a:gd name="connsiteY11" fmla="*/ 5884 h 10015"/>
                <a:gd name="connsiteX12" fmla="*/ 8792 w 10000"/>
                <a:gd name="connsiteY12" fmla="*/ 5825 h 10015"/>
                <a:gd name="connsiteX13" fmla="*/ 8636 w 10000"/>
                <a:gd name="connsiteY13" fmla="*/ 5761 h 10015"/>
                <a:gd name="connsiteX14" fmla="*/ 8480 w 10000"/>
                <a:gd name="connsiteY14" fmla="*/ 5696 h 10015"/>
                <a:gd name="connsiteX15" fmla="*/ 8340 w 10000"/>
                <a:gd name="connsiteY15" fmla="*/ 5628 h 10015"/>
                <a:gd name="connsiteX16" fmla="*/ 8199 w 10000"/>
                <a:gd name="connsiteY16" fmla="*/ 5554 h 10015"/>
                <a:gd name="connsiteX17" fmla="*/ 8058 w 10000"/>
                <a:gd name="connsiteY17" fmla="*/ 5476 h 10015"/>
                <a:gd name="connsiteX18" fmla="*/ 7924 w 10000"/>
                <a:gd name="connsiteY18" fmla="*/ 5394 h 10015"/>
                <a:gd name="connsiteX19" fmla="*/ 7798 w 10000"/>
                <a:gd name="connsiteY19" fmla="*/ 5310 h 10015"/>
                <a:gd name="connsiteX20" fmla="*/ 7672 w 10000"/>
                <a:gd name="connsiteY20" fmla="*/ 5223 h 10015"/>
                <a:gd name="connsiteX21" fmla="*/ 7554 w 10000"/>
                <a:gd name="connsiteY21" fmla="*/ 5136 h 10015"/>
                <a:gd name="connsiteX22" fmla="*/ 7450 w 10000"/>
                <a:gd name="connsiteY22" fmla="*/ 5040 h 10015"/>
                <a:gd name="connsiteX23" fmla="*/ 7346 w 10000"/>
                <a:gd name="connsiteY23" fmla="*/ 4944 h 10015"/>
                <a:gd name="connsiteX24" fmla="*/ 7250 w 10000"/>
                <a:gd name="connsiteY24" fmla="*/ 4848 h 10015"/>
                <a:gd name="connsiteX25" fmla="*/ 7161 w 10000"/>
                <a:gd name="connsiteY25" fmla="*/ 4747 h 10015"/>
                <a:gd name="connsiteX26" fmla="*/ 7072 w 10000"/>
                <a:gd name="connsiteY26" fmla="*/ 4645 h 10015"/>
                <a:gd name="connsiteX27" fmla="*/ 6990 w 10000"/>
                <a:gd name="connsiteY27" fmla="*/ 4535 h 10015"/>
                <a:gd name="connsiteX28" fmla="*/ 6953 w 10000"/>
                <a:gd name="connsiteY28" fmla="*/ 4485 h 10015"/>
                <a:gd name="connsiteX29" fmla="*/ 6916 w 10000"/>
                <a:gd name="connsiteY29" fmla="*/ 4430 h 10015"/>
                <a:gd name="connsiteX30" fmla="*/ 6887 w 10000"/>
                <a:gd name="connsiteY30" fmla="*/ 4375 h 10015"/>
                <a:gd name="connsiteX31" fmla="*/ 6850 w 10000"/>
                <a:gd name="connsiteY31" fmla="*/ 4320 h 10015"/>
                <a:gd name="connsiteX32" fmla="*/ 6820 w 10000"/>
                <a:gd name="connsiteY32" fmla="*/ 4265 h 10015"/>
                <a:gd name="connsiteX33" fmla="*/ 6790 w 10000"/>
                <a:gd name="connsiteY33" fmla="*/ 4210 h 10015"/>
                <a:gd name="connsiteX34" fmla="*/ 6768 w 10000"/>
                <a:gd name="connsiteY34" fmla="*/ 4150 h 10015"/>
                <a:gd name="connsiteX35" fmla="*/ 6738 w 10000"/>
                <a:gd name="connsiteY35" fmla="*/ 4095 h 10015"/>
                <a:gd name="connsiteX36" fmla="*/ 6723 w 10000"/>
                <a:gd name="connsiteY36" fmla="*/ 4035 h 10015"/>
                <a:gd name="connsiteX37" fmla="*/ 6694 w 10000"/>
                <a:gd name="connsiteY37" fmla="*/ 3980 h 10015"/>
                <a:gd name="connsiteX38" fmla="*/ 6679 w 10000"/>
                <a:gd name="connsiteY38" fmla="*/ 3920 h 10015"/>
                <a:gd name="connsiteX39" fmla="*/ 6664 w 10000"/>
                <a:gd name="connsiteY39" fmla="*/ 3860 h 10015"/>
                <a:gd name="connsiteX40" fmla="*/ 6649 w 10000"/>
                <a:gd name="connsiteY40" fmla="*/ 3801 h 10015"/>
                <a:gd name="connsiteX41" fmla="*/ 6635 w 10000"/>
                <a:gd name="connsiteY41" fmla="*/ 3746 h 10015"/>
                <a:gd name="connsiteX42" fmla="*/ 6620 w 10000"/>
                <a:gd name="connsiteY42" fmla="*/ 3686 h 10015"/>
                <a:gd name="connsiteX43" fmla="*/ 6612 w 10000"/>
                <a:gd name="connsiteY43" fmla="*/ 3627 h 10015"/>
                <a:gd name="connsiteX44" fmla="*/ 6605 w 10000"/>
                <a:gd name="connsiteY44" fmla="*/ 3567 h 10015"/>
                <a:gd name="connsiteX45" fmla="*/ 6597 w 10000"/>
                <a:gd name="connsiteY45" fmla="*/ 3503 h 10015"/>
                <a:gd name="connsiteX46" fmla="*/ 6597 w 10000"/>
                <a:gd name="connsiteY46" fmla="*/ 3443 h 10015"/>
                <a:gd name="connsiteX47" fmla="*/ 6590 w 10000"/>
                <a:gd name="connsiteY47" fmla="*/ 3379 h 10015"/>
                <a:gd name="connsiteX48" fmla="*/ 6597 w 10000"/>
                <a:gd name="connsiteY48" fmla="*/ 3319 h 10015"/>
                <a:gd name="connsiteX49" fmla="*/ 6605 w 10000"/>
                <a:gd name="connsiteY49" fmla="*/ 3251 h 10015"/>
                <a:gd name="connsiteX50" fmla="*/ 6605 w 10000"/>
                <a:gd name="connsiteY50" fmla="*/ 3186 h 10015"/>
                <a:gd name="connsiteX51" fmla="*/ 6612 w 10000"/>
                <a:gd name="connsiteY51" fmla="*/ 3121 h 10015"/>
                <a:gd name="connsiteX52" fmla="*/ 6620 w 10000"/>
                <a:gd name="connsiteY52" fmla="*/ 3057 h 10015"/>
                <a:gd name="connsiteX53" fmla="*/ 6635 w 10000"/>
                <a:gd name="connsiteY53" fmla="*/ 2998 h 10015"/>
                <a:gd name="connsiteX54" fmla="*/ 6649 w 10000"/>
                <a:gd name="connsiteY54" fmla="*/ 2934 h 10015"/>
                <a:gd name="connsiteX55" fmla="*/ 6664 w 10000"/>
                <a:gd name="connsiteY55" fmla="*/ 2874 h 10015"/>
                <a:gd name="connsiteX56" fmla="*/ 6686 w 10000"/>
                <a:gd name="connsiteY56" fmla="*/ 2810 h 10015"/>
                <a:gd name="connsiteX57" fmla="*/ 6709 w 10000"/>
                <a:gd name="connsiteY57" fmla="*/ 2750 h 10015"/>
                <a:gd name="connsiteX58" fmla="*/ 6731 w 10000"/>
                <a:gd name="connsiteY58" fmla="*/ 2691 h 10015"/>
                <a:gd name="connsiteX59" fmla="*/ 6753 w 10000"/>
                <a:gd name="connsiteY59" fmla="*/ 2626 h 10015"/>
                <a:gd name="connsiteX60" fmla="*/ 6783 w 10000"/>
                <a:gd name="connsiteY60" fmla="*/ 2571 h 10015"/>
                <a:gd name="connsiteX61" fmla="*/ 6812 w 10000"/>
                <a:gd name="connsiteY61" fmla="*/ 2511 h 10015"/>
                <a:gd name="connsiteX62" fmla="*/ 6842 w 10000"/>
                <a:gd name="connsiteY62" fmla="*/ 2451 h 10015"/>
                <a:gd name="connsiteX63" fmla="*/ 6879 w 10000"/>
                <a:gd name="connsiteY63" fmla="*/ 2392 h 10015"/>
                <a:gd name="connsiteX64" fmla="*/ 6909 w 10000"/>
                <a:gd name="connsiteY64" fmla="*/ 2337 h 10015"/>
                <a:gd name="connsiteX65" fmla="*/ 6946 w 10000"/>
                <a:gd name="connsiteY65" fmla="*/ 2277 h 10015"/>
                <a:gd name="connsiteX66" fmla="*/ 6990 w 10000"/>
                <a:gd name="connsiteY66" fmla="*/ 2222 h 10015"/>
                <a:gd name="connsiteX67" fmla="*/ 7027 w 10000"/>
                <a:gd name="connsiteY67" fmla="*/ 2167 h 10015"/>
                <a:gd name="connsiteX68" fmla="*/ 7072 w 10000"/>
                <a:gd name="connsiteY68" fmla="*/ 2112 h 10015"/>
                <a:gd name="connsiteX69" fmla="*/ 7109 w 10000"/>
                <a:gd name="connsiteY69" fmla="*/ 2057 h 10015"/>
                <a:gd name="connsiteX70" fmla="*/ 7161 w 10000"/>
                <a:gd name="connsiteY70" fmla="*/ 2007 h 10015"/>
                <a:gd name="connsiteX71" fmla="*/ 7213 w 10000"/>
                <a:gd name="connsiteY71" fmla="*/ 1952 h 10015"/>
                <a:gd name="connsiteX72" fmla="*/ 7257 w 10000"/>
                <a:gd name="connsiteY72" fmla="*/ 1897 h 10015"/>
                <a:gd name="connsiteX73" fmla="*/ 7309 w 10000"/>
                <a:gd name="connsiteY73" fmla="*/ 1846 h 10015"/>
                <a:gd name="connsiteX74" fmla="*/ 7361 w 10000"/>
                <a:gd name="connsiteY74" fmla="*/ 1795 h 10015"/>
                <a:gd name="connsiteX75" fmla="*/ 7413 w 10000"/>
                <a:gd name="connsiteY75" fmla="*/ 1745 h 10015"/>
                <a:gd name="connsiteX76" fmla="*/ 7472 w 10000"/>
                <a:gd name="connsiteY76" fmla="*/ 1694 h 10015"/>
                <a:gd name="connsiteX77" fmla="*/ 7524 w 10000"/>
                <a:gd name="connsiteY77" fmla="*/ 1648 h 10015"/>
                <a:gd name="connsiteX78" fmla="*/ 7583 w 10000"/>
                <a:gd name="connsiteY78" fmla="*/ 1602 h 10015"/>
                <a:gd name="connsiteX79" fmla="*/ 7610 w 10000"/>
                <a:gd name="connsiteY79" fmla="*/ 1573 h 10015"/>
                <a:gd name="connsiteX80" fmla="*/ 5390 w 10000"/>
                <a:gd name="connsiteY80" fmla="*/ 0 h 10015"/>
                <a:gd name="connsiteX81" fmla="*/ 1423 w 10000"/>
                <a:gd name="connsiteY81" fmla="*/ 8 h 10015"/>
                <a:gd name="connsiteX82" fmla="*/ 1305 w 10000"/>
                <a:gd name="connsiteY82" fmla="*/ 129 h 10015"/>
                <a:gd name="connsiteX83" fmla="*/ 1223 w 10000"/>
                <a:gd name="connsiteY83" fmla="*/ 221 h 10015"/>
                <a:gd name="connsiteX84" fmla="*/ 1149 w 10000"/>
                <a:gd name="connsiteY84" fmla="*/ 317 h 10015"/>
                <a:gd name="connsiteX85" fmla="*/ 1067 w 10000"/>
                <a:gd name="connsiteY85" fmla="*/ 414 h 10015"/>
                <a:gd name="connsiteX86" fmla="*/ 1001 w 10000"/>
                <a:gd name="connsiteY86" fmla="*/ 511 h 10015"/>
                <a:gd name="connsiteX87" fmla="*/ 927 w 10000"/>
                <a:gd name="connsiteY87" fmla="*/ 607 h 10015"/>
                <a:gd name="connsiteX88" fmla="*/ 860 w 10000"/>
                <a:gd name="connsiteY88" fmla="*/ 708 h 10015"/>
                <a:gd name="connsiteX89" fmla="*/ 793 w 10000"/>
                <a:gd name="connsiteY89" fmla="*/ 809 h 10015"/>
                <a:gd name="connsiteX90" fmla="*/ 734 w 10000"/>
                <a:gd name="connsiteY90" fmla="*/ 905 h 10015"/>
                <a:gd name="connsiteX91" fmla="*/ 675 w 10000"/>
                <a:gd name="connsiteY91" fmla="*/ 1006 h 10015"/>
                <a:gd name="connsiteX92" fmla="*/ 615 w 10000"/>
                <a:gd name="connsiteY92" fmla="*/ 1107 h 10015"/>
                <a:gd name="connsiteX93" fmla="*/ 556 w 10000"/>
                <a:gd name="connsiteY93" fmla="*/ 1213 h 10015"/>
                <a:gd name="connsiteX94" fmla="*/ 504 w 10000"/>
                <a:gd name="connsiteY94" fmla="*/ 1309 h 10015"/>
                <a:gd name="connsiteX95" fmla="*/ 452 w 10000"/>
                <a:gd name="connsiteY95" fmla="*/ 1415 h 10015"/>
                <a:gd name="connsiteX96" fmla="*/ 408 w 10000"/>
                <a:gd name="connsiteY96" fmla="*/ 1515 h 10015"/>
                <a:gd name="connsiteX97" fmla="*/ 363 w 10000"/>
                <a:gd name="connsiteY97" fmla="*/ 1621 h 10015"/>
                <a:gd name="connsiteX98" fmla="*/ 319 w 10000"/>
                <a:gd name="connsiteY98" fmla="*/ 1726 h 10015"/>
                <a:gd name="connsiteX99" fmla="*/ 282 w 10000"/>
                <a:gd name="connsiteY99" fmla="*/ 1833 h 10015"/>
                <a:gd name="connsiteX100" fmla="*/ 237 w 10000"/>
                <a:gd name="connsiteY100" fmla="*/ 1943 h 10015"/>
                <a:gd name="connsiteX101" fmla="*/ 208 w 10000"/>
                <a:gd name="connsiteY101" fmla="*/ 2048 h 10015"/>
                <a:gd name="connsiteX102" fmla="*/ 170 w 10000"/>
                <a:gd name="connsiteY102" fmla="*/ 2158 h 10015"/>
                <a:gd name="connsiteX103" fmla="*/ 148 w 10000"/>
                <a:gd name="connsiteY103" fmla="*/ 2268 h 10015"/>
                <a:gd name="connsiteX104" fmla="*/ 119 w 10000"/>
                <a:gd name="connsiteY104" fmla="*/ 2373 h 10015"/>
                <a:gd name="connsiteX105" fmla="*/ 96 w 10000"/>
                <a:gd name="connsiteY105" fmla="*/ 2483 h 10015"/>
                <a:gd name="connsiteX106" fmla="*/ 74 w 10000"/>
                <a:gd name="connsiteY106" fmla="*/ 2594 h 10015"/>
                <a:gd name="connsiteX107" fmla="*/ 52 w 10000"/>
                <a:gd name="connsiteY107" fmla="*/ 2709 h 10015"/>
                <a:gd name="connsiteX108" fmla="*/ 37 w 10000"/>
                <a:gd name="connsiteY108" fmla="*/ 2819 h 10015"/>
                <a:gd name="connsiteX109" fmla="*/ 22 w 10000"/>
                <a:gd name="connsiteY109" fmla="*/ 2929 h 10015"/>
                <a:gd name="connsiteX110" fmla="*/ 15 w 10000"/>
                <a:gd name="connsiteY110" fmla="*/ 3039 h 10015"/>
                <a:gd name="connsiteX111" fmla="*/ 7 w 10000"/>
                <a:gd name="connsiteY111" fmla="*/ 3153 h 10015"/>
                <a:gd name="connsiteX112" fmla="*/ 0 w 10000"/>
                <a:gd name="connsiteY112" fmla="*/ 3264 h 10015"/>
                <a:gd name="connsiteX113" fmla="*/ 0 w 10000"/>
                <a:gd name="connsiteY113" fmla="*/ 3379 h 10015"/>
                <a:gd name="connsiteX114" fmla="*/ 7 w 10000"/>
                <a:gd name="connsiteY114" fmla="*/ 3526 h 10015"/>
                <a:gd name="connsiteX115" fmla="*/ 7 w 10000"/>
                <a:gd name="connsiteY115" fmla="*/ 3672 h 10015"/>
                <a:gd name="connsiteX116" fmla="*/ 22 w 10000"/>
                <a:gd name="connsiteY116" fmla="*/ 3810 h 10015"/>
                <a:gd name="connsiteX117" fmla="*/ 37 w 10000"/>
                <a:gd name="connsiteY117" fmla="*/ 3953 h 10015"/>
                <a:gd name="connsiteX118" fmla="*/ 59 w 10000"/>
                <a:gd name="connsiteY118" fmla="*/ 4095 h 10015"/>
                <a:gd name="connsiteX119" fmla="*/ 89 w 10000"/>
                <a:gd name="connsiteY119" fmla="*/ 4237 h 10015"/>
                <a:gd name="connsiteX120" fmla="*/ 119 w 10000"/>
                <a:gd name="connsiteY120" fmla="*/ 4379 h 10015"/>
                <a:gd name="connsiteX121" fmla="*/ 148 w 10000"/>
                <a:gd name="connsiteY121" fmla="*/ 4521 h 10015"/>
                <a:gd name="connsiteX122" fmla="*/ 193 w 10000"/>
                <a:gd name="connsiteY122" fmla="*/ 4660 h 10015"/>
                <a:gd name="connsiteX123" fmla="*/ 237 w 10000"/>
                <a:gd name="connsiteY123" fmla="*/ 4797 h 10015"/>
                <a:gd name="connsiteX124" fmla="*/ 282 w 10000"/>
                <a:gd name="connsiteY124" fmla="*/ 4935 h 10015"/>
                <a:gd name="connsiteX125" fmla="*/ 334 w 10000"/>
                <a:gd name="connsiteY125" fmla="*/ 5072 h 10015"/>
                <a:gd name="connsiteX126" fmla="*/ 393 w 10000"/>
                <a:gd name="connsiteY126" fmla="*/ 5205 h 10015"/>
                <a:gd name="connsiteX127" fmla="*/ 452 w 10000"/>
                <a:gd name="connsiteY127" fmla="*/ 5338 h 10015"/>
                <a:gd name="connsiteX128" fmla="*/ 519 w 10000"/>
                <a:gd name="connsiteY128" fmla="*/ 5472 h 10015"/>
                <a:gd name="connsiteX129" fmla="*/ 586 w 10000"/>
                <a:gd name="connsiteY129" fmla="*/ 5605 h 10015"/>
                <a:gd name="connsiteX130" fmla="*/ 660 w 10000"/>
                <a:gd name="connsiteY130" fmla="*/ 5733 h 10015"/>
                <a:gd name="connsiteX131" fmla="*/ 741 w 10000"/>
                <a:gd name="connsiteY131" fmla="*/ 5861 h 10015"/>
                <a:gd name="connsiteX132" fmla="*/ 823 w 10000"/>
                <a:gd name="connsiteY132" fmla="*/ 5994 h 10015"/>
                <a:gd name="connsiteX133" fmla="*/ 904 w 10000"/>
                <a:gd name="connsiteY133" fmla="*/ 6119 h 10015"/>
                <a:gd name="connsiteX134" fmla="*/ 993 w 10000"/>
                <a:gd name="connsiteY134" fmla="*/ 6243 h 10015"/>
                <a:gd name="connsiteX135" fmla="*/ 1090 w 10000"/>
                <a:gd name="connsiteY135" fmla="*/ 6362 h 10015"/>
                <a:gd name="connsiteX136" fmla="*/ 1186 w 10000"/>
                <a:gd name="connsiteY136" fmla="*/ 6486 h 10015"/>
                <a:gd name="connsiteX137" fmla="*/ 1290 w 10000"/>
                <a:gd name="connsiteY137" fmla="*/ 6609 h 10015"/>
                <a:gd name="connsiteX138" fmla="*/ 1386 w 10000"/>
                <a:gd name="connsiteY138" fmla="*/ 6729 h 10015"/>
                <a:gd name="connsiteX139" fmla="*/ 1497 w 10000"/>
                <a:gd name="connsiteY139" fmla="*/ 6849 h 10015"/>
                <a:gd name="connsiteX140" fmla="*/ 1609 w 10000"/>
                <a:gd name="connsiteY140" fmla="*/ 6963 h 10015"/>
                <a:gd name="connsiteX141" fmla="*/ 1727 w 10000"/>
                <a:gd name="connsiteY141" fmla="*/ 7082 h 10015"/>
                <a:gd name="connsiteX142" fmla="*/ 1846 w 10000"/>
                <a:gd name="connsiteY142" fmla="*/ 7197 h 10015"/>
                <a:gd name="connsiteX143" fmla="*/ 1964 w 10000"/>
                <a:gd name="connsiteY143" fmla="*/ 7307 h 10015"/>
                <a:gd name="connsiteX144" fmla="*/ 2090 w 10000"/>
                <a:gd name="connsiteY144" fmla="*/ 7417 h 10015"/>
                <a:gd name="connsiteX145" fmla="*/ 2224 w 10000"/>
                <a:gd name="connsiteY145" fmla="*/ 7528 h 10015"/>
                <a:gd name="connsiteX146" fmla="*/ 2350 w 10000"/>
                <a:gd name="connsiteY146" fmla="*/ 7638 h 10015"/>
                <a:gd name="connsiteX147" fmla="*/ 2491 w 10000"/>
                <a:gd name="connsiteY147" fmla="*/ 7743 h 10015"/>
                <a:gd name="connsiteX148" fmla="*/ 2617 w 10000"/>
                <a:gd name="connsiteY148" fmla="*/ 7849 h 10015"/>
                <a:gd name="connsiteX149" fmla="*/ 2765 w 10000"/>
                <a:gd name="connsiteY149" fmla="*/ 7950 h 10015"/>
                <a:gd name="connsiteX150" fmla="*/ 2906 w 10000"/>
                <a:gd name="connsiteY150" fmla="*/ 8050 h 10015"/>
                <a:gd name="connsiteX151" fmla="*/ 3054 w 10000"/>
                <a:gd name="connsiteY151" fmla="*/ 8151 h 10015"/>
                <a:gd name="connsiteX152" fmla="*/ 3210 w 10000"/>
                <a:gd name="connsiteY152" fmla="*/ 8249 h 10015"/>
                <a:gd name="connsiteX153" fmla="*/ 3358 w 10000"/>
                <a:gd name="connsiteY153" fmla="*/ 8345 h 10015"/>
                <a:gd name="connsiteX154" fmla="*/ 3514 w 10000"/>
                <a:gd name="connsiteY154" fmla="*/ 8441 h 10015"/>
                <a:gd name="connsiteX155" fmla="*/ 3677 w 10000"/>
                <a:gd name="connsiteY155" fmla="*/ 8533 h 10015"/>
                <a:gd name="connsiteX156" fmla="*/ 3840 w 10000"/>
                <a:gd name="connsiteY156" fmla="*/ 8620 h 10015"/>
                <a:gd name="connsiteX157" fmla="*/ 4010 w 10000"/>
                <a:gd name="connsiteY157" fmla="*/ 8711 h 10015"/>
                <a:gd name="connsiteX158" fmla="*/ 4181 w 10000"/>
                <a:gd name="connsiteY158" fmla="*/ 8789 h 10015"/>
                <a:gd name="connsiteX159" fmla="*/ 4351 w 10000"/>
                <a:gd name="connsiteY159" fmla="*/ 8876 h 10015"/>
                <a:gd name="connsiteX160" fmla="*/ 4522 w 10000"/>
                <a:gd name="connsiteY160" fmla="*/ 8955 h 10015"/>
                <a:gd name="connsiteX161" fmla="*/ 4700 w 10000"/>
                <a:gd name="connsiteY161" fmla="*/ 9038 h 10015"/>
                <a:gd name="connsiteX162" fmla="*/ 4878 w 10000"/>
                <a:gd name="connsiteY162" fmla="*/ 9116 h 10015"/>
                <a:gd name="connsiteX163" fmla="*/ 5063 w 10000"/>
                <a:gd name="connsiteY163" fmla="*/ 9189 h 10015"/>
                <a:gd name="connsiteX164" fmla="*/ 5248 w 10000"/>
                <a:gd name="connsiteY164" fmla="*/ 9267 h 10015"/>
                <a:gd name="connsiteX165" fmla="*/ 5426 w 10000"/>
                <a:gd name="connsiteY165" fmla="*/ 9336 h 10015"/>
                <a:gd name="connsiteX166" fmla="*/ 5619 w 10000"/>
                <a:gd name="connsiteY166" fmla="*/ 9404 h 10015"/>
                <a:gd name="connsiteX167" fmla="*/ 5812 w 10000"/>
                <a:gd name="connsiteY167" fmla="*/ 9473 h 10015"/>
                <a:gd name="connsiteX168" fmla="*/ 6004 w 10000"/>
                <a:gd name="connsiteY168" fmla="*/ 9537 h 10015"/>
                <a:gd name="connsiteX169" fmla="*/ 6205 w 10000"/>
                <a:gd name="connsiteY169" fmla="*/ 9602 h 10015"/>
                <a:gd name="connsiteX170" fmla="*/ 6397 w 10000"/>
                <a:gd name="connsiteY170" fmla="*/ 9662 h 10015"/>
                <a:gd name="connsiteX171" fmla="*/ 6605 w 10000"/>
                <a:gd name="connsiteY171" fmla="*/ 9717 h 10015"/>
                <a:gd name="connsiteX172" fmla="*/ 6805 w 10000"/>
                <a:gd name="connsiteY172" fmla="*/ 9772 h 10015"/>
                <a:gd name="connsiteX173" fmla="*/ 7005 w 10000"/>
                <a:gd name="connsiteY173" fmla="*/ 9827 h 10015"/>
                <a:gd name="connsiteX174" fmla="*/ 7213 w 10000"/>
                <a:gd name="connsiteY174" fmla="*/ 9878 h 10015"/>
                <a:gd name="connsiteX175" fmla="*/ 7420 w 10000"/>
                <a:gd name="connsiteY175" fmla="*/ 9923 h 10015"/>
                <a:gd name="connsiteX176" fmla="*/ 7628 w 10000"/>
                <a:gd name="connsiteY176" fmla="*/ 9969 h 10015"/>
                <a:gd name="connsiteX177" fmla="*/ 7835 w 10000"/>
                <a:gd name="connsiteY177" fmla="*/ 10015 h 10015"/>
                <a:gd name="connsiteX178" fmla="*/ 7539 w 10000"/>
                <a:gd name="connsiteY178" fmla="*/ 7766 h 10015"/>
                <a:gd name="connsiteX179" fmla="*/ 10000 w 10000"/>
                <a:gd name="connsiteY179" fmla="*/ 6151 h 10015"/>
                <a:gd name="connsiteX0" fmla="*/ 10000 w 10000"/>
                <a:gd name="connsiteY0" fmla="*/ 6143 h 10007"/>
                <a:gd name="connsiteX1" fmla="*/ 10000 w 10000"/>
                <a:gd name="connsiteY1" fmla="*/ 6143 h 10007"/>
                <a:gd name="connsiteX2" fmla="*/ 9911 w 10000"/>
                <a:gd name="connsiteY2" fmla="*/ 6129 h 10007"/>
                <a:gd name="connsiteX3" fmla="*/ 9815 w 10000"/>
                <a:gd name="connsiteY3" fmla="*/ 6111 h 10007"/>
                <a:gd name="connsiteX4" fmla="*/ 9726 w 10000"/>
                <a:gd name="connsiteY4" fmla="*/ 6093 h 10007"/>
                <a:gd name="connsiteX5" fmla="*/ 9637 w 10000"/>
                <a:gd name="connsiteY5" fmla="*/ 6069 h 10007"/>
                <a:gd name="connsiteX6" fmla="*/ 9548 w 10000"/>
                <a:gd name="connsiteY6" fmla="*/ 6050 h 10007"/>
                <a:gd name="connsiteX7" fmla="*/ 9466 w 10000"/>
                <a:gd name="connsiteY7" fmla="*/ 6028 h 10007"/>
                <a:gd name="connsiteX8" fmla="*/ 9377 w 10000"/>
                <a:gd name="connsiteY8" fmla="*/ 6005 h 10007"/>
                <a:gd name="connsiteX9" fmla="*/ 9288 w 10000"/>
                <a:gd name="connsiteY9" fmla="*/ 5982 h 10007"/>
                <a:gd name="connsiteX10" fmla="*/ 9118 w 10000"/>
                <a:gd name="connsiteY10" fmla="*/ 5931 h 10007"/>
                <a:gd name="connsiteX11" fmla="*/ 8955 w 10000"/>
                <a:gd name="connsiteY11" fmla="*/ 5876 h 10007"/>
                <a:gd name="connsiteX12" fmla="*/ 8792 w 10000"/>
                <a:gd name="connsiteY12" fmla="*/ 5817 h 10007"/>
                <a:gd name="connsiteX13" fmla="*/ 8636 w 10000"/>
                <a:gd name="connsiteY13" fmla="*/ 5753 h 10007"/>
                <a:gd name="connsiteX14" fmla="*/ 8480 w 10000"/>
                <a:gd name="connsiteY14" fmla="*/ 5688 h 10007"/>
                <a:gd name="connsiteX15" fmla="*/ 8340 w 10000"/>
                <a:gd name="connsiteY15" fmla="*/ 5620 h 10007"/>
                <a:gd name="connsiteX16" fmla="*/ 8199 w 10000"/>
                <a:gd name="connsiteY16" fmla="*/ 5546 h 10007"/>
                <a:gd name="connsiteX17" fmla="*/ 8058 w 10000"/>
                <a:gd name="connsiteY17" fmla="*/ 5468 h 10007"/>
                <a:gd name="connsiteX18" fmla="*/ 7924 w 10000"/>
                <a:gd name="connsiteY18" fmla="*/ 5386 h 10007"/>
                <a:gd name="connsiteX19" fmla="*/ 7798 w 10000"/>
                <a:gd name="connsiteY19" fmla="*/ 5302 h 10007"/>
                <a:gd name="connsiteX20" fmla="*/ 7672 w 10000"/>
                <a:gd name="connsiteY20" fmla="*/ 5215 h 10007"/>
                <a:gd name="connsiteX21" fmla="*/ 7554 w 10000"/>
                <a:gd name="connsiteY21" fmla="*/ 5128 h 10007"/>
                <a:gd name="connsiteX22" fmla="*/ 7450 w 10000"/>
                <a:gd name="connsiteY22" fmla="*/ 5032 h 10007"/>
                <a:gd name="connsiteX23" fmla="*/ 7346 w 10000"/>
                <a:gd name="connsiteY23" fmla="*/ 4936 h 10007"/>
                <a:gd name="connsiteX24" fmla="*/ 7250 w 10000"/>
                <a:gd name="connsiteY24" fmla="*/ 4840 h 10007"/>
                <a:gd name="connsiteX25" fmla="*/ 7161 w 10000"/>
                <a:gd name="connsiteY25" fmla="*/ 4739 h 10007"/>
                <a:gd name="connsiteX26" fmla="*/ 7072 w 10000"/>
                <a:gd name="connsiteY26" fmla="*/ 4637 h 10007"/>
                <a:gd name="connsiteX27" fmla="*/ 6990 w 10000"/>
                <a:gd name="connsiteY27" fmla="*/ 4527 h 10007"/>
                <a:gd name="connsiteX28" fmla="*/ 6953 w 10000"/>
                <a:gd name="connsiteY28" fmla="*/ 4477 h 10007"/>
                <a:gd name="connsiteX29" fmla="*/ 6916 w 10000"/>
                <a:gd name="connsiteY29" fmla="*/ 4422 h 10007"/>
                <a:gd name="connsiteX30" fmla="*/ 6887 w 10000"/>
                <a:gd name="connsiteY30" fmla="*/ 4367 h 10007"/>
                <a:gd name="connsiteX31" fmla="*/ 6850 w 10000"/>
                <a:gd name="connsiteY31" fmla="*/ 4312 h 10007"/>
                <a:gd name="connsiteX32" fmla="*/ 6820 w 10000"/>
                <a:gd name="connsiteY32" fmla="*/ 4257 h 10007"/>
                <a:gd name="connsiteX33" fmla="*/ 6790 w 10000"/>
                <a:gd name="connsiteY33" fmla="*/ 4202 h 10007"/>
                <a:gd name="connsiteX34" fmla="*/ 6768 w 10000"/>
                <a:gd name="connsiteY34" fmla="*/ 4142 h 10007"/>
                <a:gd name="connsiteX35" fmla="*/ 6738 w 10000"/>
                <a:gd name="connsiteY35" fmla="*/ 4087 h 10007"/>
                <a:gd name="connsiteX36" fmla="*/ 6723 w 10000"/>
                <a:gd name="connsiteY36" fmla="*/ 4027 h 10007"/>
                <a:gd name="connsiteX37" fmla="*/ 6694 w 10000"/>
                <a:gd name="connsiteY37" fmla="*/ 3972 h 10007"/>
                <a:gd name="connsiteX38" fmla="*/ 6679 w 10000"/>
                <a:gd name="connsiteY38" fmla="*/ 3912 h 10007"/>
                <a:gd name="connsiteX39" fmla="*/ 6664 w 10000"/>
                <a:gd name="connsiteY39" fmla="*/ 3852 h 10007"/>
                <a:gd name="connsiteX40" fmla="*/ 6649 w 10000"/>
                <a:gd name="connsiteY40" fmla="*/ 3793 h 10007"/>
                <a:gd name="connsiteX41" fmla="*/ 6635 w 10000"/>
                <a:gd name="connsiteY41" fmla="*/ 3738 h 10007"/>
                <a:gd name="connsiteX42" fmla="*/ 6620 w 10000"/>
                <a:gd name="connsiteY42" fmla="*/ 3678 h 10007"/>
                <a:gd name="connsiteX43" fmla="*/ 6612 w 10000"/>
                <a:gd name="connsiteY43" fmla="*/ 3619 h 10007"/>
                <a:gd name="connsiteX44" fmla="*/ 6605 w 10000"/>
                <a:gd name="connsiteY44" fmla="*/ 3559 h 10007"/>
                <a:gd name="connsiteX45" fmla="*/ 6597 w 10000"/>
                <a:gd name="connsiteY45" fmla="*/ 3495 h 10007"/>
                <a:gd name="connsiteX46" fmla="*/ 6597 w 10000"/>
                <a:gd name="connsiteY46" fmla="*/ 3435 h 10007"/>
                <a:gd name="connsiteX47" fmla="*/ 6590 w 10000"/>
                <a:gd name="connsiteY47" fmla="*/ 3371 h 10007"/>
                <a:gd name="connsiteX48" fmla="*/ 6597 w 10000"/>
                <a:gd name="connsiteY48" fmla="*/ 3311 h 10007"/>
                <a:gd name="connsiteX49" fmla="*/ 6605 w 10000"/>
                <a:gd name="connsiteY49" fmla="*/ 3243 h 10007"/>
                <a:gd name="connsiteX50" fmla="*/ 6605 w 10000"/>
                <a:gd name="connsiteY50" fmla="*/ 3178 h 10007"/>
                <a:gd name="connsiteX51" fmla="*/ 6612 w 10000"/>
                <a:gd name="connsiteY51" fmla="*/ 3113 h 10007"/>
                <a:gd name="connsiteX52" fmla="*/ 6620 w 10000"/>
                <a:gd name="connsiteY52" fmla="*/ 3049 h 10007"/>
                <a:gd name="connsiteX53" fmla="*/ 6635 w 10000"/>
                <a:gd name="connsiteY53" fmla="*/ 2990 h 10007"/>
                <a:gd name="connsiteX54" fmla="*/ 6649 w 10000"/>
                <a:gd name="connsiteY54" fmla="*/ 2926 h 10007"/>
                <a:gd name="connsiteX55" fmla="*/ 6664 w 10000"/>
                <a:gd name="connsiteY55" fmla="*/ 2866 h 10007"/>
                <a:gd name="connsiteX56" fmla="*/ 6686 w 10000"/>
                <a:gd name="connsiteY56" fmla="*/ 2802 h 10007"/>
                <a:gd name="connsiteX57" fmla="*/ 6709 w 10000"/>
                <a:gd name="connsiteY57" fmla="*/ 2742 h 10007"/>
                <a:gd name="connsiteX58" fmla="*/ 6731 w 10000"/>
                <a:gd name="connsiteY58" fmla="*/ 2683 h 10007"/>
                <a:gd name="connsiteX59" fmla="*/ 6753 w 10000"/>
                <a:gd name="connsiteY59" fmla="*/ 2618 h 10007"/>
                <a:gd name="connsiteX60" fmla="*/ 6783 w 10000"/>
                <a:gd name="connsiteY60" fmla="*/ 2563 h 10007"/>
                <a:gd name="connsiteX61" fmla="*/ 6812 w 10000"/>
                <a:gd name="connsiteY61" fmla="*/ 2503 h 10007"/>
                <a:gd name="connsiteX62" fmla="*/ 6842 w 10000"/>
                <a:gd name="connsiteY62" fmla="*/ 2443 h 10007"/>
                <a:gd name="connsiteX63" fmla="*/ 6879 w 10000"/>
                <a:gd name="connsiteY63" fmla="*/ 2384 h 10007"/>
                <a:gd name="connsiteX64" fmla="*/ 6909 w 10000"/>
                <a:gd name="connsiteY64" fmla="*/ 2329 h 10007"/>
                <a:gd name="connsiteX65" fmla="*/ 6946 w 10000"/>
                <a:gd name="connsiteY65" fmla="*/ 2269 h 10007"/>
                <a:gd name="connsiteX66" fmla="*/ 6990 w 10000"/>
                <a:gd name="connsiteY66" fmla="*/ 2214 h 10007"/>
                <a:gd name="connsiteX67" fmla="*/ 7027 w 10000"/>
                <a:gd name="connsiteY67" fmla="*/ 2159 h 10007"/>
                <a:gd name="connsiteX68" fmla="*/ 7072 w 10000"/>
                <a:gd name="connsiteY68" fmla="*/ 2104 h 10007"/>
                <a:gd name="connsiteX69" fmla="*/ 7109 w 10000"/>
                <a:gd name="connsiteY69" fmla="*/ 2049 h 10007"/>
                <a:gd name="connsiteX70" fmla="*/ 7161 w 10000"/>
                <a:gd name="connsiteY70" fmla="*/ 1999 h 10007"/>
                <a:gd name="connsiteX71" fmla="*/ 7213 w 10000"/>
                <a:gd name="connsiteY71" fmla="*/ 1944 h 10007"/>
                <a:gd name="connsiteX72" fmla="*/ 7257 w 10000"/>
                <a:gd name="connsiteY72" fmla="*/ 1889 h 10007"/>
                <a:gd name="connsiteX73" fmla="*/ 7309 w 10000"/>
                <a:gd name="connsiteY73" fmla="*/ 1838 h 10007"/>
                <a:gd name="connsiteX74" fmla="*/ 7361 w 10000"/>
                <a:gd name="connsiteY74" fmla="*/ 1787 h 10007"/>
                <a:gd name="connsiteX75" fmla="*/ 7413 w 10000"/>
                <a:gd name="connsiteY75" fmla="*/ 1737 h 10007"/>
                <a:gd name="connsiteX76" fmla="*/ 7472 w 10000"/>
                <a:gd name="connsiteY76" fmla="*/ 1686 h 10007"/>
                <a:gd name="connsiteX77" fmla="*/ 7524 w 10000"/>
                <a:gd name="connsiteY77" fmla="*/ 1640 h 10007"/>
                <a:gd name="connsiteX78" fmla="*/ 7583 w 10000"/>
                <a:gd name="connsiteY78" fmla="*/ 1594 h 10007"/>
                <a:gd name="connsiteX79" fmla="*/ 7610 w 10000"/>
                <a:gd name="connsiteY79" fmla="*/ 1565 h 10007"/>
                <a:gd name="connsiteX80" fmla="*/ 5379 w 10000"/>
                <a:gd name="connsiteY80" fmla="*/ 20 h 10007"/>
                <a:gd name="connsiteX81" fmla="*/ 1423 w 10000"/>
                <a:gd name="connsiteY81" fmla="*/ 0 h 10007"/>
                <a:gd name="connsiteX82" fmla="*/ 1305 w 10000"/>
                <a:gd name="connsiteY82" fmla="*/ 121 h 10007"/>
                <a:gd name="connsiteX83" fmla="*/ 1223 w 10000"/>
                <a:gd name="connsiteY83" fmla="*/ 213 h 10007"/>
                <a:gd name="connsiteX84" fmla="*/ 1149 w 10000"/>
                <a:gd name="connsiteY84" fmla="*/ 309 h 10007"/>
                <a:gd name="connsiteX85" fmla="*/ 1067 w 10000"/>
                <a:gd name="connsiteY85" fmla="*/ 406 h 10007"/>
                <a:gd name="connsiteX86" fmla="*/ 1001 w 10000"/>
                <a:gd name="connsiteY86" fmla="*/ 503 h 10007"/>
                <a:gd name="connsiteX87" fmla="*/ 927 w 10000"/>
                <a:gd name="connsiteY87" fmla="*/ 599 h 10007"/>
                <a:gd name="connsiteX88" fmla="*/ 860 w 10000"/>
                <a:gd name="connsiteY88" fmla="*/ 700 h 10007"/>
                <a:gd name="connsiteX89" fmla="*/ 793 w 10000"/>
                <a:gd name="connsiteY89" fmla="*/ 801 h 10007"/>
                <a:gd name="connsiteX90" fmla="*/ 734 w 10000"/>
                <a:gd name="connsiteY90" fmla="*/ 897 h 10007"/>
                <a:gd name="connsiteX91" fmla="*/ 675 w 10000"/>
                <a:gd name="connsiteY91" fmla="*/ 998 h 10007"/>
                <a:gd name="connsiteX92" fmla="*/ 615 w 10000"/>
                <a:gd name="connsiteY92" fmla="*/ 1099 h 10007"/>
                <a:gd name="connsiteX93" fmla="*/ 556 w 10000"/>
                <a:gd name="connsiteY93" fmla="*/ 1205 h 10007"/>
                <a:gd name="connsiteX94" fmla="*/ 504 w 10000"/>
                <a:gd name="connsiteY94" fmla="*/ 1301 h 10007"/>
                <a:gd name="connsiteX95" fmla="*/ 452 w 10000"/>
                <a:gd name="connsiteY95" fmla="*/ 1407 h 10007"/>
                <a:gd name="connsiteX96" fmla="*/ 408 w 10000"/>
                <a:gd name="connsiteY96" fmla="*/ 1507 h 10007"/>
                <a:gd name="connsiteX97" fmla="*/ 363 w 10000"/>
                <a:gd name="connsiteY97" fmla="*/ 1613 h 10007"/>
                <a:gd name="connsiteX98" fmla="*/ 319 w 10000"/>
                <a:gd name="connsiteY98" fmla="*/ 1718 h 10007"/>
                <a:gd name="connsiteX99" fmla="*/ 282 w 10000"/>
                <a:gd name="connsiteY99" fmla="*/ 1825 h 10007"/>
                <a:gd name="connsiteX100" fmla="*/ 237 w 10000"/>
                <a:gd name="connsiteY100" fmla="*/ 1935 h 10007"/>
                <a:gd name="connsiteX101" fmla="*/ 208 w 10000"/>
                <a:gd name="connsiteY101" fmla="*/ 2040 h 10007"/>
                <a:gd name="connsiteX102" fmla="*/ 170 w 10000"/>
                <a:gd name="connsiteY102" fmla="*/ 2150 h 10007"/>
                <a:gd name="connsiteX103" fmla="*/ 148 w 10000"/>
                <a:gd name="connsiteY103" fmla="*/ 2260 h 10007"/>
                <a:gd name="connsiteX104" fmla="*/ 119 w 10000"/>
                <a:gd name="connsiteY104" fmla="*/ 2365 h 10007"/>
                <a:gd name="connsiteX105" fmla="*/ 96 w 10000"/>
                <a:gd name="connsiteY105" fmla="*/ 2475 h 10007"/>
                <a:gd name="connsiteX106" fmla="*/ 74 w 10000"/>
                <a:gd name="connsiteY106" fmla="*/ 2586 h 10007"/>
                <a:gd name="connsiteX107" fmla="*/ 52 w 10000"/>
                <a:gd name="connsiteY107" fmla="*/ 2701 h 10007"/>
                <a:gd name="connsiteX108" fmla="*/ 37 w 10000"/>
                <a:gd name="connsiteY108" fmla="*/ 2811 h 10007"/>
                <a:gd name="connsiteX109" fmla="*/ 22 w 10000"/>
                <a:gd name="connsiteY109" fmla="*/ 2921 h 10007"/>
                <a:gd name="connsiteX110" fmla="*/ 15 w 10000"/>
                <a:gd name="connsiteY110" fmla="*/ 3031 h 10007"/>
                <a:gd name="connsiteX111" fmla="*/ 7 w 10000"/>
                <a:gd name="connsiteY111" fmla="*/ 3145 h 10007"/>
                <a:gd name="connsiteX112" fmla="*/ 0 w 10000"/>
                <a:gd name="connsiteY112" fmla="*/ 3256 h 10007"/>
                <a:gd name="connsiteX113" fmla="*/ 0 w 10000"/>
                <a:gd name="connsiteY113" fmla="*/ 3371 h 10007"/>
                <a:gd name="connsiteX114" fmla="*/ 7 w 10000"/>
                <a:gd name="connsiteY114" fmla="*/ 3518 h 10007"/>
                <a:gd name="connsiteX115" fmla="*/ 7 w 10000"/>
                <a:gd name="connsiteY115" fmla="*/ 3664 h 10007"/>
                <a:gd name="connsiteX116" fmla="*/ 22 w 10000"/>
                <a:gd name="connsiteY116" fmla="*/ 3802 h 10007"/>
                <a:gd name="connsiteX117" fmla="*/ 37 w 10000"/>
                <a:gd name="connsiteY117" fmla="*/ 3945 h 10007"/>
                <a:gd name="connsiteX118" fmla="*/ 59 w 10000"/>
                <a:gd name="connsiteY118" fmla="*/ 4087 h 10007"/>
                <a:gd name="connsiteX119" fmla="*/ 89 w 10000"/>
                <a:gd name="connsiteY119" fmla="*/ 4229 h 10007"/>
                <a:gd name="connsiteX120" fmla="*/ 119 w 10000"/>
                <a:gd name="connsiteY120" fmla="*/ 4371 h 10007"/>
                <a:gd name="connsiteX121" fmla="*/ 148 w 10000"/>
                <a:gd name="connsiteY121" fmla="*/ 4513 h 10007"/>
                <a:gd name="connsiteX122" fmla="*/ 193 w 10000"/>
                <a:gd name="connsiteY122" fmla="*/ 4652 h 10007"/>
                <a:gd name="connsiteX123" fmla="*/ 237 w 10000"/>
                <a:gd name="connsiteY123" fmla="*/ 4789 h 10007"/>
                <a:gd name="connsiteX124" fmla="*/ 282 w 10000"/>
                <a:gd name="connsiteY124" fmla="*/ 4927 h 10007"/>
                <a:gd name="connsiteX125" fmla="*/ 334 w 10000"/>
                <a:gd name="connsiteY125" fmla="*/ 5064 h 10007"/>
                <a:gd name="connsiteX126" fmla="*/ 393 w 10000"/>
                <a:gd name="connsiteY126" fmla="*/ 5197 h 10007"/>
                <a:gd name="connsiteX127" fmla="*/ 452 w 10000"/>
                <a:gd name="connsiteY127" fmla="*/ 5330 h 10007"/>
                <a:gd name="connsiteX128" fmla="*/ 519 w 10000"/>
                <a:gd name="connsiteY128" fmla="*/ 5464 h 10007"/>
                <a:gd name="connsiteX129" fmla="*/ 586 w 10000"/>
                <a:gd name="connsiteY129" fmla="*/ 5597 h 10007"/>
                <a:gd name="connsiteX130" fmla="*/ 660 w 10000"/>
                <a:gd name="connsiteY130" fmla="*/ 5725 h 10007"/>
                <a:gd name="connsiteX131" fmla="*/ 741 w 10000"/>
                <a:gd name="connsiteY131" fmla="*/ 5853 h 10007"/>
                <a:gd name="connsiteX132" fmla="*/ 823 w 10000"/>
                <a:gd name="connsiteY132" fmla="*/ 5986 h 10007"/>
                <a:gd name="connsiteX133" fmla="*/ 904 w 10000"/>
                <a:gd name="connsiteY133" fmla="*/ 6111 h 10007"/>
                <a:gd name="connsiteX134" fmla="*/ 993 w 10000"/>
                <a:gd name="connsiteY134" fmla="*/ 6235 h 10007"/>
                <a:gd name="connsiteX135" fmla="*/ 1090 w 10000"/>
                <a:gd name="connsiteY135" fmla="*/ 6354 h 10007"/>
                <a:gd name="connsiteX136" fmla="*/ 1186 w 10000"/>
                <a:gd name="connsiteY136" fmla="*/ 6478 h 10007"/>
                <a:gd name="connsiteX137" fmla="*/ 1290 w 10000"/>
                <a:gd name="connsiteY137" fmla="*/ 6601 h 10007"/>
                <a:gd name="connsiteX138" fmla="*/ 1386 w 10000"/>
                <a:gd name="connsiteY138" fmla="*/ 6721 h 10007"/>
                <a:gd name="connsiteX139" fmla="*/ 1497 w 10000"/>
                <a:gd name="connsiteY139" fmla="*/ 6841 h 10007"/>
                <a:gd name="connsiteX140" fmla="*/ 1609 w 10000"/>
                <a:gd name="connsiteY140" fmla="*/ 6955 h 10007"/>
                <a:gd name="connsiteX141" fmla="*/ 1727 w 10000"/>
                <a:gd name="connsiteY141" fmla="*/ 7074 h 10007"/>
                <a:gd name="connsiteX142" fmla="*/ 1846 w 10000"/>
                <a:gd name="connsiteY142" fmla="*/ 7189 h 10007"/>
                <a:gd name="connsiteX143" fmla="*/ 1964 w 10000"/>
                <a:gd name="connsiteY143" fmla="*/ 7299 h 10007"/>
                <a:gd name="connsiteX144" fmla="*/ 2090 w 10000"/>
                <a:gd name="connsiteY144" fmla="*/ 7409 h 10007"/>
                <a:gd name="connsiteX145" fmla="*/ 2224 w 10000"/>
                <a:gd name="connsiteY145" fmla="*/ 7520 h 10007"/>
                <a:gd name="connsiteX146" fmla="*/ 2350 w 10000"/>
                <a:gd name="connsiteY146" fmla="*/ 7630 h 10007"/>
                <a:gd name="connsiteX147" fmla="*/ 2491 w 10000"/>
                <a:gd name="connsiteY147" fmla="*/ 7735 h 10007"/>
                <a:gd name="connsiteX148" fmla="*/ 2617 w 10000"/>
                <a:gd name="connsiteY148" fmla="*/ 7841 h 10007"/>
                <a:gd name="connsiteX149" fmla="*/ 2765 w 10000"/>
                <a:gd name="connsiteY149" fmla="*/ 7942 h 10007"/>
                <a:gd name="connsiteX150" fmla="*/ 2906 w 10000"/>
                <a:gd name="connsiteY150" fmla="*/ 8042 h 10007"/>
                <a:gd name="connsiteX151" fmla="*/ 3054 w 10000"/>
                <a:gd name="connsiteY151" fmla="*/ 8143 h 10007"/>
                <a:gd name="connsiteX152" fmla="*/ 3210 w 10000"/>
                <a:gd name="connsiteY152" fmla="*/ 8241 h 10007"/>
                <a:gd name="connsiteX153" fmla="*/ 3358 w 10000"/>
                <a:gd name="connsiteY153" fmla="*/ 8337 h 10007"/>
                <a:gd name="connsiteX154" fmla="*/ 3514 w 10000"/>
                <a:gd name="connsiteY154" fmla="*/ 8433 h 10007"/>
                <a:gd name="connsiteX155" fmla="*/ 3677 w 10000"/>
                <a:gd name="connsiteY155" fmla="*/ 8525 h 10007"/>
                <a:gd name="connsiteX156" fmla="*/ 3840 w 10000"/>
                <a:gd name="connsiteY156" fmla="*/ 8612 h 10007"/>
                <a:gd name="connsiteX157" fmla="*/ 4010 w 10000"/>
                <a:gd name="connsiteY157" fmla="*/ 8703 h 10007"/>
                <a:gd name="connsiteX158" fmla="*/ 4181 w 10000"/>
                <a:gd name="connsiteY158" fmla="*/ 8781 h 10007"/>
                <a:gd name="connsiteX159" fmla="*/ 4351 w 10000"/>
                <a:gd name="connsiteY159" fmla="*/ 8868 h 10007"/>
                <a:gd name="connsiteX160" fmla="*/ 4522 w 10000"/>
                <a:gd name="connsiteY160" fmla="*/ 8947 h 10007"/>
                <a:gd name="connsiteX161" fmla="*/ 4700 w 10000"/>
                <a:gd name="connsiteY161" fmla="*/ 9030 h 10007"/>
                <a:gd name="connsiteX162" fmla="*/ 4878 w 10000"/>
                <a:gd name="connsiteY162" fmla="*/ 9108 h 10007"/>
                <a:gd name="connsiteX163" fmla="*/ 5063 w 10000"/>
                <a:gd name="connsiteY163" fmla="*/ 9181 h 10007"/>
                <a:gd name="connsiteX164" fmla="*/ 5248 w 10000"/>
                <a:gd name="connsiteY164" fmla="*/ 9259 h 10007"/>
                <a:gd name="connsiteX165" fmla="*/ 5426 w 10000"/>
                <a:gd name="connsiteY165" fmla="*/ 9328 h 10007"/>
                <a:gd name="connsiteX166" fmla="*/ 5619 w 10000"/>
                <a:gd name="connsiteY166" fmla="*/ 9396 h 10007"/>
                <a:gd name="connsiteX167" fmla="*/ 5812 w 10000"/>
                <a:gd name="connsiteY167" fmla="*/ 9465 h 10007"/>
                <a:gd name="connsiteX168" fmla="*/ 6004 w 10000"/>
                <a:gd name="connsiteY168" fmla="*/ 9529 h 10007"/>
                <a:gd name="connsiteX169" fmla="*/ 6205 w 10000"/>
                <a:gd name="connsiteY169" fmla="*/ 9594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58 h 10007"/>
                <a:gd name="connsiteX179" fmla="*/ 10000 w 10000"/>
                <a:gd name="connsiteY179" fmla="*/ 6143 h 10007"/>
                <a:gd name="connsiteX0" fmla="*/ 10000 w 10000"/>
                <a:gd name="connsiteY0" fmla="*/ 6143 h 10007"/>
                <a:gd name="connsiteX1" fmla="*/ 10000 w 10000"/>
                <a:gd name="connsiteY1" fmla="*/ 6143 h 10007"/>
                <a:gd name="connsiteX2" fmla="*/ 9911 w 10000"/>
                <a:gd name="connsiteY2" fmla="*/ 6129 h 10007"/>
                <a:gd name="connsiteX3" fmla="*/ 9815 w 10000"/>
                <a:gd name="connsiteY3" fmla="*/ 6111 h 10007"/>
                <a:gd name="connsiteX4" fmla="*/ 9726 w 10000"/>
                <a:gd name="connsiteY4" fmla="*/ 6093 h 10007"/>
                <a:gd name="connsiteX5" fmla="*/ 9637 w 10000"/>
                <a:gd name="connsiteY5" fmla="*/ 6069 h 10007"/>
                <a:gd name="connsiteX6" fmla="*/ 9548 w 10000"/>
                <a:gd name="connsiteY6" fmla="*/ 6050 h 10007"/>
                <a:gd name="connsiteX7" fmla="*/ 9466 w 10000"/>
                <a:gd name="connsiteY7" fmla="*/ 6028 h 10007"/>
                <a:gd name="connsiteX8" fmla="*/ 9377 w 10000"/>
                <a:gd name="connsiteY8" fmla="*/ 6005 h 10007"/>
                <a:gd name="connsiteX9" fmla="*/ 9288 w 10000"/>
                <a:gd name="connsiteY9" fmla="*/ 5982 h 10007"/>
                <a:gd name="connsiteX10" fmla="*/ 9118 w 10000"/>
                <a:gd name="connsiteY10" fmla="*/ 5931 h 10007"/>
                <a:gd name="connsiteX11" fmla="*/ 8955 w 10000"/>
                <a:gd name="connsiteY11" fmla="*/ 5876 h 10007"/>
                <a:gd name="connsiteX12" fmla="*/ 8792 w 10000"/>
                <a:gd name="connsiteY12" fmla="*/ 5817 h 10007"/>
                <a:gd name="connsiteX13" fmla="*/ 8636 w 10000"/>
                <a:gd name="connsiteY13" fmla="*/ 5753 h 10007"/>
                <a:gd name="connsiteX14" fmla="*/ 8480 w 10000"/>
                <a:gd name="connsiteY14" fmla="*/ 5688 h 10007"/>
                <a:gd name="connsiteX15" fmla="*/ 8340 w 10000"/>
                <a:gd name="connsiteY15" fmla="*/ 5620 h 10007"/>
                <a:gd name="connsiteX16" fmla="*/ 8199 w 10000"/>
                <a:gd name="connsiteY16" fmla="*/ 5546 h 10007"/>
                <a:gd name="connsiteX17" fmla="*/ 8058 w 10000"/>
                <a:gd name="connsiteY17" fmla="*/ 5468 h 10007"/>
                <a:gd name="connsiteX18" fmla="*/ 7924 w 10000"/>
                <a:gd name="connsiteY18" fmla="*/ 5386 h 10007"/>
                <a:gd name="connsiteX19" fmla="*/ 7798 w 10000"/>
                <a:gd name="connsiteY19" fmla="*/ 5302 h 10007"/>
                <a:gd name="connsiteX20" fmla="*/ 7672 w 10000"/>
                <a:gd name="connsiteY20" fmla="*/ 5215 h 10007"/>
                <a:gd name="connsiteX21" fmla="*/ 7554 w 10000"/>
                <a:gd name="connsiteY21" fmla="*/ 5128 h 10007"/>
                <a:gd name="connsiteX22" fmla="*/ 7450 w 10000"/>
                <a:gd name="connsiteY22" fmla="*/ 5032 h 10007"/>
                <a:gd name="connsiteX23" fmla="*/ 7346 w 10000"/>
                <a:gd name="connsiteY23" fmla="*/ 4936 h 10007"/>
                <a:gd name="connsiteX24" fmla="*/ 7250 w 10000"/>
                <a:gd name="connsiteY24" fmla="*/ 4840 h 10007"/>
                <a:gd name="connsiteX25" fmla="*/ 7161 w 10000"/>
                <a:gd name="connsiteY25" fmla="*/ 4739 h 10007"/>
                <a:gd name="connsiteX26" fmla="*/ 7072 w 10000"/>
                <a:gd name="connsiteY26" fmla="*/ 4637 h 10007"/>
                <a:gd name="connsiteX27" fmla="*/ 6990 w 10000"/>
                <a:gd name="connsiteY27" fmla="*/ 4527 h 10007"/>
                <a:gd name="connsiteX28" fmla="*/ 6953 w 10000"/>
                <a:gd name="connsiteY28" fmla="*/ 4477 h 10007"/>
                <a:gd name="connsiteX29" fmla="*/ 6916 w 10000"/>
                <a:gd name="connsiteY29" fmla="*/ 4422 h 10007"/>
                <a:gd name="connsiteX30" fmla="*/ 6887 w 10000"/>
                <a:gd name="connsiteY30" fmla="*/ 4367 h 10007"/>
                <a:gd name="connsiteX31" fmla="*/ 6850 w 10000"/>
                <a:gd name="connsiteY31" fmla="*/ 4312 h 10007"/>
                <a:gd name="connsiteX32" fmla="*/ 6820 w 10000"/>
                <a:gd name="connsiteY32" fmla="*/ 4257 h 10007"/>
                <a:gd name="connsiteX33" fmla="*/ 6790 w 10000"/>
                <a:gd name="connsiteY33" fmla="*/ 4202 h 10007"/>
                <a:gd name="connsiteX34" fmla="*/ 6768 w 10000"/>
                <a:gd name="connsiteY34" fmla="*/ 4142 h 10007"/>
                <a:gd name="connsiteX35" fmla="*/ 6738 w 10000"/>
                <a:gd name="connsiteY35" fmla="*/ 4087 h 10007"/>
                <a:gd name="connsiteX36" fmla="*/ 6723 w 10000"/>
                <a:gd name="connsiteY36" fmla="*/ 4027 h 10007"/>
                <a:gd name="connsiteX37" fmla="*/ 6694 w 10000"/>
                <a:gd name="connsiteY37" fmla="*/ 3972 h 10007"/>
                <a:gd name="connsiteX38" fmla="*/ 6679 w 10000"/>
                <a:gd name="connsiteY38" fmla="*/ 3912 h 10007"/>
                <a:gd name="connsiteX39" fmla="*/ 6664 w 10000"/>
                <a:gd name="connsiteY39" fmla="*/ 3852 h 10007"/>
                <a:gd name="connsiteX40" fmla="*/ 6649 w 10000"/>
                <a:gd name="connsiteY40" fmla="*/ 3793 h 10007"/>
                <a:gd name="connsiteX41" fmla="*/ 6635 w 10000"/>
                <a:gd name="connsiteY41" fmla="*/ 3738 h 10007"/>
                <a:gd name="connsiteX42" fmla="*/ 6620 w 10000"/>
                <a:gd name="connsiteY42" fmla="*/ 3678 h 10007"/>
                <a:gd name="connsiteX43" fmla="*/ 6612 w 10000"/>
                <a:gd name="connsiteY43" fmla="*/ 3619 h 10007"/>
                <a:gd name="connsiteX44" fmla="*/ 6605 w 10000"/>
                <a:gd name="connsiteY44" fmla="*/ 3559 h 10007"/>
                <a:gd name="connsiteX45" fmla="*/ 6597 w 10000"/>
                <a:gd name="connsiteY45" fmla="*/ 3495 h 10007"/>
                <a:gd name="connsiteX46" fmla="*/ 6597 w 10000"/>
                <a:gd name="connsiteY46" fmla="*/ 3435 h 10007"/>
                <a:gd name="connsiteX47" fmla="*/ 6590 w 10000"/>
                <a:gd name="connsiteY47" fmla="*/ 3371 h 10007"/>
                <a:gd name="connsiteX48" fmla="*/ 6597 w 10000"/>
                <a:gd name="connsiteY48" fmla="*/ 3311 h 10007"/>
                <a:gd name="connsiteX49" fmla="*/ 6605 w 10000"/>
                <a:gd name="connsiteY49" fmla="*/ 3243 h 10007"/>
                <a:gd name="connsiteX50" fmla="*/ 6605 w 10000"/>
                <a:gd name="connsiteY50" fmla="*/ 3178 h 10007"/>
                <a:gd name="connsiteX51" fmla="*/ 6612 w 10000"/>
                <a:gd name="connsiteY51" fmla="*/ 3113 h 10007"/>
                <a:gd name="connsiteX52" fmla="*/ 6620 w 10000"/>
                <a:gd name="connsiteY52" fmla="*/ 3049 h 10007"/>
                <a:gd name="connsiteX53" fmla="*/ 6635 w 10000"/>
                <a:gd name="connsiteY53" fmla="*/ 2990 h 10007"/>
                <a:gd name="connsiteX54" fmla="*/ 6649 w 10000"/>
                <a:gd name="connsiteY54" fmla="*/ 2926 h 10007"/>
                <a:gd name="connsiteX55" fmla="*/ 6664 w 10000"/>
                <a:gd name="connsiteY55" fmla="*/ 2866 h 10007"/>
                <a:gd name="connsiteX56" fmla="*/ 6686 w 10000"/>
                <a:gd name="connsiteY56" fmla="*/ 2802 h 10007"/>
                <a:gd name="connsiteX57" fmla="*/ 6709 w 10000"/>
                <a:gd name="connsiteY57" fmla="*/ 2742 h 10007"/>
                <a:gd name="connsiteX58" fmla="*/ 6731 w 10000"/>
                <a:gd name="connsiteY58" fmla="*/ 2683 h 10007"/>
                <a:gd name="connsiteX59" fmla="*/ 6753 w 10000"/>
                <a:gd name="connsiteY59" fmla="*/ 2618 h 10007"/>
                <a:gd name="connsiteX60" fmla="*/ 6783 w 10000"/>
                <a:gd name="connsiteY60" fmla="*/ 2563 h 10007"/>
                <a:gd name="connsiteX61" fmla="*/ 6812 w 10000"/>
                <a:gd name="connsiteY61" fmla="*/ 2503 h 10007"/>
                <a:gd name="connsiteX62" fmla="*/ 6842 w 10000"/>
                <a:gd name="connsiteY62" fmla="*/ 2443 h 10007"/>
                <a:gd name="connsiteX63" fmla="*/ 6879 w 10000"/>
                <a:gd name="connsiteY63" fmla="*/ 2384 h 10007"/>
                <a:gd name="connsiteX64" fmla="*/ 6909 w 10000"/>
                <a:gd name="connsiteY64" fmla="*/ 2329 h 10007"/>
                <a:gd name="connsiteX65" fmla="*/ 6946 w 10000"/>
                <a:gd name="connsiteY65" fmla="*/ 2269 h 10007"/>
                <a:gd name="connsiteX66" fmla="*/ 6990 w 10000"/>
                <a:gd name="connsiteY66" fmla="*/ 2214 h 10007"/>
                <a:gd name="connsiteX67" fmla="*/ 7027 w 10000"/>
                <a:gd name="connsiteY67" fmla="*/ 2159 h 10007"/>
                <a:gd name="connsiteX68" fmla="*/ 7072 w 10000"/>
                <a:gd name="connsiteY68" fmla="*/ 2104 h 10007"/>
                <a:gd name="connsiteX69" fmla="*/ 7109 w 10000"/>
                <a:gd name="connsiteY69" fmla="*/ 2049 h 10007"/>
                <a:gd name="connsiteX70" fmla="*/ 7161 w 10000"/>
                <a:gd name="connsiteY70" fmla="*/ 1999 h 10007"/>
                <a:gd name="connsiteX71" fmla="*/ 7213 w 10000"/>
                <a:gd name="connsiteY71" fmla="*/ 1944 h 10007"/>
                <a:gd name="connsiteX72" fmla="*/ 7257 w 10000"/>
                <a:gd name="connsiteY72" fmla="*/ 1889 h 10007"/>
                <a:gd name="connsiteX73" fmla="*/ 7309 w 10000"/>
                <a:gd name="connsiteY73" fmla="*/ 1838 h 10007"/>
                <a:gd name="connsiteX74" fmla="*/ 7361 w 10000"/>
                <a:gd name="connsiteY74" fmla="*/ 1787 h 10007"/>
                <a:gd name="connsiteX75" fmla="*/ 7413 w 10000"/>
                <a:gd name="connsiteY75" fmla="*/ 1737 h 10007"/>
                <a:gd name="connsiteX76" fmla="*/ 7472 w 10000"/>
                <a:gd name="connsiteY76" fmla="*/ 1686 h 10007"/>
                <a:gd name="connsiteX77" fmla="*/ 7524 w 10000"/>
                <a:gd name="connsiteY77" fmla="*/ 1640 h 10007"/>
                <a:gd name="connsiteX78" fmla="*/ 7583 w 10000"/>
                <a:gd name="connsiteY78" fmla="*/ 1594 h 10007"/>
                <a:gd name="connsiteX79" fmla="*/ 7610 w 10000"/>
                <a:gd name="connsiteY79" fmla="*/ 1565 h 10007"/>
                <a:gd name="connsiteX80" fmla="*/ 5423 w 10000"/>
                <a:gd name="connsiteY80" fmla="*/ 6 h 10007"/>
                <a:gd name="connsiteX81" fmla="*/ 1423 w 10000"/>
                <a:gd name="connsiteY81" fmla="*/ 0 h 10007"/>
                <a:gd name="connsiteX82" fmla="*/ 1305 w 10000"/>
                <a:gd name="connsiteY82" fmla="*/ 121 h 10007"/>
                <a:gd name="connsiteX83" fmla="*/ 1223 w 10000"/>
                <a:gd name="connsiteY83" fmla="*/ 213 h 10007"/>
                <a:gd name="connsiteX84" fmla="*/ 1149 w 10000"/>
                <a:gd name="connsiteY84" fmla="*/ 309 h 10007"/>
                <a:gd name="connsiteX85" fmla="*/ 1067 w 10000"/>
                <a:gd name="connsiteY85" fmla="*/ 406 h 10007"/>
                <a:gd name="connsiteX86" fmla="*/ 1001 w 10000"/>
                <a:gd name="connsiteY86" fmla="*/ 503 h 10007"/>
                <a:gd name="connsiteX87" fmla="*/ 927 w 10000"/>
                <a:gd name="connsiteY87" fmla="*/ 599 h 10007"/>
                <a:gd name="connsiteX88" fmla="*/ 860 w 10000"/>
                <a:gd name="connsiteY88" fmla="*/ 700 h 10007"/>
                <a:gd name="connsiteX89" fmla="*/ 793 w 10000"/>
                <a:gd name="connsiteY89" fmla="*/ 801 h 10007"/>
                <a:gd name="connsiteX90" fmla="*/ 734 w 10000"/>
                <a:gd name="connsiteY90" fmla="*/ 897 h 10007"/>
                <a:gd name="connsiteX91" fmla="*/ 675 w 10000"/>
                <a:gd name="connsiteY91" fmla="*/ 998 h 10007"/>
                <a:gd name="connsiteX92" fmla="*/ 615 w 10000"/>
                <a:gd name="connsiteY92" fmla="*/ 1099 h 10007"/>
                <a:gd name="connsiteX93" fmla="*/ 556 w 10000"/>
                <a:gd name="connsiteY93" fmla="*/ 1205 h 10007"/>
                <a:gd name="connsiteX94" fmla="*/ 504 w 10000"/>
                <a:gd name="connsiteY94" fmla="*/ 1301 h 10007"/>
                <a:gd name="connsiteX95" fmla="*/ 452 w 10000"/>
                <a:gd name="connsiteY95" fmla="*/ 1407 h 10007"/>
                <a:gd name="connsiteX96" fmla="*/ 408 w 10000"/>
                <a:gd name="connsiteY96" fmla="*/ 1507 h 10007"/>
                <a:gd name="connsiteX97" fmla="*/ 363 w 10000"/>
                <a:gd name="connsiteY97" fmla="*/ 1613 h 10007"/>
                <a:gd name="connsiteX98" fmla="*/ 319 w 10000"/>
                <a:gd name="connsiteY98" fmla="*/ 1718 h 10007"/>
                <a:gd name="connsiteX99" fmla="*/ 282 w 10000"/>
                <a:gd name="connsiteY99" fmla="*/ 1825 h 10007"/>
                <a:gd name="connsiteX100" fmla="*/ 237 w 10000"/>
                <a:gd name="connsiteY100" fmla="*/ 1935 h 10007"/>
                <a:gd name="connsiteX101" fmla="*/ 208 w 10000"/>
                <a:gd name="connsiteY101" fmla="*/ 2040 h 10007"/>
                <a:gd name="connsiteX102" fmla="*/ 170 w 10000"/>
                <a:gd name="connsiteY102" fmla="*/ 2150 h 10007"/>
                <a:gd name="connsiteX103" fmla="*/ 148 w 10000"/>
                <a:gd name="connsiteY103" fmla="*/ 2260 h 10007"/>
                <a:gd name="connsiteX104" fmla="*/ 119 w 10000"/>
                <a:gd name="connsiteY104" fmla="*/ 2365 h 10007"/>
                <a:gd name="connsiteX105" fmla="*/ 96 w 10000"/>
                <a:gd name="connsiteY105" fmla="*/ 2475 h 10007"/>
                <a:gd name="connsiteX106" fmla="*/ 74 w 10000"/>
                <a:gd name="connsiteY106" fmla="*/ 2586 h 10007"/>
                <a:gd name="connsiteX107" fmla="*/ 52 w 10000"/>
                <a:gd name="connsiteY107" fmla="*/ 2701 h 10007"/>
                <a:gd name="connsiteX108" fmla="*/ 37 w 10000"/>
                <a:gd name="connsiteY108" fmla="*/ 2811 h 10007"/>
                <a:gd name="connsiteX109" fmla="*/ 22 w 10000"/>
                <a:gd name="connsiteY109" fmla="*/ 2921 h 10007"/>
                <a:gd name="connsiteX110" fmla="*/ 15 w 10000"/>
                <a:gd name="connsiteY110" fmla="*/ 3031 h 10007"/>
                <a:gd name="connsiteX111" fmla="*/ 7 w 10000"/>
                <a:gd name="connsiteY111" fmla="*/ 3145 h 10007"/>
                <a:gd name="connsiteX112" fmla="*/ 0 w 10000"/>
                <a:gd name="connsiteY112" fmla="*/ 3256 h 10007"/>
                <a:gd name="connsiteX113" fmla="*/ 0 w 10000"/>
                <a:gd name="connsiteY113" fmla="*/ 3371 h 10007"/>
                <a:gd name="connsiteX114" fmla="*/ 7 w 10000"/>
                <a:gd name="connsiteY114" fmla="*/ 3518 h 10007"/>
                <a:gd name="connsiteX115" fmla="*/ 7 w 10000"/>
                <a:gd name="connsiteY115" fmla="*/ 3664 h 10007"/>
                <a:gd name="connsiteX116" fmla="*/ 22 w 10000"/>
                <a:gd name="connsiteY116" fmla="*/ 3802 h 10007"/>
                <a:gd name="connsiteX117" fmla="*/ 37 w 10000"/>
                <a:gd name="connsiteY117" fmla="*/ 3945 h 10007"/>
                <a:gd name="connsiteX118" fmla="*/ 59 w 10000"/>
                <a:gd name="connsiteY118" fmla="*/ 4087 h 10007"/>
                <a:gd name="connsiteX119" fmla="*/ 89 w 10000"/>
                <a:gd name="connsiteY119" fmla="*/ 4229 h 10007"/>
                <a:gd name="connsiteX120" fmla="*/ 119 w 10000"/>
                <a:gd name="connsiteY120" fmla="*/ 4371 h 10007"/>
                <a:gd name="connsiteX121" fmla="*/ 148 w 10000"/>
                <a:gd name="connsiteY121" fmla="*/ 4513 h 10007"/>
                <a:gd name="connsiteX122" fmla="*/ 193 w 10000"/>
                <a:gd name="connsiteY122" fmla="*/ 4652 h 10007"/>
                <a:gd name="connsiteX123" fmla="*/ 237 w 10000"/>
                <a:gd name="connsiteY123" fmla="*/ 4789 h 10007"/>
                <a:gd name="connsiteX124" fmla="*/ 282 w 10000"/>
                <a:gd name="connsiteY124" fmla="*/ 4927 h 10007"/>
                <a:gd name="connsiteX125" fmla="*/ 334 w 10000"/>
                <a:gd name="connsiteY125" fmla="*/ 5064 h 10007"/>
                <a:gd name="connsiteX126" fmla="*/ 393 w 10000"/>
                <a:gd name="connsiteY126" fmla="*/ 5197 h 10007"/>
                <a:gd name="connsiteX127" fmla="*/ 452 w 10000"/>
                <a:gd name="connsiteY127" fmla="*/ 5330 h 10007"/>
                <a:gd name="connsiteX128" fmla="*/ 519 w 10000"/>
                <a:gd name="connsiteY128" fmla="*/ 5464 h 10007"/>
                <a:gd name="connsiteX129" fmla="*/ 586 w 10000"/>
                <a:gd name="connsiteY129" fmla="*/ 5597 h 10007"/>
                <a:gd name="connsiteX130" fmla="*/ 660 w 10000"/>
                <a:gd name="connsiteY130" fmla="*/ 5725 h 10007"/>
                <a:gd name="connsiteX131" fmla="*/ 741 w 10000"/>
                <a:gd name="connsiteY131" fmla="*/ 5853 h 10007"/>
                <a:gd name="connsiteX132" fmla="*/ 823 w 10000"/>
                <a:gd name="connsiteY132" fmla="*/ 5986 h 10007"/>
                <a:gd name="connsiteX133" fmla="*/ 904 w 10000"/>
                <a:gd name="connsiteY133" fmla="*/ 6111 h 10007"/>
                <a:gd name="connsiteX134" fmla="*/ 993 w 10000"/>
                <a:gd name="connsiteY134" fmla="*/ 6235 h 10007"/>
                <a:gd name="connsiteX135" fmla="*/ 1090 w 10000"/>
                <a:gd name="connsiteY135" fmla="*/ 6354 h 10007"/>
                <a:gd name="connsiteX136" fmla="*/ 1186 w 10000"/>
                <a:gd name="connsiteY136" fmla="*/ 6478 h 10007"/>
                <a:gd name="connsiteX137" fmla="*/ 1290 w 10000"/>
                <a:gd name="connsiteY137" fmla="*/ 6601 h 10007"/>
                <a:gd name="connsiteX138" fmla="*/ 1386 w 10000"/>
                <a:gd name="connsiteY138" fmla="*/ 6721 h 10007"/>
                <a:gd name="connsiteX139" fmla="*/ 1497 w 10000"/>
                <a:gd name="connsiteY139" fmla="*/ 6841 h 10007"/>
                <a:gd name="connsiteX140" fmla="*/ 1609 w 10000"/>
                <a:gd name="connsiteY140" fmla="*/ 6955 h 10007"/>
                <a:gd name="connsiteX141" fmla="*/ 1727 w 10000"/>
                <a:gd name="connsiteY141" fmla="*/ 7074 h 10007"/>
                <a:gd name="connsiteX142" fmla="*/ 1846 w 10000"/>
                <a:gd name="connsiteY142" fmla="*/ 7189 h 10007"/>
                <a:gd name="connsiteX143" fmla="*/ 1964 w 10000"/>
                <a:gd name="connsiteY143" fmla="*/ 7299 h 10007"/>
                <a:gd name="connsiteX144" fmla="*/ 2090 w 10000"/>
                <a:gd name="connsiteY144" fmla="*/ 7409 h 10007"/>
                <a:gd name="connsiteX145" fmla="*/ 2224 w 10000"/>
                <a:gd name="connsiteY145" fmla="*/ 7520 h 10007"/>
                <a:gd name="connsiteX146" fmla="*/ 2350 w 10000"/>
                <a:gd name="connsiteY146" fmla="*/ 7630 h 10007"/>
                <a:gd name="connsiteX147" fmla="*/ 2491 w 10000"/>
                <a:gd name="connsiteY147" fmla="*/ 7735 h 10007"/>
                <a:gd name="connsiteX148" fmla="*/ 2617 w 10000"/>
                <a:gd name="connsiteY148" fmla="*/ 7841 h 10007"/>
                <a:gd name="connsiteX149" fmla="*/ 2765 w 10000"/>
                <a:gd name="connsiteY149" fmla="*/ 7942 h 10007"/>
                <a:gd name="connsiteX150" fmla="*/ 2906 w 10000"/>
                <a:gd name="connsiteY150" fmla="*/ 8042 h 10007"/>
                <a:gd name="connsiteX151" fmla="*/ 3054 w 10000"/>
                <a:gd name="connsiteY151" fmla="*/ 8143 h 10007"/>
                <a:gd name="connsiteX152" fmla="*/ 3210 w 10000"/>
                <a:gd name="connsiteY152" fmla="*/ 8241 h 10007"/>
                <a:gd name="connsiteX153" fmla="*/ 3358 w 10000"/>
                <a:gd name="connsiteY153" fmla="*/ 8337 h 10007"/>
                <a:gd name="connsiteX154" fmla="*/ 3514 w 10000"/>
                <a:gd name="connsiteY154" fmla="*/ 8433 h 10007"/>
                <a:gd name="connsiteX155" fmla="*/ 3677 w 10000"/>
                <a:gd name="connsiteY155" fmla="*/ 8525 h 10007"/>
                <a:gd name="connsiteX156" fmla="*/ 3840 w 10000"/>
                <a:gd name="connsiteY156" fmla="*/ 8612 h 10007"/>
                <a:gd name="connsiteX157" fmla="*/ 4010 w 10000"/>
                <a:gd name="connsiteY157" fmla="*/ 8703 h 10007"/>
                <a:gd name="connsiteX158" fmla="*/ 4181 w 10000"/>
                <a:gd name="connsiteY158" fmla="*/ 8781 h 10007"/>
                <a:gd name="connsiteX159" fmla="*/ 4351 w 10000"/>
                <a:gd name="connsiteY159" fmla="*/ 8868 h 10007"/>
                <a:gd name="connsiteX160" fmla="*/ 4522 w 10000"/>
                <a:gd name="connsiteY160" fmla="*/ 8947 h 10007"/>
                <a:gd name="connsiteX161" fmla="*/ 4700 w 10000"/>
                <a:gd name="connsiteY161" fmla="*/ 9030 h 10007"/>
                <a:gd name="connsiteX162" fmla="*/ 4878 w 10000"/>
                <a:gd name="connsiteY162" fmla="*/ 9108 h 10007"/>
                <a:gd name="connsiteX163" fmla="*/ 5063 w 10000"/>
                <a:gd name="connsiteY163" fmla="*/ 9181 h 10007"/>
                <a:gd name="connsiteX164" fmla="*/ 5248 w 10000"/>
                <a:gd name="connsiteY164" fmla="*/ 9259 h 10007"/>
                <a:gd name="connsiteX165" fmla="*/ 5426 w 10000"/>
                <a:gd name="connsiteY165" fmla="*/ 9328 h 10007"/>
                <a:gd name="connsiteX166" fmla="*/ 5619 w 10000"/>
                <a:gd name="connsiteY166" fmla="*/ 9396 h 10007"/>
                <a:gd name="connsiteX167" fmla="*/ 5812 w 10000"/>
                <a:gd name="connsiteY167" fmla="*/ 9465 h 10007"/>
                <a:gd name="connsiteX168" fmla="*/ 6004 w 10000"/>
                <a:gd name="connsiteY168" fmla="*/ 9529 h 10007"/>
                <a:gd name="connsiteX169" fmla="*/ 6205 w 10000"/>
                <a:gd name="connsiteY169" fmla="*/ 9594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58 h 10007"/>
                <a:gd name="connsiteX179" fmla="*/ 10000 w 10000"/>
                <a:gd name="connsiteY179" fmla="*/ 6143 h 10007"/>
                <a:gd name="connsiteX0" fmla="*/ 10000 w 10000"/>
                <a:gd name="connsiteY0" fmla="*/ 6143 h 10007"/>
                <a:gd name="connsiteX1" fmla="*/ 10000 w 10000"/>
                <a:gd name="connsiteY1" fmla="*/ 6143 h 10007"/>
                <a:gd name="connsiteX2" fmla="*/ 9911 w 10000"/>
                <a:gd name="connsiteY2" fmla="*/ 6129 h 10007"/>
                <a:gd name="connsiteX3" fmla="*/ 9815 w 10000"/>
                <a:gd name="connsiteY3" fmla="*/ 6111 h 10007"/>
                <a:gd name="connsiteX4" fmla="*/ 9726 w 10000"/>
                <a:gd name="connsiteY4" fmla="*/ 6093 h 10007"/>
                <a:gd name="connsiteX5" fmla="*/ 9637 w 10000"/>
                <a:gd name="connsiteY5" fmla="*/ 6069 h 10007"/>
                <a:gd name="connsiteX6" fmla="*/ 9548 w 10000"/>
                <a:gd name="connsiteY6" fmla="*/ 6050 h 10007"/>
                <a:gd name="connsiteX7" fmla="*/ 9466 w 10000"/>
                <a:gd name="connsiteY7" fmla="*/ 6028 h 10007"/>
                <a:gd name="connsiteX8" fmla="*/ 9377 w 10000"/>
                <a:gd name="connsiteY8" fmla="*/ 6005 h 10007"/>
                <a:gd name="connsiteX9" fmla="*/ 9288 w 10000"/>
                <a:gd name="connsiteY9" fmla="*/ 5982 h 10007"/>
                <a:gd name="connsiteX10" fmla="*/ 9118 w 10000"/>
                <a:gd name="connsiteY10" fmla="*/ 5931 h 10007"/>
                <a:gd name="connsiteX11" fmla="*/ 8955 w 10000"/>
                <a:gd name="connsiteY11" fmla="*/ 5876 h 10007"/>
                <a:gd name="connsiteX12" fmla="*/ 8792 w 10000"/>
                <a:gd name="connsiteY12" fmla="*/ 5817 h 10007"/>
                <a:gd name="connsiteX13" fmla="*/ 8636 w 10000"/>
                <a:gd name="connsiteY13" fmla="*/ 5753 h 10007"/>
                <a:gd name="connsiteX14" fmla="*/ 8480 w 10000"/>
                <a:gd name="connsiteY14" fmla="*/ 5688 h 10007"/>
                <a:gd name="connsiteX15" fmla="*/ 8340 w 10000"/>
                <a:gd name="connsiteY15" fmla="*/ 5620 h 10007"/>
                <a:gd name="connsiteX16" fmla="*/ 8199 w 10000"/>
                <a:gd name="connsiteY16" fmla="*/ 5546 h 10007"/>
                <a:gd name="connsiteX17" fmla="*/ 8058 w 10000"/>
                <a:gd name="connsiteY17" fmla="*/ 5468 h 10007"/>
                <a:gd name="connsiteX18" fmla="*/ 7924 w 10000"/>
                <a:gd name="connsiteY18" fmla="*/ 5386 h 10007"/>
                <a:gd name="connsiteX19" fmla="*/ 7798 w 10000"/>
                <a:gd name="connsiteY19" fmla="*/ 5302 h 10007"/>
                <a:gd name="connsiteX20" fmla="*/ 7672 w 10000"/>
                <a:gd name="connsiteY20" fmla="*/ 5215 h 10007"/>
                <a:gd name="connsiteX21" fmla="*/ 7554 w 10000"/>
                <a:gd name="connsiteY21" fmla="*/ 5128 h 10007"/>
                <a:gd name="connsiteX22" fmla="*/ 7450 w 10000"/>
                <a:gd name="connsiteY22" fmla="*/ 5032 h 10007"/>
                <a:gd name="connsiteX23" fmla="*/ 7346 w 10000"/>
                <a:gd name="connsiteY23" fmla="*/ 4936 h 10007"/>
                <a:gd name="connsiteX24" fmla="*/ 7250 w 10000"/>
                <a:gd name="connsiteY24" fmla="*/ 4840 h 10007"/>
                <a:gd name="connsiteX25" fmla="*/ 7161 w 10000"/>
                <a:gd name="connsiteY25" fmla="*/ 4739 h 10007"/>
                <a:gd name="connsiteX26" fmla="*/ 7072 w 10000"/>
                <a:gd name="connsiteY26" fmla="*/ 4637 h 10007"/>
                <a:gd name="connsiteX27" fmla="*/ 6990 w 10000"/>
                <a:gd name="connsiteY27" fmla="*/ 4527 h 10007"/>
                <a:gd name="connsiteX28" fmla="*/ 6953 w 10000"/>
                <a:gd name="connsiteY28" fmla="*/ 4477 h 10007"/>
                <a:gd name="connsiteX29" fmla="*/ 6916 w 10000"/>
                <a:gd name="connsiteY29" fmla="*/ 4422 h 10007"/>
                <a:gd name="connsiteX30" fmla="*/ 6887 w 10000"/>
                <a:gd name="connsiteY30" fmla="*/ 4367 h 10007"/>
                <a:gd name="connsiteX31" fmla="*/ 6850 w 10000"/>
                <a:gd name="connsiteY31" fmla="*/ 4312 h 10007"/>
                <a:gd name="connsiteX32" fmla="*/ 6820 w 10000"/>
                <a:gd name="connsiteY32" fmla="*/ 4257 h 10007"/>
                <a:gd name="connsiteX33" fmla="*/ 6790 w 10000"/>
                <a:gd name="connsiteY33" fmla="*/ 4202 h 10007"/>
                <a:gd name="connsiteX34" fmla="*/ 6768 w 10000"/>
                <a:gd name="connsiteY34" fmla="*/ 4142 h 10007"/>
                <a:gd name="connsiteX35" fmla="*/ 6738 w 10000"/>
                <a:gd name="connsiteY35" fmla="*/ 4087 h 10007"/>
                <a:gd name="connsiteX36" fmla="*/ 6723 w 10000"/>
                <a:gd name="connsiteY36" fmla="*/ 4027 h 10007"/>
                <a:gd name="connsiteX37" fmla="*/ 6694 w 10000"/>
                <a:gd name="connsiteY37" fmla="*/ 3972 h 10007"/>
                <a:gd name="connsiteX38" fmla="*/ 6679 w 10000"/>
                <a:gd name="connsiteY38" fmla="*/ 3912 h 10007"/>
                <a:gd name="connsiteX39" fmla="*/ 6664 w 10000"/>
                <a:gd name="connsiteY39" fmla="*/ 3852 h 10007"/>
                <a:gd name="connsiteX40" fmla="*/ 6649 w 10000"/>
                <a:gd name="connsiteY40" fmla="*/ 3793 h 10007"/>
                <a:gd name="connsiteX41" fmla="*/ 6635 w 10000"/>
                <a:gd name="connsiteY41" fmla="*/ 3738 h 10007"/>
                <a:gd name="connsiteX42" fmla="*/ 6620 w 10000"/>
                <a:gd name="connsiteY42" fmla="*/ 3678 h 10007"/>
                <a:gd name="connsiteX43" fmla="*/ 6612 w 10000"/>
                <a:gd name="connsiteY43" fmla="*/ 3619 h 10007"/>
                <a:gd name="connsiteX44" fmla="*/ 6605 w 10000"/>
                <a:gd name="connsiteY44" fmla="*/ 3559 h 10007"/>
                <a:gd name="connsiteX45" fmla="*/ 6597 w 10000"/>
                <a:gd name="connsiteY45" fmla="*/ 3495 h 10007"/>
                <a:gd name="connsiteX46" fmla="*/ 6597 w 10000"/>
                <a:gd name="connsiteY46" fmla="*/ 3435 h 10007"/>
                <a:gd name="connsiteX47" fmla="*/ 6590 w 10000"/>
                <a:gd name="connsiteY47" fmla="*/ 3371 h 10007"/>
                <a:gd name="connsiteX48" fmla="*/ 6597 w 10000"/>
                <a:gd name="connsiteY48" fmla="*/ 3311 h 10007"/>
                <a:gd name="connsiteX49" fmla="*/ 6605 w 10000"/>
                <a:gd name="connsiteY49" fmla="*/ 3243 h 10007"/>
                <a:gd name="connsiteX50" fmla="*/ 6605 w 10000"/>
                <a:gd name="connsiteY50" fmla="*/ 3178 h 10007"/>
                <a:gd name="connsiteX51" fmla="*/ 6612 w 10000"/>
                <a:gd name="connsiteY51" fmla="*/ 3113 h 10007"/>
                <a:gd name="connsiteX52" fmla="*/ 6620 w 10000"/>
                <a:gd name="connsiteY52" fmla="*/ 3049 h 10007"/>
                <a:gd name="connsiteX53" fmla="*/ 6635 w 10000"/>
                <a:gd name="connsiteY53" fmla="*/ 2990 h 10007"/>
                <a:gd name="connsiteX54" fmla="*/ 6649 w 10000"/>
                <a:gd name="connsiteY54" fmla="*/ 2926 h 10007"/>
                <a:gd name="connsiteX55" fmla="*/ 6664 w 10000"/>
                <a:gd name="connsiteY55" fmla="*/ 2866 h 10007"/>
                <a:gd name="connsiteX56" fmla="*/ 6686 w 10000"/>
                <a:gd name="connsiteY56" fmla="*/ 2802 h 10007"/>
                <a:gd name="connsiteX57" fmla="*/ 6709 w 10000"/>
                <a:gd name="connsiteY57" fmla="*/ 2742 h 10007"/>
                <a:gd name="connsiteX58" fmla="*/ 6731 w 10000"/>
                <a:gd name="connsiteY58" fmla="*/ 2683 h 10007"/>
                <a:gd name="connsiteX59" fmla="*/ 6753 w 10000"/>
                <a:gd name="connsiteY59" fmla="*/ 2618 h 10007"/>
                <a:gd name="connsiteX60" fmla="*/ 6783 w 10000"/>
                <a:gd name="connsiteY60" fmla="*/ 2563 h 10007"/>
                <a:gd name="connsiteX61" fmla="*/ 6812 w 10000"/>
                <a:gd name="connsiteY61" fmla="*/ 2503 h 10007"/>
                <a:gd name="connsiteX62" fmla="*/ 6842 w 10000"/>
                <a:gd name="connsiteY62" fmla="*/ 2443 h 10007"/>
                <a:gd name="connsiteX63" fmla="*/ 6879 w 10000"/>
                <a:gd name="connsiteY63" fmla="*/ 2384 h 10007"/>
                <a:gd name="connsiteX64" fmla="*/ 6909 w 10000"/>
                <a:gd name="connsiteY64" fmla="*/ 2329 h 10007"/>
                <a:gd name="connsiteX65" fmla="*/ 6946 w 10000"/>
                <a:gd name="connsiteY65" fmla="*/ 2269 h 10007"/>
                <a:gd name="connsiteX66" fmla="*/ 6990 w 10000"/>
                <a:gd name="connsiteY66" fmla="*/ 2214 h 10007"/>
                <a:gd name="connsiteX67" fmla="*/ 7027 w 10000"/>
                <a:gd name="connsiteY67" fmla="*/ 2159 h 10007"/>
                <a:gd name="connsiteX68" fmla="*/ 7072 w 10000"/>
                <a:gd name="connsiteY68" fmla="*/ 2104 h 10007"/>
                <a:gd name="connsiteX69" fmla="*/ 7109 w 10000"/>
                <a:gd name="connsiteY69" fmla="*/ 2049 h 10007"/>
                <a:gd name="connsiteX70" fmla="*/ 7161 w 10000"/>
                <a:gd name="connsiteY70" fmla="*/ 1999 h 10007"/>
                <a:gd name="connsiteX71" fmla="*/ 7213 w 10000"/>
                <a:gd name="connsiteY71" fmla="*/ 1944 h 10007"/>
                <a:gd name="connsiteX72" fmla="*/ 7257 w 10000"/>
                <a:gd name="connsiteY72" fmla="*/ 1889 h 10007"/>
                <a:gd name="connsiteX73" fmla="*/ 7309 w 10000"/>
                <a:gd name="connsiteY73" fmla="*/ 1838 h 10007"/>
                <a:gd name="connsiteX74" fmla="*/ 7361 w 10000"/>
                <a:gd name="connsiteY74" fmla="*/ 1787 h 10007"/>
                <a:gd name="connsiteX75" fmla="*/ 7413 w 10000"/>
                <a:gd name="connsiteY75" fmla="*/ 1737 h 10007"/>
                <a:gd name="connsiteX76" fmla="*/ 7472 w 10000"/>
                <a:gd name="connsiteY76" fmla="*/ 1686 h 10007"/>
                <a:gd name="connsiteX77" fmla="*/ 7524 w 10000"/>
                <a:gd name="connsiteY77" fmla="*/ 1640 h 10007"/>
                <a:gd name="connsiteX78" fmla="*/ 7583 w 10000"/>
                <a:gd name="connsiteY78" fmla="*/ 1594 h 10007"/>
                <a:gd name="connsiteX79" fmla="*/ 7610 w 10000"/>
                <a:gd name="connsiteY79" fmla="*/ 1565 h 10007"/>
                <a:gd name="connsiteX80" fmla="*/ 5401 w 10000"/>
                <a:gd name="connsiteY80" fmla="*/ 6 h 10007"/>
                <a:gd name="connsiteX81" fmla="*/ 1423 w 10000"/>
                <a:gd name="connsiteY81" fmla="*/ 0 h 10007"/>
                <a:gd name="connsiteX82" fmla="*/ 1305 w 10000"/>
                <a:gd name="connsiteY82" fmla="*/ 121 h 10007"/>
                <a:gd name="connsiteX83" fmla="*/ 1223 w 10000"/>
                <a:gd name="connsiteY83" fmla="*/ 213 h 10007"/>
                <a:gd name="connsiteX84" fmla="*/ 1149 w 10000"/>
                <a:gd name="connsiteY84" fmla="*/ 309 h 10007"/>
                <a:gd name="connsiteX85" fmla="*/ 1067 w 10000"/>
                <a:gd name="connsiteY85" fmla="*/ 406 h 10007"/>
                <a:gd name="connsiteX86" fmla="*/ 1001 w 10000"/>
                <a:gd name="connsiteY86" fmla="*/ 503 h 10007"/>
                <a:gd name="connsiteX87" fmla="*/ 927 w 10000"/>
                <a:gd name="connsiteY87" fmla="*/ 599 h 10007"/>
                <a:gd name="connsiteX88" fmla="*/ 860 w 10000"/>
                <a:gd name="connsiteY88" fmla="*/ 700 h 10007"/>
                <a:gd name="connsiteX89" fmla="*/ 793 w 10000"/>
                <a:gd name="connsiteY89" fmla="*/ 801 h 10007"/>
                <a:gd name="connsiteX90" fmla="*/ 734 w 10000"/>
                <a:gd name="connsiteY90" fmla="*/ 897 h 10007"/>
                <a:gd name="connsiteX91" fmla="*/ 675 w 10000"/>
                <a:gd name="connsiteY91" fmla="*/ 998 h 10007"/>
                <a:gd name="connsiteX92" fmla="*/ 615 w 10000"/>
                <a:gd name="connsiteY92" fmla="*/ 1099 h 10007"/>
                <a:gd name="connsiteX93" fmla="*/ 556 w 10000"/>
                <a:gd name="connsiteY93" fmla="*/ 1205 h 10007"/>
                <a:gd name="connsiteX94" fmla="*/ 504 w 10000"/>
                <a:gd name="connsiteY94" fmla="*/ 1301 h 10007"/>
                <a:gd name="connsiteX95" fmla="*/ 452 w 10000"/>
                <a:gd name="connsiteY95" fmla="*/ 1407 h 10007"/>
                <a:gd name="connsiteX96" fmla="*/ 408 w 10000"/>
                <a:gd name="connsiteY96" fmla="*/ 1507 h 10007"/>
                <a:gd name="connsiteX97" fmla="*/ 363 w 10000"/>
                <a:gd name="connsiteY97" fmla="*/ 1613 h 10007"/>
                <a:gd name="connsiteX98" fmla="*/ 319 w 10000"/>
                <a:gd name="connsiteY98" fmla="*/ 1718 h 10007"/>
                <a:gd name="connsiteX99" fmla="*/ 282 w 10000"/>
                <a:gd name="connsiteY99" fmla="*/ 1825 h 10007"/>
                <a:gd name="connsiteX100" fmla="*/ 237 w 10000"/>
                <a:gd name="connsiteY100" fmla="*/ 1935 h 10007"/>
                <a:gd name="connsiteX101" fmla="*/ 208 w 10000"/>
                <a:gd name="connsiteY101" fmla="*/ 2040 h 10007"/>
                <a:gd name="connsiteX102" fmla="*/ 170 w 10000"/>
                <a:gd name="connsiteY102" fmla="*/ 2150 h 10007"/>
                <a:gd name="connsiteX103" fmla="*/ 148 w 10000"/>
                <a:gd name="connsiteY103" fmla="*/ 2260 h 10007"/>
                <a:gd name="connsiteX104" fmla="*/ 119 w 10000"/>
                <a:gd name="connsiteY104" fmla="*/ 2365 h 10007"/>
                <a:gd name="connsiteX105" fmla="*/ 96 w 10000"/>
                <a:gd name="connsiteY105" fmla="*/ 2475 h 10007"/>
                <a:gd name="connsiteX106" fmla="*/ 74 w 10000"/>
                <a:gd name="connsiteY106" fmla="*/ 2586 h 10007"/>
                <a:gd name="connsiteX107" fmla="*/ 52 w 10000"/>
                <a:gd name="connsiteY107" fmla="*/ 2701 h 10007"/>
                <a:gd name="connsiteX108" fmla="*/ 37 w 10000"/>
                <a:gd name="connsiteY108" fmla="*/ 2811 h 10007"/>
                <a:gd name="connsiteX109" fmla="*/ 22 w 10000"/>
                <a:gd name="connsiteY109" fmla="*/ 2921 h 10007"/>
                <a:gd name="connsiteX110" fmla="*/ 15 w 10000"/>
                <a:gd name="connsiteY110" fmla="*/ 3031 h 10007"/>
                <a:gd name="connsiteX111" fmla="*/ 7 w 10000"/>
                <a:gd name="connsiteY111" fmla="*/ 3145 h 10007"/>
                <a:gd name="connsiteX112" fmla="*/ 0 w 10000"/>
                <a:gd name="connsiteY112" fmla="*/ 3256 h 10007"/>
                <a:gd name="connsiteX113" fmla="*/ 0 w 10000"/>
                <a:gd name="connsiteY113" fmla="*/ 3371 h 10007"/>
                <a:gd name="connsiteX114" fmla="*/ 7 w 10000"/>
                <a:gd name="connsiteY114" fmla="*/ 3518 h 10007"/>
                <a:gd name="connsiteX115" fmla="*/ 7 w 10000"/>
                <a:gd name="connsiteY115" fmla="*/ 3664 h 10007"/>
                <a:gd name="connsiteX116" fmla="*/ 22 w 10000"/>
                <a:gd name="connsiteY116" fmla="*/ 3802 h 10007"/>
                <a:gd name="connsiteX117" fmla="*/ 37 w 10000"/>
                <a:gd name="connsiteY117" fmla="*/ 3945 h 10007"/>
                <a:gd name="connsiteX118" fmla="*/ 59 w 10000"/>
                <a:gd name="connsiteY118" fmla="*/ 4087 h 10007"/>
                <a:gd name="connsiteX119" fmla="*/ 89 w 10000"/>
                <a:gd name="connsiteY119" fmla="*/ 4229 h 10007"/>
                <a:gd name="connsiteX120" fmla="*/ 119 w 10000"/>
                <a:gd name="connsiteY120" fmla="*/ 4371 h 10007"/>
                <a:gd name="connsiteX121" fmla="*/ 148 w 10000"/>
                <a:gd name="connsiteY121" fmla="*/ 4513 h 10007"/>
                <a:gd name="connsiteX122" fmla="*/ 193 w 10000"/>
                <a:gd name="connsiteY122" fmla="*/ 4652 h 10007"/>
                <a:gd name="connsiteX123" fmla="*/ 237 w 10000"/>
                <a:gd name="connsiteY123" fmla="*/ 4789 h 10007"/>
                <a:gd name="connsiteX124" fmla="*/ 282 w 10000"/>
                <a:gd name="connsiteY124" fmla="*/ 4927 h 10007"/>
                <a:gd name="connsiteX125" fmla="*/ 334 w 10000"/>
                <a:gd name="connsiteY125" fmla="*/ 5064 h 10007"/>
                <a:gd name="connsiteX126" fmla="*/ 393 w 10000"/>
                <a:gd name="connsiteY126" fmla="*/ 5197 h 10007"/>
                <a:gd name="connsiteX127" fmla="*/ 452 w 10000"/>
                <a:gd name="connsiteY127" fmla="*/ 5330 h 10007"/>
                <a:gd name="connsiteX128" fmla="*/ 519 w 10000"/>
                <a:gd name="connsiteY128" fmla="*/ 5464 h 10007"/>
                <a:gd name="connsiteX129" fmla="*/ 586 w 10000"/>
                <a:gd name="connsiteY129" fmla="*/ 5597 h 10007"/>
                <a:gd name="connsiteX130" fmla="*/ 660 w 10000"/>
                <a:gd name="connsiteY130" fmla="*/ 5725 h 10007"/>
                <a:gd name="connsiteX131" fmla="*/ 741 w 10000"/>
                <a:gd name="connsiteY131" fmla="*/ 5853 h 10007"/>
                <a:gd name="connsiteX132" fmla="*/ 823 w 10000"/>
                <a:gd name="connsiteY132" fmla="*/ 5986 h 10007"/>
                <a:gd name="connsiteX133" fmla="*/ 904 w 10000"/>
                <a:gd name="connsiteY133" fmla="*/ 6111 h 10007"/>
                <a:gd name="connsiteX134" fmla="*/ 993 w 10000"/>
                <a:gd name="connsiteY134" fmla="*/ 6235 h 10007"/>
                <a:gd name="connsiteX135" fmla="*/ 1090 w 10000"/>
                <a:gd name="connsiteY135" fmla="*/ 6354 h 10007"/>
                <a:gd name="connsiteX136" fmla="*/ 1186 w 10000"/>
                <a:gd name="connsiteY136" fmla="*/ 6478 h 10007"/>
                <a:gd name="connsiteX137" fmla="*/ 1290 w 10000"/>
                <a:gd name="connsiteY137" fmla="*/ 6601 h 10007"/>
                <a:gd name="connsiteX138" fmla="*/ 1386 w 10000"/>
                <a:gd name="connsiteY138" fmla="*/ 6721 h 10007"/>
                <a:gd name="connsiteX139" fmla="*/ 1497 w 10000"/>
                <a:gd name="connsiteY139" fmla="*/ 6841 h 10007"/>
                <a:gd name="connsiteX140" fmla="*/ 1609 w 10000"/>
                <a:gd name="connsiteY140" fmla="*/ 6955 h 10007"/>
                <a:gd name="connsiteX141" fmla="*/ 1727 w 10000"/>
                <a:gd name="connsiteY141" fmla="*/ 7074 h 10007"/>
                <a:gd name="connsiteX142" fmla="*/ 1846 w 10000"/>
                <a:gd name="connsiteY142" fmla="*/ 7189 h 10007"/>
                <a:gd name="connsiteX143" fmla="*/ 1964 w 10000"/>
                <a:gd name="connsiteY143" fmla="*/ 7299 h 10007"/>
                <a:gd name="connsiteX144" fmla="*/ 2090 w 10000"/>
                <a:gd name="connsiteY144" fmla="*/ 7409 h 10007"/>
                <a:gd name="connsiteX145" fmla="*/ 2224 w 10000"/>
                <a:gd name="connsiteY145" fmla="*/ 7520 h 10007"/>
                <a:gd name="connsiteX146" fmla="*/ 2350 w 10000"/>
                <a:gd name="connsiteY146" fmla="*/ 7630 h 10007"/>
                <a:gd name="connsiteX147" fmla="*/ 2491 w 10000"/>
                <a:gd name="connsiteY147" fmla="*/ 7735 h 10007"/>
                <a:gd name="connsiteX148" fmla="*/ 2617 w 10000"/>
                <a:gd name="connsiteY148" fmla="*/ 7841 h 10007"/>
                <a:gd name="connsiteX149" fmla="*/ 2765 w 10000"/>
                <a:gd name="connsiteY149" fmla="*/ 7942 h 10007"/>
                <a:gd name="connsiteX150" fmla="*/ 2906 w 10000"/>
                <a:gd name="connsiteY150" fmla="*/ 8042 h 10007"/>
                <a:gd name="connsiteX151" fmla="*/ 3054 w 10000"/>
                <a:gd name="connsiteY151" fmla="*/ 8143 h 10007"/>
                <a:gd name="connsiteX152" fmla="*/ 3210 w 10000"/>
                <a:gd name="connsiteY152" fmla="*/ 8241 h 10007"/>
                <a:gd name="connsiteX153" fmla="*/ 3358 w 10000"/>
                <a:gd name="connsiteY153" fmla="*/ 8337 h 10007"/>
                <a:gd name="connsiteX154" fmla="*/ 3514 w 10000"/>
                <a:gd name="connsiteY154" fmla="*/ 8433 h 10007"/>
                <a:gd name="connsiteX155" fmla="*/ 3677 w 10000"/>
                <a:gd name="connsiteY155" fmla="*/ 8525 h 10007"/>
                <a:gd name="connsiteX156" fmla="*/ 3840 w 10000"/>
                <a:gd name="connsiteY156" fmla="*/ 8612 h 10007"/>
                <a:gd name="connsiteX157" fmla="*/ 4010 w 10000"/>
                <a:gd name="connsiteY157" fmla="*/ 8703 h 10007"/>
                <a:gd name="connsiteX158" fmla="*/ 4181 w 10000"/>
                <a:gd name="connsiteY158" fmla="*/ 8781 h 10007"/>
                <a:gd name="connsiteX159" fmla="*/ 4351 w 10000"/>
                <a:gd name="connsiteY159" fmla="*/ 8868 h 10007"/>
                <a:gd name="connsiteX160" fmla="*/ 4522 w 10000"/>
                <a:gd name="connsiteY160" fmla="*/ 8947 h 10007"/>
                <a:gd name="connsiteX161" fmla="*/ 4700 w 10000"/>
                <a:gd name="connsiteY161" fmla="*/ 9030 h 10007"/>
                <a:gd name="connsiteX162" fmla="*/ 4878 w 10000"/>
                <a:gd name="connsiteY162" fmla="*/ 9108 h 10007"/>
                <a:gd name="connsiteX163" fmla="*/ 5063 w 10000"/>
                <a:gd name="connsiteY163" fmla="*/ 9181 h 10007"/>
                <a:gd name="connsiteX164" fmla="*/ 5248 w 10000"/>
                <a:gd name="connsiteY164" fmla="*/ 9259 h 10007"/>
                <a:gd name="connsiteX165" fmla="*/ 5426 w 10000"/>
                <a:gd name="connsiteY165" fmla="*/ 9328 h 10007"/>
                <a:gd name="connsiteX166" fmla="*/ 5619 w 10000"/>
                <a:gd name="connsiteY166" fmla="*/ 9396 h 10007"/>
                <a:gd name="connsiteX167" fmla="*/ 5812 w 10000"/>
                <a:gd name="connsiteY167" fmla="*/ 9465 h 10007"/>
                <a:gd name="connsiteX168" fmla="*/ 6004 w 10000"/>
                <a:gd name="connsiteY168" fmla="*/ 9529 h 10007"/>
                <a:gd name="connsiteX169" fmla="*/ 6205 w 10000"/>
                <a:gd name="connsiteY169" fmla="*/ 9594 h 10007"/>
                <a:gd name="connsiteX170" fmla="*/ 6397 w 10000"/>
                <a:gd name="connsiteY170" fmla="*/ 9654 h 10007"/>
                <a:gd name="connsiteX171" fmla="*/ 6605 w 10000"/>
                <a:gd name="connsiteY171" fmla="*/ 9709 h 10007"/>
                <a:gd name="connsiteX172" fmla="*/ 6805 w 10000"/>
                <a:gd name="connsiteY172" fmla="*/ 9764 h 10007"/>
                <a:gd name="connsiteX173" fmla="*/ 7005 w 10000"/>
                <a:gd name="connsiteY173" fmla="*/ 9819 h 10007"/>
                <a:gd name="connsiteX174" fmla="*/ 7213 w 10000"/>
                <a:gd name="connsiteY174" fmla="*/ 9870 h 10007"/>
                <a:gd name="connsiteX175" fmla="*/ 7420 w 10000"/>
                <a:gd name="connsiteY175" fmla="*/ 9915 h 10007"/>
                <a:gd name="connsiteX176" fmla="*/ 7628 w 10000"/>
                <a:gd name="connsiteY176" fmla="*/ 9961 h 10007"/>
                <a:gd name="connsiteX177" fmla="*/ 7835 w 10000"/>
                <a:gd name="connsiteY177" fmla="*/ 10007 h 10007"/>
                <a:gd name="connsiteX178" fmla="*/ 7539 w 10000"/>
                <a:gd name="connsiteY178" fmla="*/ 7758 h 10007"/>
                <a:gd name="connsiteX179" fmla="*/ 10000 w 10000"/>
                <a:gd name="connsiteY179" fmla="*/ 6143 h 10007"/>
                <a:gd name="connsiteX0" fmla="*/ 10000 w 10000"/>
                <a:gd name="connsiteY0" fmla="*/ 6144 h 10008"/>
                <a:gd name="connsiteX1" fmla="*/ 10000 w 10000"/>
                <a:gd name="connsiteY1" fmla="*/ 6144 h 10008"/>
                <a:gd name="connsiteX2" fmla="*/ 9911 w 10000"/>
                <a:gd name="connsiteY2" fmla="*/ 6130 h 10008"/>
                <a:gd name="connsiteX3" fmla="*/ 9815 w 10000"/>
                <a:gd name="connsiteY3" fmla="*/ 6112 h 10008"/>
                <a:gd name="connsiteX4" fmla="*/ 9726 w 10000"/>
                <a:gd name="connsiteY4" fmla="*/ 6094 h 10008"/>
                <a:gd name="connsiteX5" fmla="*/ 9637 w 10000"/>
                <a:gd name="connsiteY5" fmla="*/ 6070 h 10008"/>
                <a:gd name="connsiteX6" fmla="*/ 9548 w 10000"/>
                <a:gd name="connsiteY6" fmla="*/ 6051 h 10008"/>
                <a:gd name="connsiteX7" fmla="*/ 9466 w 10000"/>
                <a:gd name="connsiteY7" fmla="*/ 6029 h 10008"/>
                <a:gd name="connsiteX8" fmla="*/ 9377 w 10000"/>
                <a:gd name="connsiteY8" fmla="*/ 6006 h 10008"/>
                <a:gd name="connsiteX9" fmla="*/ 9288 w 10000"/>
                <a:gd name="connsiteY9" fmla="*/ 5983 h 10008"/>
                <a:gd name="connsiteX10" fmla="*/ 9118 w 10000"/>
                <a:gd name="connsiteY10" fmla="*/ 5932 h 10008"/>
                <a:gd name="connsiteX11" fmla="*/ 8955 w 10000"/>
                <a:gd name="connsiteY11" fmla="*/ 5877 h 10008"/>
                <a:gd name="connsiteX12" fmla="*/ 8792 w 10000"/>
                <a:gd name="connsiteY12" fmla="*/ 5818 h 10008"/>
                <a:gd name="connsiteX13" fmla="*/ 8636 w 10000"/>
                <a:gd name="connsiteY13" fmla="*/ 5754 h 10008"/>
                <a:gd name="connsiteX14" fmla="*/ 8480 w 10000"/>
                <a:gd name="connsiteY14" fmla="*/ 5689 h 10008"/>
                <a:gd name="connsiteX15" fmla="*/ 8340 w 10000"/>
                <a:gd name="connsiteY15" fmla="*/ 5621 h 10008"/>
                <a:gd name="connsiteX16" fmla="*/ 8199 w 10000"/>
                <a:gd name="connsiteY16" fmla="*/ 5547 h 10008"/>
                <a:gd name="connsiteX17" fmla="*/ 8058 w 10000"/>
                <a:gd name="connsiteY17" fmla="*/ 5469 h 10008"/>
                <a:gd name="connsiteX18" fmla="*/ 7924 w 10000"/>
                <a:gd name="connsiteY18" fmla="*/ 5387 h 10008"/>
                <a:gd name="connsiteX19" fmla="*/ 7798 w 10000"/>
                <a:gd name="connsiteY19" fmla="*/ 5303 h 10008"/>
                <a:gd name="connsiteX20" fmla="*/ 7672 w 10000"/>
                <a:gd name="connsiteY20" fmla="*/ 5216 h 10008"/>
                <a:gd name="connsiteX21" fmla="*/ 7554 w 10000"/>
                <a:gd name="connsiteY21" fmla="*/ 5129 h 10008"/>
                <a:gd name="connsiteX22" fmla="*/ 7450 w 10000"/>
                <a:gd name="connsiteY22" fmla="*/ 5033 h 10008"/>
                <a:gd name="connsiteX23" fmla="*/ 7346 w 10000"/>
                <a:gd name="connsiteY23" fmla="*/ 4937 h 10008"/>
                <a:gd name="connsiteX24" fmla="*/ 7250 w 10000"/>
                <a:gd name="connsiteY24" fmla="*/ 4841 h 10008"/>
                <a:gd name="connsiteX25" fmla="*/ 7161 w 10000"/>
                <a:gd name="connsiteY25" fmla="*/ 4740 h 10008"/>
                <a:gd name="connsiteX26" fmla="*/ 7072 w 10000"/>
                <a:gd name="connsiteY26" fmla="*/ 4638 h 10008"/>
                <a:gd name="connsiteX27" fmla="*/ 6990 w 10000"/>
                <a:gd name="connsiteY27" fmla="*/ 4528 h 10008"/>
                <a:gd name="connsiteX28" fmla="*/ 6953 w 10000"/>
                <a:gd name="connsiteY28" fmla="*/ 4478 h 10008"/>
                <a:gd name="connsiteX29" fmla="*/ 6916 w 10000"/>
                <a:gd name="connsiteY29" fmla="*/ 4423 h 10008"/>
                <a:gd name="connsiteX30" fmla="*/ 6887 w 10000"/>
                <a:gd name="connsiteY30" fmla="*/ 4368 h 10008"/>
                <a:gd name="connsiteX31" fmla="*/ 6850 w 10000"/>
                <a:gd name="connsiteY31" fmla="*/ 4313 h 10008"/>
                <a:gd name="connsiteX32" fmla="*/ 6820 w 10000"/>
                <a:gd name="connsiteY32" fmla="*/ 4258 h 10008"/>
                <a:gd name="connsiteX33" fmla="*/ 6790 w 10000"/>
                <a:gd name="connsiteY33" fmla="*/ 4203 h 10008"/>
                <a:gd name="connsiteX34" fmla="*/ 6768 w 10000"/>
                <a:gd name="connsiteY34" fmla="*/ 4143 h 10008"/>
                <a:gd name="connsiteX35" fmla="*/ 6738 w 10000"/>
                <a:gd name="connsiteY35" fmla="*/ 4088 h 10008"/>
                <a:gd name="connsiteX36" fmla="*/ 6723 w 10000"/>
                <a:gd name="connsiteY36" fmla="*/ 4028 h 10008"/>
                <a:gd name="connsiteX37" fmla="*/ 6694 w 10000"/>
                <a:gd name="connsiteY37" fmla="*/ 3973 h 10008"/>
                <a:gd name="connsiteX38" fmla="*/ 6679 w 10000"/>
                <a:gd name="connsiteY38" fmla="*/ 3913 h 10008"/>
                <a:gd name="connsiteX39" fmla="*/ 6664 w 10000"/>
                <a:gd name="connsiteY39" fmla="*/ 3853 h 10008"/>
                <a:gd name="connsiteX40" fmla="*/ 6649 w 10000"/>
                <a:gd name="connsiteY40" fmla="*/ 3794 h 10008"/>
                <a:gd name="connsiteX41" fmla="*/ 6635 w 10000"/>
                <a:gd name="connsiteY41" fmla="*/ 3739 h 10008"/>
                <a:gd name="connsiteX42" fmla="*/ 6620 w 10000"/>
                <a:gd name="connsiteY42" fmla="*/ 3679 h 10008"/>
                <a:gd name="connsiteX43" fmla="*/ 6612 w 10000"/>
                <a:gd name="connsiteY43" fmla="*/ 3620 h 10008"/>
                <a:gd name="connsiteX44" fmla="*/ 6605 w 10000"/>
                <a:gd name="connsiteY44" fmla="*/ 3560 h 10008"/>
                <a:gd name="connsiteX45" fmla="*/ 6597 w 10000"/>
                <a:gd name="connsiteY45" fmla="*/ 3496 h 10008"/>
                <a:gd name="connsiteX46" fmla="*/ 6597 w 10000"/>
                <a:gd name="connsiteY46" fmla="*/ 3436 h 10008"/>
                <a:gd name="connsiteX47" fmla="*/ 6590 w 10000"/>
                <a:gd name="connsiteY47" fmla="*/ 3372 h 10008"/>
                <a:gd name="connsiteX48" fmla="*/ 6597 w 10000"/>
                <a:gd name="connsiteY48" fmla="*/ 3312 h 10008"/>
                <a:gd name="connsiteX49" fmla="*/ 6605 w 10000"/>
                <a:gd name="connsiteY49" fmla="*/ 3244 h 10008"/>
                <a:gd name="connsiteX50" fmla="*/ 6605 w 10000"/>
                <a:gd name="connsiteY50" fmla="*/ 3179 h 10008"/>
                <a:gd name="connsiteX51" fmla="*/ 6612 w 10000"/>
                <a:gd name="connsiteY51" fmla="*/ 3114 h 10008"/>
                <a:gd name="connsiteX52" fmla="*/ 6620 w 10000"/>
                <a:gd name="connsiteY52" fmla="*/ 3050 h 10008"/>
                <a:gd name="connsiteX53" fmla="*/ 6635 w 10000"/>
                <a:gd name="connsiteY53" fmla="*/ 2991 h 10008"/>
                <a:gd name="connsiteX54" fmla="*/ 6649 w 10000"/>
                <a:gd name="connsiteY54" fmla="*/ 2927 h 10008"/>
                <a:gd name="connsiteX55" fmla="*/ 6664 w 10000"/>
                <a:gd name="connsiteY55" fmla="*/ 2867 h 10008"/>
                <a:gd name="connsiteX56" fmla="*/ 6686 w 10000"/>
                <a:gd name="connsiteY56" fmla="*/ 2803 h 10008"/>
                <a:gd name="connsiteX57" fmla="*/ 6709 w 10000"/>
                <a:gd name="connsiteY57" fmla="*/ 2743 h 10008"/>
                <a:gd name="connsiteX58" fmla="*/ 6731 w 10000"/>
                <a:gd name="connsiteY58" fmla="*/ 2684 h 10008"/>
                <a:gd name="connsiteX59" fmla="*/ 6753 w 10000"/>
                <a:gd name="connsiteY59" fmla="*/ 2619 h 10008"/>
                <a:gd name="connsiteX60" fmla="*/ 6783 w 10000"/>
                <a:gd name="connsiteY60" fmla="*/ 2564 h 10008"/>
                <a:gd name="connsiteX61" fmla="*/ 6812 w 10000"/>
                <a:gd name="connsiteY61" fmla="*/ 2504 h 10008"/>
                <a:gd name="connsiteX62" fmla="*/ 6842 w 10000"/>
                <a:gd name="connsiteY62" fmla="*/ 2444 h 10008"/>
                <a:gd name="connsiteX63" fmla="*/ 6879 w 10000"/>
                <a:gd name="connsiteY63" fmla="*/ 2385 h 10008"/>
                <a:gd name="connsiteX64" fmla="*/ 6909 w 10000"/>
                <a:gd name="connsiteY64" fmla="*/ 2330 h 10008"/>
                <a:gd name="connsiteX65" fmla="*/ 6946 w 10000"/>
                <a:gd name="connsiteY65" fmla="*/ 2270 h 10008"/>
                <a:gd name="connsiteX66" fmla="*/ 6990 w 10000"/>
                <a:gd name="connsiteY66" fmla="*/ 2215 h 10008"/>
                <a:gd name="connsiteX67" fmla="*/ 7027 w 10000"/>
                <a:gd name="connsiteY67" fmla="*/ 2160 h 10008"/>
                <a:gd name="connsiteX68" fmla="*/ 7072 w 10000"/>
                <a:gd name="connsiteY68" fmla="*/ 2105 h 10008"/>
                <a:gd name="connsiteX69" fmla="*/ 7109 w 10000"/>
                <a:gd name="connsiteY69" fmla="*/ 2050 h 10008"/>
                <a:gd name="connsiteX70" fmla="*/ 7161 w 10000"/>
                <a:gd name="connsiteY70" fmla="*/ 2000 h 10008"/>
                <a:gd name="connsiteX71" fmla="*/ 7213 w 10000"/>
                <a:gd name="connsiteY71" fmla="*/ 1945 h 10008"/>
                <a:gd name="connsiteX72" fmla="*/ 7257 w 10000"/>
                <a:gd name="connsiteY72" fmla="*/ 1890 h 10008"/>
                <a:gd name="connsiteX73" fmla="*/ 7309 w 10000"/>
                <a:gd name="connsiteY73" fmla="*/ 1839 h 10008"/>
                <a:gd name="connsiteX74" fmla="*/ 7361 w 10000"/>
                <a:gd name="connsiteY74" fmla="*/ 1788 h 10008"/>
                <a:gd name="connsiteX75" fmla="*/ 7413 w 10000"/>
                <a:gd name="connsiteY75" fmla="*/ 1738 h 10008"/>
                <a:gd name="connsiteX76" fmla="*/ 7472 w 10000"/>
                <a:gd name="connsiteY76" fmla="*/ 1687 h 10008"/>
                <a:gd name="connsiteX77" fmla="*/ 7524 w 10000"/>
                <a:gd name="connsiteY77" fmla="*/ 1641 h 10008"/>
                <a:gd name="connsiteX78" fmla="*/ 7583 w 10000"/>
                <a:gd name="connsiteY78" fmla="*/ 1595 h 10008"/>
                <a:gd name="connsiteX79" fmla="*/ 7610 w 10000"/>
                <a:gd name="connsiteY79" fmla="*/ 1566 h 10008"/>
                <a:gd name="connsiteX80" fmla="*/ 5412 w 10000"/>
                <a:gd name="connsiteY80" fmla="*/ 0 h 10008"/>
                <a:gd name="connsiteX81" fmla="*/ 1423 w 10000"/>
                <a:gd name="connsiteY81" fmla="*/ 1 h 10008"/>
                <a:gd name="connsiteX82" fmla="*/ 1305 w 10000"/>
                <a:gd name="connsiteY82" fmla="*/ 122 h 10008"/>
                <a:gd name="connsiteX83" fmla="*/ 1223 w 10000"/>
                <a:gd name="connsiteY83" fmla="*/ 214 h 10008"/>
                <a:gd name="connsiteX84" fmla="*/ 1149 w 10000"/>
                <a:gd name="connsiteY84" fmla="*/ 310 h 10008"/>
                <a:gd name="connsiteX85" fmla="*/ 1067 w 10000"/>
                <a:gd name="connsiteY85" fmla="*/ 407 h 10008"/>
                <a:gd name="connsiteX86" fmla="*/ 1001 w 10000"/>
                <a:gd name="connsiteY86" fmla="*/ 504 h 10008"/>
                <a:gd name="connsiteX87" fmla="*/ 927 w 10000"/>
                <a:gd name="connsiteY87" fmla="*/ 600 h 10008"/>
                <a:gd name="connsiteX88" fmla="*/ 860 w 10000"/>
                <a:gd name="connsiteY88" fmla="*/ 701 h 10008"/>
                <a:gd name="connsiteX89" fmla="*/ 793 w 10000"/>
                <a:gd name="connsiteY89" fmla="*/ 802 h 10008"/>
                <a:gd name="connsiteX90" fmla="*/ 734 w 10000"/>
                <a:gd name="connsiteY90" fmla="*/ 898 h 10008"/>
                <a:gd name="connsiteX91" fmla="*/ 675 w 10000"/>
                <a:gd name="connsiteY91" fmla="*/ 999 h 10008"/>
                <a:gd name="connsiteX92" fmla="*/ 615 w 10000"/>
                <a:gd name="connsiteY92" fmla="*/ 1100 h 10008"/>
                <a:gd name="connsiteX93" fmla="*/ 556 w 10000"/>
                <a:gd name="connsiteY93" fmla="*/ 1206 h 10008"/>
                <a:gd name="connsiteX94" fmla="*/ 504 w 10000"/>
                <a:gd name="connsiteY94" fmla="*/ 1302 h 10008"/>
                <a:gd name="connsiteX95" fmla="*/ 452 w 10000"/>
                <a:gd name="connsiteY95" fmla="*/ 1408 h 10008"/>
                <a:gd name="connsiteX96" fmla="*/ 408 w 10000"/>
                <a:gd name="connsiteY96" fmla="*/ 1508 h 10008"/>
                <a:gd name="connsiteX97" fmla="*/ 363 w 10000"/>
                <a:gd name="connsiteY97" fmla="*/ 1614 h 10008"/>
                <a:gd name="connsiteX98" fmla="*/ 319 w 10000"/>
                <a:gd name="connsiteY98" fmla="*/ 1719 h 10008"/>
                <a:gd name="connsiteX99" fmla="*/ 282 w 10000"/>
                <a:gd name="connsiteY99" fmla="*/ 1826 h 10008"/>
                <a:gd name="connsiteX100" fmla="*/ 237 w 10000"/>
                <a:gd name="connsiteY100" fmla="*/ 1936 h 10008"/>
                <a:gd name="connsiteX101" fmla="*/ 208 w 10000"/>
                <a:gd name="connsiteY101" fmla="*/ 2041 h 10008"/>
                <a:gd name="connsiteX102" fmla="*/ 170 w 10000"/>
                <a:gd name="connsiteY102" fmla="*/ 2151 h 10008"/>
                <a:gd name="connsiteX103" fmla="*/ 148 w 10000"/>
                <a:gd name="connsiteY103" fmla="*/ 2261 h 10008"/>
                <a:gd name="connsiteX104" fmla="*/ 119 w 10000"/>
                <a:gd name="connsiteY104" fmla="*/ 2366 h 10008"/>
                <a:gd name="connsiteX105" fmla="*/ 96 w 10000"/>
                <a:gd name="connsiteY105" fmla="*/ 2476 h 10008"/>
                <a:gd name="connsiteX106" fmla="*/ 74 w 10000"/>
                <a:gd name="connsiteY106" fmla="*/ 2587 h 10008"/>
                <a:gd name="connsiteX107" fmla="*/ 52 w 10000"/>
                <a:gd name="connsiteY107" fmla="*/ 2702 h 10008"/>
                <a:gd name="connsiteX108" fmla="*/ 37 w 10000"/>
                <a:gd name="connsiteY108" fmla="*/ 2812 h 10008"/>
                <a:gd name="connsiteX109" fmla="*/ 22 w 10000"/>
                <a:gd name="connsiteY109" fmla="*/ 2922 h 10008"/>
                <a:gd name="connsiteX110" fmla="*/ 15 w 10000"/>
                <a:gd name="connsiteY110" fmla="*/ 3032 h 10008"/>
                <a:gd name="connsiteX111" fmla="*/ 7 w 10000"/>
                <a:gd name="connsiteY111" fmla="*/ 3146 h 10008"/>
                <a:gd name="connsiteX112" fmla="*/ 0 w 10000"/>
                <a:gd name="connsiteY112" fmla="*/ 3257 h 10008"/>
                <a:gd name="connsiteX113" fmla="*/ 0 w 10000"/>
                <a:gd name="connsiteY113" fmla="*/ 3372 h 10008"/>
                <a:gd name="connsiteX114" fmla="*/ 7 w 10000"/>
                <a:gd name="connsiteY114" fmla="*/ 3519 h 10008"/>
                <a:gd name="connsiteX115" fmla="*/ 7 w 10000"/>
                <a:gd name="connsiteY115" fmla="*/ 3665 h 10008"/>
                <a:gd name="connsiteX116" fmla="*/ 22 w 10000"/>
                <a:gd name="connsiteY116" fmla="*/ 3803 h 10008"/>
                <a:gd name="connsiteX117" fmla="*/ 37 w 10000"/>
                <a:gd name="connsiteY117" fmla="*/ 3946 h 10008"/>
                <a:gd name="connsiteX118" fmla="*/ 59 w 10000"/>
                <a:gd name="connsiteY118" fmla="*/ 4088 h 10008"/>
                <a:gd name="connsiteX119" fmla="*/ 89 w 10000"/>
                <a:gd name="connsiteY119" fmla="*/ 4230 h 10008"/>
                <a:gd name="connsiteX120" fmla="*/ 119 w 10000"/>
                <a:gd name="connsiteY120" fmla="*/ 4372 h 10008"/>
                <a:gd name="connsiteX121" fmla="*/ 148 w 10000"/>
                <a:gd name="connsiteY121" fmla="*/ 4514 h 10008"/>
                <a:gd name="connsiteX122" fmla="*/ 193 w 10000"/>
                <a:gd name="connsiteY122" fmla="*/ 4653 h 10008"/>
                <a:gd name="connsiteX123" fmla="*/ 237 w 10000"/>
                <a:gd name="connsiteY123" fmla="*/ 4790 h 10008"/>
                <a:gd name="connsiteX124" fmla="*/ 282 w 10000"/>
                <a:gd name="connsiteY124" fmla="*/ 4928 h 10008"/>
                <a:gd name="connsiteX125" fmla="*/ 334 w 10000"/>
                <a:gd name="connsiteY125" fmla="*/ 5065 h 10008"/>
                <a:gd name="connsiteX126" fmla="*/ 393 w 10000"/>
                <a:gd name="connsiteY126" fmla="*/ 5198 h 10008"/>
                <a:gd name="connsiteX127" fmla="*/ 452 w 10000"/>
                <a:gd name="connsiteY127" fmla="*/ 5331 h 10008"/>
                <a:gd name="connsiteX128" fmla="*/ 519 w 10000"/>
                <a:gd name="connsiteY128" fmla="*/ 5465 h 10008"/>
                <a:gd name="connsiteX129" fmla="*/ 586 w 10000"/>
                <a:gd name="connsiteY129" fmla="*/ 5598 h 10008"/>
                <a:gd name="connsiteX130" fmla="*/ 660 w 10000"/>
                <a:gd name="connsiteY130" fmla="*/ 5726 h 10008"/>
                <a:gd name="connsiteX131" fmla="*/ 741 w 10000"/>
                <a:gd name="connsiteY131" fmla="*/ 5854 h 10008"/>
                <a:gd name="connsiteX132" fmla="*/ 823 w 10000"/>
                <a:gd name="connsiteY132" fmla="*/ 5987 h 10008"/>
                <a:gd name="connsiteX133" fmla="*/ 904 w 10000"/>
                <a:gd name="connsiteY133" fmla="*/ 6112 h 10008"/>
                <a:gd name="connsiteX134" fmla="*/ 993 w 10000"/>
                <a:gd name="connsiteY134" fmla="*/ 6236 h 10008"/>
                <a:gd name="connsiteX135" fmla="*/ 1090 w 10000"/>
                <a:gd name="connsiteY135" fmla="*/ 6355 h 10008"/>
                <a:gd name="connsiteX136" fmla="*/ 1186 w 10000"/>
                <a:gd name="connsiteY136" fmla="*/ 6479 h 10008"/>
                <a:gd name="connsiteX137" fmla="*/ 1290 w 10000"/>
                <a:gd name="connsiteY137" fmla="*/ 6602 h 10008"/>
                <a:gd name="connsiteX138" fmla="*/ 1386 w 10000"/>
                <a:gd name="connsiteY138" fmla="*/ 6722 h 10008"/>
                <a:gd name="connsiteX139" fmla="*/ 1497 w 10000"/>
                <a:gd name="connsiteY139" fmla="*/ 6842 h 10008"/>
                <a:gd name="connsiteX140" fmla="*/ 1609 w 10000"/>
                <a:gd name="connsiteY140" fmla="*/ 6956 h 10008"/>
                <a:gd name="connsiteX141" fmla="*/ 1727 w 10000"/>
                <a:gd name="connsiteY141" fmla="*/ 7075 h 10008"/>
                <a:gd name="connsiteX142" fmla="*/ 1846 w 10000"/>
                <a:gd name="connsiteY142" fmla="*/ 7190 h 10008"/>
                <a:gd name="connsiteX143" fmla="*/ 1964 w 10000"/>
                <a:gd name="connsiteY143" fmla="*/ 7300 h 10008"/>
                <a:gd name="connsiteX144" fmla="*/ 2090 w 10000"/>
                <a:gd name="connsiteY144" fmla="*/ 7410 h 10008"/>
                <a:gd name="connsiteX145" fmla="*/ 2224 w 10000"/>
                <a:gd name="connsiteY145" fmla="*/ 7521 h 10008"/>
                <a:gd name="connsiteX146" fmla="*/ 2350 w 10000"/>
                <a:gd name="connsiteY146" fmla="*/ 7631 h 10008"/>
                <a:gd name="connsiteX147" fmla="*/ 2491 w 10000"/>
                <a:gd name="connsiteY147" fmla="*/ 7736 h 10008"/>
                <a:gd name="connsiteX148" fmla="*/ 2617 w 10000"/>
                <a:gd name="connsiteY148" fmla="*/ 7842 h 10008"/>
                <a:gd name="connsiteX149" fmla="*/ 2765 w 10000"/>
                <a:gd name="connsiteY149" fmla="*/ 7943 h 10008"/>
                <a:gd name="connsiteX150" fmla="*/ 2906 w 10000"/>
                <a:gd name="connsiteY150" fmla="*/ 8043 h 10008"/>
                <a:gd name="connsiteX151" fmla="*/ 3054 w 10000"/>
                <a:gd name="connsiteY151" fmla="*/ 8144 h 10008"/>
                <a:gd name="connsiteX152" fmla="*/ 3210 w 10000"/>
                <a:gd name="connsiteY152" fmla="*/ 8242 h 10008"/>
                <a:gd name="connsiteX153" fmla="*/ 3358 w 10000"/>
                <a:gd name="connsiteY153" fmla="*/ 8338 h 10008"/>
                <a:gd name="connsiteX154" fmla="*/ 3514 w 10000"/>
                <a:gd name="connsiteY154" fmla="*/ 8434 h 10008"/>
                <a:gd name="connsiteX155" fmla="*/ 3677 w 10000"/>
                <a:gd name="connsiteY155" fmla="*/ 8526 h 10008"/>
                <a:gd name="connsiteX156" fmla="*/ 3840 w 10000"/>
                <a:gd name="connsiteY156" fmla="*/ 8613 h 10008"/>
                <a:gd name="connsiteX157" fmla="*/ 4010 w 10000"/>
                <a:gd name="connsiteY157" fmla="*/ 8704 h 10008"/>
                <a:gd name="connsiteX158" fmla="*/ 4181 w 10000"/>
                <a:gd name="connsiteY158" fmla="*/ 8782 h 10008"/>
                <a:gd name="connsiteX159" fmla="*/ 4351 w 10000"/>
                <a:gd name="connsiteY159" fmla="*/ 8869 h 10008"/>
                <a:gd name="connsiteX160" fmla="*/ 4522 w 10000"/>
                <a:gd name="connsiteY160" fmla="*/ 8948 h 10008"/>
                <a:gd name="connsiteX161" fmla="*/ 4700 w 10000"/>
                <a:gd name="connsiteY161" fmla="*/ 9031 h 10008"/>
                <a:gd name="connsiteX162" fmla="*/ 4878 w 10000"/>
                <a:gd name="connsiteY162" fmla="*/ 9109 h 10008"/>
                <a:gd name="connsiteX163" fmla="*/ 5063 w 10000"/>
                <a:gd name="connsiteY163" fmla="*/ 9182 h 10008"/>
                <a:gd name="connsiteX164" fmla="*/ 5248 w 10000"/>
                <a:gd name="connsiteY164" fmla="*/ 9260 h 10008"/>
                <a:gd name="connsiteX165" fmla="*/ 5426 w 10000"/>
                <a:gd name="connsiteY165" fmla="*/ 9329 h 10008"/>
                <a:gd name="connsiteX166" fmla="*/ 5619 w 10000"/>
                <a:gd name="connsiteY166" fmla="*/ 9397 h 10008"/>
                <a:gd name="connsiteX167" fmla="*/ 5812 w 10000"/>
                <a:gd name="connsiteY167" fmla="*/ 9466 h 10008"/>
                <a:gd name="connsiteX168" fmla="*/ 6004 w 10000"/>
                <a:gd name="connsiteY168" fmla="*/ 9530 h 10008"/>
                <a:gd name="connsiteX169" fmla="*/ 6205 w 10000"/>
                <a:gd name="connsiteY169" fmla="*/ 9595 h 10008"/>
                <a:gd name="connsiteX170" fmla="*/ 6397 w 10000"/>
                <a:gd name="connsiteY170" fmla="*/ 9655 h 10008"/>
                <a:gd name="connsiteX171" fmla="*/ 6605 w 10000"/>
                <a:gd name="connsiteY171" fmla="*/ 9710 h 10008"/>
                <a:gd name="connsiteX172" fmla="*/ 6805 w 10000"/>
                <a:gd name="connsiteY172" fmla="*/ 9765 h 10008"/>
                <a:gd name="connsiteX173" fmla="*/ 7005 w 10000"/>
                <a:gd name="connsiteY173" fmla="*/ 9820 h 10008"/>
                <a:gd name="connsiteX174" fmla="*/ 7213 w 10000"/>
                <a:gd name="connsiteY174" fmla="*/ 9871 h 10008"/>
                <a:gd name="connsiteX175" fmla="*/ 7420 w 10000"/>
                <a:gd name="connsiteY175" fmla="*/ 9916 h 10008"/>
                <a:gd name="connsiteX176" fmla="*/ 7628 w 10000"/>
                <a:gd name="connsiteY176" fmla="*/ 9962 h 10008"/>
                <a:gd name="connsiteX177" fmla="*/ 7835 w 10000"/>
                <a:gd name="connsiteY177" fmla="*/ 10008 h 10008"/>
                <a:gd name="connsiteX178" fmla="*/ 7539 w 10000"/>
                <a:gd name="connsiteY178" fmla="*/ 7759 h 10008"/>
                <a:gd name="connsiteX179" fmla="*/ 10000 w 10000"/>
                <a:gd name="connsiteY179" fmla="*/ 6144 h 10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10000" h="10008">
                  <a:moveTo>
                    <a:pt x="10000" y="6144"/>
                  </a:moveTo>
                  <a:lnTo>
                    <a:pt x="10000" y="6144"/>
                  </a:lnTo>
                  <a:lnTo>
                    <a:pt x="9911" y="6130"/>
                  </a:lnTo>
                  <a:lnTo>
                    <a:pt x="9815" y="6112"/>
                  </a:lnTo>
                  <a:lnTo>
                    <a:pt x="9726" y="6094"/>
                  </a:lnTo>
                  <a:lnTo>
                    <a:pt x="9637" y="6070"/>
                  </a:lnTo>
                  <a:cubicBezTo>
                    <a:pt x="9607" y="6064"/>
                    <a:pt x="9578" y="6057"/>
                    <a:pt x="9548" y="6051"/>
                  </a:cubicBezTo>
                  <a:lnTo>
                    <a:pt x="9466" y="6029"/>
                  </a:lnTo>
                  <a:lnTo>
                    <a:pt x="9377" y="6006"/>
                  </a:lnTo>
                  <a:lnTo>
                    <a:pt x="9288" y="5983"/>
                  </a:lnTo>
                  <a:lnTo>
                    <a:pt x="9118" y="5932"/>
                  </a:lnTo>
                  <a:lnTo>
                    <a:pt x="8955" y="5877"/>
                  </a:lnTo>
                  <a:lnTo>
                    <a:pt x="8792" y="5818"/>
                  </a:lnTo>
                  <a:lnTo>
                    <a:pt x="8636" y="5754"/>
                  </a:lnTo>
                  <a:lnTo>
                    <a:pt x="8480" y="5689"/>
                  </a:lnTo>
                  <a:lnTo>
                    <a:pt x="8340" y="5621"/>
                  </a:lnTo>
                  <a:lnTo>
                    <a:pt x="8199" y="5547"/>
                  </a:lnTo>
                  <a:lnTo>
                    <a:pt x="8058" y="5469"/>
                  </a:lnTo>
                  <a:cubicBezTo>
                    <a:pt x="8013" y="5442"/>
                    <a:pt x="7969" y="5414"/>
                    <a:pt x="7924" y="5387"/>
                  </a:cubicBezTo>
                  <a:lnTo>
                    <a:pt x="7798" y="5303"/>
                  </a:lnTo>
                  <a:lnTo>
                    <a:pt x="7672" y="5216"/>
                  </a:lnTo>
                  <a:lnTo>
                    <a:pt x="7554" y="5129"/>
                  </a:lnTo>
                  <a:lnTo>
                    <a:pt x="7450" y="5033"/>
                  </a:lnTo>
                  <a:lnTo>
                    <a:pt x="7346" y="4937"/>
                  </a:lnTo>
                  <a:lnTo>
                    <a:pt x="7250" y="4841"/>
                  </a:lnTo>
                  <a:lnTo>
                    <a:pt x="7161" y="4740"/>
                  </a:lnTo>
                  <a:cubicBezTo>
                    <a:pt x="7131" y="4706"/>
                    <a:pt x="7102" y="4672"/>
                    <a:pt x="7072" y="4638"/>
                  </a:cubicBezTo>
                  <a:cubicBezTo>
                    <a:pt x="7045" y="4601"/>
                    <a:pt x="7017" y="4565"/>
                    <a:pt x="6990" y="4528"/>
                  </a:cubicBezTo>
                  <a:cubicBezTo>
                    <a:pt x="6978" y="4511"/>
                    <a:pt x="6965" y="4495"/>
                    <a:pt x="6953" y="4478"/>
                  </a:cubicBezTo>
                  <a:cubicBezTo>
                    <a:pt x="6941" y="4460"/>
                    <a:pt x="6928" y="4441"/>
                    <a:pt x="6916" y="4423"/>
                  </a:cubicBezTo>
                  <a:cubicBezTo>
                    <a:pt x="6906" y="4405"/>
                    <a:pt x="6897" y="4386"/>
                    <a:pt x="6887" y="4368"/>
                  </a:cubicBezTo>
                  <a:cubicBezTo>
                    <a:pt x="6875" y="4350"/>
                    <a:pt x="6862" y="4331"/>
                    <a:pt x="6850" y="4313"/>
                  </a:cubicBezTo>
                  <a:cubicBezTo>
                    <a:pt x="6840" y="4295"/>
                    <a:pt x="6830" y="4276"/>
                    <a:pt x="6820" y="4258"/>
                  </a:cubicBezTo>
                  <a:cubicBezTo>
                    <a:pt x="6810" y="4240"/>
                    <a:pt x="6800" y="4221"/>
                    <a:pt x="6790" y="4203"/>
                  </a:cubicBezTo>
                  <a:cubicBezTo>
                    <a:pt x="6783" y="4183"/>
                    <a:pt x="6775" y="4163"/>
                    <a:pt x="6768" y="4143"/>
                  </a:cubicBezTo>
                  <a:cubicBezTo>
                    <a:pt x="6758" y="4125"/>
                    <a:pt x="6748" y="4106"/>
                    <a:pt x="6738" y="4088"/>
                  </a:cubicBezTo>
                  <a:lnTo>
                    <a:pt x="6723" y="4028"/>
                  </a:lnTo>
                  <a:cubicBezTo>
                    <a:pt x="6713" y="4010"/>
                    <a:pt x="6704" y="3991"/>
                    <a:pt x="6694" y="3973"/>
                  </a:cubicBezTo>
                  <a:lnTo>
                    <a:pt x="6679" y="3913"/>
                  </a:lnTo>
                  <a:lnTo>
                    <a:pt x="6664" y="3853"/>
                  </a:lnTo>
                  <a:cubicBezTo>
                    <a:pt x="6659" y="3833"/>
                    <a:pt x="6654" y="3814"/>
                    <a:pt x="6649" y="3794"/>
                  </a:cubicBezTo>
                  <a:cubicBezTo>
                    <a:pt x="6644" y="3776"/>
                    <a:pt x="6640" y="3757"/>
                    <a:pt x="6635" y="3739"/>
                  </a:cubicBezTo>
                  <a:lnTo>
                    <a:pt x="6620" y="3679"/>
                  </a:lnTo>
                  <a:cubicBezTo>
                    <a:pt x="6617" y="3659"/>
                    <a:pt x="6615" y="3640"/>
                    <a:pt x="6612" y="3620"/>
                  </a:cubicBezTo>
                  <a:cubicBezTo>
                    <a:pt x="6610" y="3600"/>
                    <a:pt x="6607" y="3580"/>
                    <a:pt x="6605" y="3560"/>
                  </a:cubicBezTo>
                  <a:cubicBezTo>
                    <a:pt x="6602" y="3539"/>
                    <a:pt x="6600" y="3517"/>
                    <a:pt x="6597" y="3496"/>
                  </a:cubicBezTo>
                  <a:lnTo>
                    <a:pt x="6597" y="3436"/>
                  </a:lnTo>
                  <a:cubicBezTo>
                    <a:pt x="6595" y="3415"/>
                    <a:pt x="6592" y="3393"/>
                    <a:pt x="6590" y="3372"/>
                  </a:cubicBezTo>
                  <a:cubicBezTo>
                    <a:pt x="6592" y="3352"/>
                    <a:pt x="6595" y="3332"/>
                    <a:pt x="6597" y="3312"/>
                  </a:cubicBezTo>
                  <a:cubicBezTo>
                    <a:pt x="6600" y="3289"/>
                    <a:pt x="6602" y="3267"/>
                    <a:pt x="6605" y="3244"/>
                  </a:cubicBezTo>
                  <a:lnTo>
                    <a:pt x="6605" y="3179"/>
                  </a:lnTo>
                  <a:cubicBezTo>
                    <a:pt x="6607" y="3157"/>
                    <a:pt x="6610" y="3136"/>
                    <a:pt x="6612" y="3114"/>
                  </a:cubicBezTo>
                  <a:cubicBezTo>
                    <a:pt x="6615" y="3093"/>
                    <a:pt x="6617" y="3071"/>
                    <a:pt x="6620" y="3050"/>
                  </a:cubicBezTo>
                  <a:cubicBezTo>
                    <a:pt x="6625" y="3030"/>
                    <a:pt x="6630" y="3011"/>
                    <a:pt x="6635" y="2991"/>
                  </a:cubicBezTo>
                  <a:cubicBezTo>
                    <a:pt x="6640" y="2970"/>
                    <a:pt x="6644" y="2948"/>
                    <a:pt x="6649" y="2927"/>
                  </a:cubicBezTo>
                  <a:lnTo>
                    <a:pt x="6664" y="2867"/>
                  </a:lnTo>
                  <a:cubicBezTo>
                    <a:pt x="6671" y="2846"/>
                    <a:pt x="6679" y="2824"/>
                    <a:pt x="6686" y="2803"/>
                  </a:cubicBezTo>
                  <a:cubicBezTo>
                    <a:pt x="6694" y="2783"/>
                    <a:pt x="6701" y="2763"/>
                    <a:pt x="6709" y="2743"/>
                  </a:cubicBezTo>
                  <a:cubicBezTo>
                    <a:pt x="6716" y="2723"/>
                    <a:pt x="6724" y="2704"/>
                    <a:pt x="6731" y="2684"/>
                  </a:cubicBezTo>
                  <a:cubicBezTo>
                    <a:pt x="6738" y="2662"/>
                    <a:pt x="6746" y="2641"/>
                    <a:pt x="6753" y="2619"/>
                  </a:cubicBezTo>
                  <a:cubicBezTo>
                    <a:pt x="6763" y="2601"/>
                    <a:pt x="6773" y="2582"/>
                    <a:pt x="6783" y="2564"/>
                  </a:cubicBezTo>
                  <a:cubicBezTo>
                    <a:pt x="6793" y="2544"/>
                    <a:pt x="6802" y="2525"/>
                    <a:pt x="6812" y="2504"/>
                  </a:cubicBezTo>
                  <a:lnTo>
                    <a:pt x="6842" y="2444"/>
                  </a:lnTo>
                  <a:cubicBezTo>
                    <a:pt x="6854" y="2424"/>
                    <a:pt x="6867" y="2405"/>
                    <a:pt x="6879" y="2385"/>
                  </a:cubicBezTo>
                  <a:cubicBezTo>
                    <a:pt x="6889" y="2367"/>
                    <a:pt x="6899" y="2348"/>
                    <a:pt x="6909" y="2330"/>
                  </a:cubicBezTo>
                  <a:cubicBezTo>
                    <a:pt x="6921" y="2310"/>
                    <a:pt x="6934" y="2290"/>
                    <a:pt x="6946" y="2270"/>
                  </a:cubicBezTo>
                  <a:cubicBezTo>
                    <a:pt x="6961" y="2252"/>
                    <a:pt x="6975" y="2233"/>
                    <a:pt x="6990" y="2215"/>
                  </a:cubicBezTo>
                  <a:cubicBezTo>
                    <a:pt x="7002" y="2197"/>
                    <a:pt x="7015" y="2178"/>
                    <a:pt x="7027" y="2160"/>
                  </a:cubicBezTo>
                  <a:cubicBezTo>
                    <a:pt x="7042" y="2142"/>
                    <a:pt x="7057" y="2123"/>
                    <a:pt x="7072" y="2105"/>
                  </a:cubicBezTo>
                  <a:cubicBezTo>
                    <a:pt x="7084" y="2087"/>
                    <a:pt x="7097" y="2068"/>
                    <a:pt x="7109" y="2050"/>
                  </a:cubicBezTo>
                  <a:cubicBezTo>
                    <a:pt x="7126" y="2033"/>
                    <a:pt x="7144" y="2017"/>
                    <a:pt x="7161" y="2000"/>
                  </a:cubicBezTo>
                  <a:lnTo>
                    <a:pt x="7213" y="1945"/>
                  </a:lnTo>
                  <a:cubicBezTo>
                    <a:pt x="7228" y="1927"/>
                    <a:pt x="7242" y="1908"/>
                    <a:pt x="7257" y="1890"/>
                  </a:cubicBezTo>
                  <a:cubicBezTo>
                    <a:pt x="7274" y="1873"/>
                    <a:pt x="7292" y="1856"/>
                    <a:pt x="7309" y="1839"/>
                  </a:cubicBezTo>
                  <a:cubicBezTo>
                    <a:pt x="7326" y="1822"/>
                    <a:pt x="7344" y="1806"/>
                    <a:pt x="7361" y="1788"/>
                  </a:cubicBezTo>
                  <a:cubicBezTo>
                    <a:pt x="7378" y="1771"/>
                    <a:pt x="7396" y="1755"/>
                    <a:pt x="7413" y="1738"/>
                  </a:cubicBezTo>
                  <a:cubicBezTo>
                    <a:pt x="7433" y="1721"/>
                    <a:pt x="7452" y="1704"/>
                    <a:pt x="7472" y="1687"/>
                  </a:cubicBezTo>
                  <a:lnTo>
                    <a:pt x="7524" y="1641"/>
                  </a:lnTo>
                  <a:cubicBezTo>
                    <a:pt x="7544" y="1626"/>
                    <a:pt x="7563" y="1610"/>
                    <a:pt x="7583" y="1595"/>
                  </a:cubicBezTo>
                  <a:cubicBezTo>
                    <a:pt x="7603" y="1578"/>
                    <a:pt x="7590" y="1583"/>
                    <a:pt x="7610" y="1566"/>
                  </a:cubicBezTo>
                  <a:lnTo>
                    <a:pt x="5412" y="0"/>
                  </a:lnTo>
                  <a:lnTo>
                    <a:pt x="1423" y="1"/>
                  </a:lnTo>
                  <a:cubicBezTo>
                    <a:pt x="1391" y="44"/>
                    <a:pt x="1337" y="79"/>
                    <a:pt x="1305" y="122"/>
                  </a:cubicBezTo>
                  <a:cubicBezTo>
                    <a:pt x="1278" y="153"/>
                    <a:pt x="1250" y="183"/>
                    <a:pt x="1223" y="214"/>
                  </a:cubicBezTo>
                  <a:cubicBezTo>
                    <a:pt x="1198" y="246"/>
                    <a:pt x="1174" y="278"/>
                    <a:pt x="1149" y="310"/>
                  </a:cubicBezTo>
                  <a:lnTo>
                    <a:pt x="1067" y="407"/>
                  </a:lnTo>
                  <a:cubicBezTo>
                    <a:pt x="1045" y="439"/>
                    <a:pt x="1023" y="472"/>
                    <a:pt x="1001" y="504"/>
                  </a:cubicBezTo>
                  <a:cubicBezTo>
                    <a:pt x="976" y="536"/>
                    <a:pt x="952" y="568"/>
                    <a:pt x="927" y="600"/>
                  </a:cubicBezTo>
                  <a:cubicBezTo>
                    <a:pt x="905" y="634"/>
                    <a:pt x="882" y="667"/>
                    <a:pt x="860" y="701"/>
                  </a:cubicBezTo>
                  <a:cubicBezTo>
                    <a:pt x="838" y="735"/>
                    <a:pt x="815" y="768"/>
                    <a:pt x="793" y="802"/>
                  </a:cubicBezTo>
                  <a:cubicBezTo>
                    <a:pt x="773" y="834"/>
                    <a:pt x="754" y="866"/>
                    <a:pt x="734" y="898"/>
                  </a:cubicBezTo>
                  <a:cubicBezTo>
                    <a:pt x="714" y="932"/>
                    <a:pt x="695" y="965"/>
                    <a:pt x="675" y="999"/>
                  </a:cubicBezTo>
                  <a:cubicBezTo>
                    <a:pt x="655" y="1032"/>
                    <a:pt x="635" y="1066"/>
                    <a:pt x="615" y="1100"/>
                  </a:cubicBezTo>
                  <a:cubicBezTo>
                    <a:pt x="595" y="1135"/>
                    <a:pt x="576" y="1171"/>
                    <a:pt x="556" y="1206"/>
                  </a:cubicBezTo>
                  <a:cubicBezTo>
                    <a:pt x="539" y="1238"/>
                    <a:pt x="521" y="1270"/>
                    <a:pt x="504" y="1302"/>
                  </a:cubicBezTo>
                  <a:cubicBezTo>
                    <a:pt x="487" y="1337"/>
                    <a:pt x="469" y="1373"/>
                    <a:pt x="452" y="1408"/>
                  </a:cubicBezTo>
                  <a:cubicBezTo>
                    <a:pt x="437" y="1441"/>
                    <a:pt x="423" y="1475"/>
                    <a:pt x="408" y="1508"/>
                  </a:cubicBezTo>
                  <a:cubicBezTo>
                    <a:pt x="393" y="1543"/>
                    <a:pt x="378" y="1579"/>
                    <a:pt x="363" y="1614"/>
                  </a:cubicBezTo>
                  <a:cubicBezTo>
                    <a:pt x="348" y="1649"/>
                    <a:pt x="334" y="1684"/>
                    <a:pt x="319" y="1719"/>
                  </a:cubicBezTo>
                  <a:cubicBezTo>
                    <a:pt x="307" y="1754"/>
                    <a:pt x="294" y="1790"/>
                    <a:pt x="282" y="1826"/>
                  </a:cubicBezTo>
                  <a:cubicBezTo>
                    <a:pt x="267" y="1863"/>
                    <a:pt x="252" y="1899"/>
                    <a:pt x="237" y="1936"/>
                  </a:cubicBezTo>
                  <a:cubicBezTo>
                    <a:pt x="227" y="1971"/>
                    <a:pt x="218" y="2006"/>
                    <a:pt x="208" y="2041"/>
                  </a:cubicBezTo>
                  <a:cubicBezTo>
                    <a:pt x="195" y="2078"/>
                    <a:pt x="183" y="2114"/>
                    <a:pt x="170" y="2151"/>
                  </a:cubicBezTo>
                  <a:cubicBezTo>
                    <a:pt x="163" y="2188"/>
                    <a:pt x="155" y="2224"/>
                    <a:pt x="148" y="2261"/>
                  </a:cubicBezTo>
                  <a:cubicBezTo>
                    <a:pt x="138" y="2296"/>
                    <a:pt x="129" y="2331"/>
                    <a:pt x="119" y="2366"/>
                  </a:cubicBezTo>
                  <a:cubicBezTo>
                    <a:pt x="111" y="2403"/>
                    <a:pt x="104" y="2439"/>
                    <a:pt x="96" y="2476"/>
                  </a:cubicBezTo>
                  <a:cubicBezTo>
                    <a:pt x="89" y="2514"/>
                    <a:pt x="81" y="2550"/>
                    <a:pt x="74" y="2587"/>
                  </a:cubicBezTo>
                  <a:cubicBezTo>
                    <a:pt x="67" y="2625"/>
                    <a:pt x="59" y="2664"/>
                    <a:pt x="52" y="2702"/>
                  </a:cubicBezTo>
                  <a:cubicBezTo>
                    <a:pt x="47" y="2739"/>
                    <a:pt x="42" y="2775"/>
                    <a:pt x="37" y="2812"/>
                  </a:cubicBezTo>
                  <a:cubicBezTo>
                    <a:pt x="32" y="2849"/>
                    <a:pt x="27" y="2885"/>
                    <a:pt x="22" y="2922"/>
                  </a:cubicBezTo>
                  <a:cubicBezTo>
                    <a:pt x="20" y="2959"/>
                    <a:pt x="17" y="2995"/>
                    <a:pt x="15" y="3032"/>
                  </a:cubicBezTo>
                  <a:cubicBezTo>
                    <a:pt x="12" y="3070"/>
                    <a:pt x="10" y="3108"/>
                    <a:pt x="7" y="3146"/>
                  </a:cubicBezTo>
                  <a:cubicBezTo>
                    <a:pt x="5" y="3183"/>
                    <a:pt x="2" y="3219"/>
                    <a:pt x="0" y="3257"/>
                  </a:cubicBezTo>
                  <a:lnTo>
                    <a:pt x="0" y="3372"/>
                  </a:lnTo>
                  <a:cubicBezTo>
                    <a:pt x="2" y="3421"/>
                    <a:pt x="5" y="3470"/>
                    <a:pt x="7" y="3519"/>
                  </a:cubicBezTo>
                  <a:lnTo>
                    <a:pt x="7" y="3665"/>
                  </a:lnTo>
                  <a:lnTo>
                    <a:pt x="22" y="3803"/>
                  </a:lnTo>
                  <a:cubicBezTo>
                    <a:pt x="27" y="3850"/>
                    <a:pt x="32" y="3898"/>
                    <a:pt x="37" y="3946"/>
                  </a:cubicBezTo>
                  <a:cubicBezTo>
                    <a:pt x="44" y="3993"/>
                    <a:pt x="52" y="4041"/>
                    <a:pt x="59" y="4088"/>
                  </a:cubicBezTo>
                  <a:cubicBezTo>
                    <a:pt x="69" y="4135"/>
                    <a:pt x="79" y="4183"/>
                    <a:pt x="89" y="4230"/>
                  </a:cubicBezTo>
                  <a:cubicBezTo>
                    <a:pt x="99" y="4277"/>
                    <a:pt x="109" y="4325"/>
                    <a:pt x="119" y="4372"/>
                  </a:cubicBezTo>
                  <a:cubicBezTo>
                    <a:pt x="129" y="4419"/>
                    <a:pt x="138" y="4467"/>
                    <a:pt x="148" y="4514"/>
                  </a:cubicBezTo>
                  <a:cubicBezTo>
                    <a:pt x="163" y="4560"/>
                    <a:pt x="178" y="4607"/>
                    <a:pt x="193" y="4653"/>
                  </a:cubicBezTo>
                  <a:cubicBezTo>
                    <a:pt x="208" y="4699"/>
                    <a:pt x="222" y="4744"/>
                    <a:pt x="237" y="4790"/>
                  </a:cubicBezTo>
                  <a:lnTo>
                    <a:pt x="282" y="4928"/>
                  </a:lnTo>
                  <a:cubicBezTo>
                    <a:pt x="299" y="4974"/>
                    <a:pt x="317" y="5019"/>
                    <a:pt x="334" y="5065"/>
                  </a:cubicBezTo>
                  <a:cubicBezTo>
                    <a:pt x="354" y="5109"/>
                    <a:pt x="373" y="5154"/>
                    <a:pt x="393" y="5198"/>
                  </a:cubicBezTo>
                  <a:cubicBezTo>
                    <a:pt x="413" y="5242"/>
                    <a:pt x="432" y="5287"/>
                    <a:pt x="452" y="5331"/>
                  </a:cubicBezTo>
                  <a:cubicBezTo>
                    <a:pt x="474" y="5376"/>
                    <a:pt x="497" y="5421"/>
                    <a:pt x="519" y="5465"/>
                  </a:cubicBezTo>
                  <a:cubicBezTo>
                    <a:pt x="541" y="5509"/>
                    <a:pt x="564" y="5554"/>
                    <a:pt x="586" y="5598"/>
                  </a:cubicBezTo>
                  <a:lnTo>
                    <a:pt x="660" y="5726"/>
                  </a:lnTo>
                  <a:cubicBezTo>
                    <a:pt x="687" y="5769"/>
                    <a:pt x="714" y="5811"/>
                    <a:pt x="741" y="5854"/>
                  </a:cubicBezTo>
                  <a:lnTo>
                    <a:pt x="823" y="5987"/>
                  </a:lnTo>
                  <a:cubicBezTo>
                    <a:pt x="850" y="6028"/>
                    <a:pt x="877" y="6070"/>
                    <a:pt x="904" y="6112"/>
                  </a:cubicBezTo>
                  <a:cubicBezTo>
                    <a:pt x="934" y="6153"/>
                    <a:pt x="963" y="6195"/>
                    <a:pt x="993" y="6236"/>
                  </a:cubicBezTo>
                  <a:cubicBezTo>
                    <a:pt x="1025" y="6276"/>
                    <a:pt x="1058" y="6315"/>
                    <a:pt x="1090" y="6355"/>
                  </a:cubicBezTo>
                  <a:cubicBezTo>
                    <a:pt x="1122" y="6396"/>
                    <a:pt x="1154" y="6438"/>
                    <a:pt x="1186" y="6479"/>
                  </a:cubicBezTo>
                  <a:cubicBezTo>
                    <a:pt x="1221" y="6520"/>
                    <a:pt x="1255" y="6561"/>
                    <a:pt x="1290" y="6602"/>
                  </a:cubicBezTo>
                  <a:lnTo>
                    <a:pt x="1386" y="6722"/>
                  </a:lnTo>
                  <a:lnTo>
                    <a:pt x="1497" y="6842"/>
                  </a:lnTo>
                  <a:lnTo>
                    <a:pt x="1609" y="6956"/>
                  </a:lnTo>
                  <a:cubicBezTo>
                    <a:pt x="1648" y="6996"/>
                    <a:pt x="1688" y="7035"/>
                    <a:pt x="1727" y="7075"/>
                  </a:cubicBezTo>
                  <a:cubicBezTo>
                    <a:pt x="1767" y="7113"/>
                    <a:pt x="1806" y="7152"/>
                    <a:pt x="1846" y="7190"/>
                  </a:cubicBezTo>
                  <a:cubicBezTo>
                    <a:pt x="1885" y="7227"/>
                    <a:pt x="1925" y="7263"/>
                    <a:pt x="1964" y="7300"/>
                  </a:cubicBezTo>
                  <a:lnTo>
                    <a:pt x="2090" y="7410"/>
                  </a:lnTo>
                  <a:lnTo>
                    <a:pt x="2224" y="7521"/>
                  </a:lnTo>
                  <a:lnTo>
                    <a:pt x="2350" y="7631"/>
                  </a:lnTo>
                  <a:lnTo>
                    <a:pt x="2491" y="7736"/>
                  </a:lnTo>
                  <a:lnTo>
                    <a:pt x="2617" y="7842"/>
                  </a:lnTo>
                  <a:cubicBezTo>
                    <a:pt x="2666" y="7876"/>
                    <a:pt x="2716" y="7909"/>
                    <a:pt x="2765" y="7943"/>
                  </a:cubicBezTo>
                  <a:lnTo>
                    <a:pt x="2906" y="8043"/>
                  </a:lnTo>
                  <a:cubicBezTo>
                    <a:pt x="2955" y="8077"/>
                    <a:pt x="3005" y="8110"/>
                    <a:pt x="3054" y="8144"/>
                  </a:cubicBezTo>
                  <a:lnTo>
                    <a:pt x="3210" y="8242"/>
                  </a:lnTo>
                  <a:lnTo>
                    <a:pt x="3358" y="8338"/>
                  </a:lnTo>
                  <a:lnTo>
                    <a:pt x="3514" y="8434"/>
                  </a:lnTo>
                  <a:lnTo>
                    <a:pt x="3677" y="8526"/>
                  </a:lnTo>
                  <a:lnTo>
                    <a:pt x="3840" y="8613"/>
                  </a:lnTo>
                  <a:lnTo>
                    <a:pt x="4010" y="8704"/>
                  </a:lnTo>
                  <a:lnTo>
                    <a:pt x="4181" y="8782"/>
                  </a:lnTo>
                  <a:lnTo>
                    <a:pt x="4351" y="8869"/>
                  </a:lnTo>
                  <a:lnTo>
                    <a:pt x="4522" y="8948"/>
                  </a:lnTo>
                  <a:lnTo>
                    <a:pt x="4700" y="9031"/>
                  </a:lnTo>
                  <a:lnTo>
                    <a:pt x="4878" y="9109"/>
                  </a:lnTo>
                  <a:lnTo>
                    <a:pt x="5063" y="9182"/>
                  </a:lnTo>
                  <a:lnTo>
                    <a:pt x="5248" y="9260"/>
                  </a:lnTo>
                  <a:lnTo>
                    <a:pt x="5426" y="9329"/>
                  </a:lnTo>
                  <a:lnTo>
                    <a:pt x="5619" y="9397"/>
                  </a:lnTo>
                  <a:lnTo>
                    <a:pt x="5812" y="9466"/>
                  </a:lnTo>
                  <a:lnTo>
                    <a:pt x="6004" y="9530"/>
                  </a:lnTo>
                  <a:lnTo>
                    <a:pt x="6205" y="9595"/>
                  </a:lnTo>
                  <a:lnTo>
                    <a:pt x="6397" y="9655"/>
                  </a:lnTo>
                  <a:lnTo>
                    <a:pt x="6605" y="9710"/>
                  </a:lnTo>
                  <a:lnTo>
                    <a:pt x="6805" y="9765"/>
                  </a:lnTo>
                  <a:lnTo>
                    <a:pt x="7005" y="9820"/>
                  </a:lnTo>
                  <a:lnTo>
                    <a:pt x="7213" y="9871"/>
                  </a:lnTo>
                  <a:lnTo>
                    <a:pt x="7420" y="9916"/>
                  </a:lnTo>
                  <a:lnTo>
                    <a:pt x="7628" y="9962"/>
                  </a:lnTo>
                  <a:lnTo>
                    <a:pt x="7835" y="10008"/>
                  </a:lnTo>
                  <a:cubicBezTo>
                    <a:pt x="7736" y="9258"/>
                    <a:pt x="7638" y="8509"/>
                    <a:pt x="7539" y="7759"/>
                  </a:cubicBezTo>
                  <a:lnTo>
                    <a:pt x="10000" y="6144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/>
            </a:p>
          </p:txBody>
        </p:sp>
        <p:sp>
          <p:nvSpPr>
            <p:cNvPr id="66" name="Freeform 6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-53453586" y="-1173127"/>
              <a:ext cx="60999224" cy="43890433"/>
            </a:xfrm>
            <a:custGeom>
              <a:avLst/>
              <a:gdLst>
                <a:gd name="T0" fmla="*/ 2147483647 w 5608"/>
                <a:gd name="T1" fmla="*/ 2147483647 h 4036"/>
                <a:gd name="T2" fmla="*/ 2147483647 w 5608"/>
                <a:gd name="T3" fmla="*/ 2147483647 h 4036"/>
                <a:gd name="T4" fmla="*/ 2147483647 w 5608"/>
                <a:gd name="T5" fmla="*/ 2147483647 h 4036"/>
                <a:gd name="T6" fmla="*/ 2147483647 w 5608"/>
                <a:gd name="T7" fmla="*/ 2147483647 h 4036"/>
                <a:gd name="T8" fmla="*/ 2147483647 w 5608"/>
                <a:gd name="T9" fmla="*/ 2147483647 h 4036"/>
                <a:gd name="T10" fmla="*/ 2147483647 w 5608"/>
                <a:gd name="T11" fmla="*/ 2147483647 h 4036"/>
                <a:gd name="T12" fmla="*/ 2147483647 w 5608"/>
                <a:gd name="T13" fmla="*/ 2147483647 h 4036"/>
                <a:gd name="T14" fmla="*/ 2147483647 w 5608"/>
                <a:gd name="T15" fmla="*/ 2147483647 h 4036"/>
                <a:gd name="T16" fmla="*/ 2147483647 w 5608"/>
                <a:gd name="T17" fmla="*/ 2147483647 h 4036"/>
                <a:gd name="T18" fmla="*/ 2147483647 w 5608"/>
                <a:gd name="T19" fmla="*/ 2147483647 h 4036"/>
                <a:gd name="T20" fmla="*/ 2147483647 w 5608"/>
                <a:gd name="T21" fmla="*/ 2147483647 h 4036"/>
                <a:gd name="T22" fmla="*/ 2147483647 w 5608"/>
                <a:gd name="T23" fmla="*/ 2147483647 h 4036"/>
                <a:gd name="T24" fmla="*/ 2147483647 w 5608"/>
                <a:gd name="T25" fmla="*/ 2147483647 h 4036"/>
                <a:gd name="T26" fmla="*/ 2147483647 w 5608"/>
                <a:gd name="T27" fmla="*/ 2147483647 h 4036"/>
                <a:gd name="T28" fmla="*/ 2147483647 w 5608"/>
                <a:gd name="T29" fmla="*/ 2147483647 h 4036"/>
                <a:gd name="T30" fmla="*/ 2147483647 w 5608"/>
                <a:gd name="T31" fmla="*/ 2147483647 h 4036"/>
                <a:gd name="T32" fmla="*/ 2147483647 w 5608"/>
                <a:gd name="T33" fmla="*/ 2147483647 h 4036"/>
                <a:gd name="T34" fmla="*/ 2147483647 w 5608"/>
                <a:gd name="T35" fmla="*/ 2147483647 h 4036"/>
                <a:gd name="T36" fmla="*/ 2147483647 w 5608"/>
                <a:gd name="T37" fmla="*/ 2147483647 h 4036"/>
                <a:gd name="T38" fmla="*/ 2147483647 w 5608"/>
                <a:gd name="T39" fmla="*/ 2147483647 h 4036"/>
                <a:gd name="T40" fmla="*/ 2147483647 w 5608"/>
                <a:gd name="T41" fmla="*/ 2147483647 h 4036"/>
                <a:gd name="T42" fmla="*/ 2147483647 w 5608"/>
                <a:gd name="T43" fmla="*/ 2147483647 h 4036"/>
                <a:gd name="T44" fmla="*/ 2147483647 w 5608"/>
                <a:gd name="T45" fmla="*/ 2147483647 h 4036"/>
                <a:gd name="T46" fmla="*/ 2147483647 w 5608"/>
                <a:gd name="T47" fmla="*/ 2147483647 h 4036"/>
                <a:gd name="T48" fmla="*/ 2147483647 w 5608"/>
                <a:gd name="T49" fmla="*/ 2147483647 h 4036"/>
                <a:gd name="T50" fmla="*/ 2147483647 w 5608"/>
                <a:gd name="T51" fmla="*/ 2147483647 h 4036"/>
                <a:gd name="T52" fmla="*/ 2147483647 w 5608"/>
                <a:gd name="T53" fmla="*/ 2147483647 h 4036"/>
                <a:gd name="T54" fmla="*/ 2147483647 w 5608"/>
                <a:gd name="T55" fmla="*/ 2147483647 h 4036"/>
                <a:gd name="T56" fmla="*/ 2147483647 w 5608"/>
                <a:gd name="T57" fmla="*/ 2147483647 h 4036"/>
                <a:gd name="T58" fmla="*/ 2147483647 w 5608"/>
                <a:gd name="T59" fmla="*/ 2147483647 h 4036"/>
                <a:gd name="T60" fmla="*/ 2147483647 w 5608"/>
                <a:gd name="T61" fmla="*/ 2147483647 h 4036"/>
                <a:gd name="T62" fmla="*/ 2147483647 w 5608"/>
                <a:gd name="T63" fmla="*/ 2147483647 h 4036"/>
                <a:gd name="T64" fmla="*/ 2147483647 w 5608"/>
                <a:gd name="T65" fmla="*/ 2147483647 h 4036"/>
                <a:gd name="T66" fmla="*/ 2147483647 w 5608"/>
                <a:gd name="T67" fmla="*/ 2147483647 h 4036"/>
                <a:gd name="T68" fmla="*/ 2147483647 w 5608"/>
                <a:gd name="T69" fmla="*/ 2147483647 h 4036"/>
                <a:gd name="T70" fmla="*/ 2147483647 w 5608"/>
                <a:gd name="T71" fmla="*/ 2147483647 h 4036"/>
                <a:gd name="T72" fmla="*/ 2147483647 w 5608"/>
                <a:gd name="T73" fmla="*/ 2147483647 h 4036"/>
                <a:gd name="T74" fmla="*/ 2147483647 w 5608"/>
                <a:gd name="T75" fmla="*/ 2147483647 h 4036"/>
                <a:gd name="T76" fmla="*/ 2147483647 w 5608"/>
                <a:gd name="T77" fmla="*/ 2147483647 h 4036"/>
                <a:gd name="T78" fmla="*/ 2147483647 w 5608"/>
                <a:gd name="T79" fmla="*/ 2147483647 h 4036"/>
                <a:gd name="T80" fmla="*/ 2147483647 w 5608"/>
                <a:gd name="T81" fmla="*/ 2147483647 h 4036"/>
                <a:gd name="T82" fmla="*/ 2147483647 w 5608"/>
                <a:gd name="T83" fmla="*/ 2147483647 h 4036"/>
                <a:gd name="T84" fmla="*/ 2147483647 w 5608"/>
                <a:gd name="T85" fmla="*/ 2147483647 h 4036"/>
                <a:gd name="T86" fmla="*/ 2147483647 w 5608"/>
                <a:gd name="T87" fmla="*/ 2147483647 h 4036"/>
                <a:gd name="T88" fmla="*/ 2147483647 w 5608"/>
                <a:gd name="T89" fmla="*/ 2147483647 h 4036"/>
                <a:gd name="T90" fmla="*/ 2147483647 w 5608"/>
                <a:gd name="T91" fmla="*/ 2147483647 h 4036"/>
                <a:gd name="T92" fmla="*/ 2147483647 w 5608"/>
                <a:gd name="T93" fmla="*/ 2147483647 h 4036"/>
                <a:gd name="T94" fmla="*/ 2147483647 w 5608"/>
                <a:gd name="T95" fmla="*/ 2147483647 h 4036"/>
                <a:gd name="T96" fmla="*/ 2147483647 w 5608"/>
                <a:gd name="T97" fmla="*/ 2147483647 h 4036"/>
                <a:gd name="T98" fmla="*/ 2147483647 w 5608"/>
                <a:gd name="T99" fmla="*/ 2147483647 h 4036"/>
                <a:gd name="T100" fmla="*/ 2147483647 w 5608"/>
                <a:gd name="T101" fmla="*/ 2147483647 h 4036"/>
                <a:gd name="T102" fmla="*/ 2147483647 w 5608"/>
                <a:gd name="T103" fmla="*/ 2147483647 h 4036"/>
                <a:gd name="T104" fmla="*/ 2147483647 w 5608"/>
                <a:gd name="T105" fmla="*/ 2147483647 h 40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608"/>
                <a:gd name="T160" fmla="*/ 0 h 4036"/>
                <a:gd name="T161" fmla="*/ 5608 w 5608"/>
                <a:gd name="T162" fmla="*/ 4036 h 4036"/>
                <a:gd name="connsiteX0" fmla="*/ 5615 w 9995"/>
                <a:gd name="connsiteY0" fmla="*/ 0 h 10000"/>
                <a:gd name="connsiteX1" fmla="*/ 5615 w 9995"/>
                <a:gd name="connsiteY1" fmla="*/ 0 h 10000"/>
                <a:gd name="connsiteX2" fmla="*/ 5606 w 9995"/>
                <a:gd name="connsiteY2" fmla="*/ 99 h 10000"/>
                <a:gd name="connsiteX3" fmla="*/ 5592 w 9995"/>
                <a:gd name="connsiteY3" fmla="*/ 201 h 10000"/>
                <a:gd name="connsiteX4" fmla="*/ 5580 w 9995"/>
                <a:gd name="connsiteY4" fmla="*/ 300 h 10000"/>
                <a:gd name="connsiteX5" fmla="*/ 5565 w 9995"/>
                <a:gd name="connsiteY5" fmla="*/ 394 h 10000"/>
                <a:gd name="connsiteX6" fmla="*/ 5547 w 9995"/>
                <a:gd name="connsiteY6" fmla="*/ 491 h 10000"/>
                <a:gd name="connsiteX7" fmla="*/ 5528 w 9995"/>
                <a:gd name="connsiteY7" fmla="*/ 587 h 10000"/>
                <a:gd name="connsiteX8" fmla="*/ 5508 w 9995"/>
                <a:gd name="connsiteY8" fmla="*/ 684 h 10000"/>
                <a:gd name="connsiteX9" fmla="*/ 5487 w 9995"/>
                <a:gd name="connsiteY9" fmla="*/ 778 h 10000"/>
                <a:gd name="connsiteX10" fmla="*/ 5465 w 9995"/>
                <a:gd name="connsiteY10" fmla="*/ 870 h 10000"/>
                <a:gd name="connsiteX11" fmla="*/ 5439 w 9995"/>
                <a:gd name="connsiteY11" fmla="*/ 961 h 10000"/>
                <a:gd name="connsiteX12" fmla="*/ 5415 w 9995"/>
                <a:gd name="connsiteY12" fmla="*/ 1053 h 10000"/>
                <a:gd name="connsiteX13" fmla="*/ 5387 w 9995"/>
                <a:gd name="connsiteY13" fmla="*/ 1145 h 10000"/>
                <a:gd name="connsiteX14" fmla="*/ 5358 w 9995"/>
                <a:gd name="connsiteY14" fmla="*/ 1231 h 10000"/>
                <a:gd name="connsiteX15" fmla="*/ 5328 w 9995"/>
                <a:gd name="connsiteY15" fmla="*/ 1318 h 10000"/>
                <a:gd name="connsiteX16" fmla="*/ 5298 w 9995"/>
                <a:gd name="connsiteY16" fmla="*/ 1405 h 10000"/>
                <a:gd name="connsiteX17" fmla="*/ 5266 w 9995"/>
                <a:gd name="connsiteY17" fmla="*/ 1494 h 10000"/>
                <a:gd name="connsiteX18" fmla="*/ 5232 w 9995"/>
                <a:gd name="connsiteY18" fmla="*/ 1578 h 10000"/>
                <a:gd name="connsiteX19" fmla="*/ 5196 w 9995"/>
                <a:gd name="connsiteY19" fmla="*/ 1663 h 10000"/>
                <a:gd name="connsiteX20" fmla="*/ 5160 w 9995"/>
                <a:gd name="connsiteY20" fmla="*/ 1742 h 10000"/>
                <a:gd name="connsiteX21" fmla="*/ 5121 w 9995"/>
                <a:gd name="connsiteY21" fmla="*/ 1824 h 10000"/>
                <a:gd name="connsiteX22" fmla="*/ 5082 w 9995"/>
                <a:gd name="connsiteY22" fmla="*/ 1903 h 10000"/>
                <a:gd name="connsiteX23" fmla="*/ 5043 w 9995"/>
                <a:gd name="connsiteY23" fmla="*/ 1985 h 10000"/>
                <a:gd name="connsiteX24" fmla="*/ 5002 w 9995"/>
                <a:gd name="connsiteY24" fmla="*/ 2059 h 10000"/>
                <a:gd name="connsiteX25" fmla="*/ 4959 w 9995"/>
                <a:gd name="connsiteY25" fmla="*/ 2133 h 10000"/>
                <a:gd name="connsiteX26" fmla="*/ 4914 w 9995"/>
                <a:gd name="connsiteY26" fmla="*/ 2210 h 10000"/>
                <a:gd name="connsiteX27" fmla="*/ 4870 w 9995"/>
                <a:gd name="connsiteY27" fmla="*/ 2282 h 10000"/>
                <a:gd name="connsiteX28" fmla="*/ 4823 w 9995"/>
                <a:gd name="connsiteY28" fmla="*/ 2354 h 10000"/>
                <a:gd name="connsiteX29" fmla="*/ 4777 w 9995"/>
                <a:gd name="connsiteY29" fmla="*/ 2426 h 10000"/>
                <a:gd name="connsiteX30" fmla="*/ 4729 w 9995"/>
                <a:gd name="connsiteY30" fmla="*/ 2495 h 10000"/>
                <a:gd name="connsiteX31" fmla="*/ 4679 w 9995"/>
                <a:gd name="connsiteY31" fmla="*/ 2562 h 10000"/>
                <a:gd name="connsiteX32" fmla="*/ 4629 w 9995"/>
                <a:gd name="connsiteY32" fmla="*/ 2626 h 10000"/>
                <a:gd name="connsiteX33" fmla="*/ 4577 w 9995"/>
                <a:gd name="connsiteY33" fmla="*/ 2691 h 10000"/>
                <a:gd name="connsiteX34" fmla="*/ 4526 w 9995"/>
                <a:gd name="connsiteY34" fmla="*/ 2753 h 10000"/>
                <a:gd name="connsiteX35" fmla="*/ 4470 w 9995"/>
                <a:gd name="connsiteY35" fmla="*/ 2817 h 10000"/>
                <a:gd name="connsiteX36" fmla="*/ 4417 w 9995"/>
                <a:gd name="connsiteY36" fmla="*/ 2874 h 10000"/>
                <a:gd name="connsiteX37" fmla="*/ 4362 w 9995"/>
                <a:gd name="connsiteY37" fmla="*/ 2934 h 10000"/>
                <a:gd name="connsiteX38" fmla="*/ 4305 w 9995"/>
                <a:gd name="connsiteY38" fmla="*/ 2988 h 10000"/>
                <a:gd name="connsiteX39" fmla="*/ 4248 w 9995"/>
                <a:gd name="connsiteY39" fmla="*/ 3043 h 10000"/>
                <a:gd name="connsiteX40" fmla="*/ 4190 w 9995"/>
                <a:gd name="connsiteY40" fmla="*/ 3097 h 10000"/>
                <a:gd name="connsiteX41" fmla="*/ 4132 w 9995"/>
                <a:gd name="connsiteY41" fmla="*/ 3149 h 10000"/>
                <a:gd name="connsiteX42" fmla="*/ 4071 w 9995"/>
                <a:gd name="connsiteY42" fmla="*/ 3196 h 10000"/>
                <a:gd name="connsiteX43" fmla="*/ 4010 w 9995"/>
                <a:gd name="connsiteY43" fmla="*/ 3243 h 10000"/>
                <a:gd name="connsiteX44" fmla="*/ 3950 w 9995"/>
                <a:gd name="connsiteY44" fmla="*/ 3290 h 10000"/>
                <a:gd name="connsiteX45" fmla="*/ 3887 w 9995"/>
                <a:gd name="connsiteY45" fmla="*/ 3335 h 10000"/>
                <a:gd name="connsiteX46" fmla="*/ 3823 w 9995"/>
                <a:gd name="connsiteY46" fmla="*/ 3377 h 10000"/>
                <a:gd name="connsiteX47" fmla="*/ 3759 w 9995"/>
                <a:gd name="connsiteY47" fmla="*/ 3417 h 10000"/>
                <a:gd name="connsiteX48" fmla="*/ 3695 w 9995"/>
                <a:gd name="connsiteY48" fmla="*/ 3454 h 10000"/>
                <a:gd name="connsiteX49" fmla="*/ 3629 w 9995"/>
                <a:gd name="connsiteY49" fmla="*/ 3491 h 10000"/>
                <a:gd name="connsiteX50" fmla="*/ 3565 w 9995"/>
                <a:gd name="connsiteY50" fmla="*/ 3523 h 10000"/>
                <a:gd name="connsiteX51" fmla="*/ 3497 w 9995"/>
                <a:gd name="connsiteY51" fmla="*/ 3558 h 10000"/>
                <a:gd name="connsiteX52" fmla="*/ 3429 w 9995"/>
                <a:gd name="connsiteY52" fmla="*/ 3588 h 10000"/>
                <a:gd name="connsiteX53" fmla="*/ 3361 w 9995"/>
                <a:gd name="connsiteY53" fmla="*/ 3615 h 10000"/>
                <a:gd name="connsiteX54" fmla="*/ 3292 w 9995"/>
                <a:gd name="connsiteY54" fmla="*/ 3642 h 10000"/>
                <a:gd name="connsiteX55" fmla="*/ 3222 w 9995"/>
                <a:gd name="connsiteY55" fmla="*/ 3665 h 10000"/>
                <a:gd name="connsiteX56" fmla="*/ 3153 w 9995"/>
                <a:gd name="connsiteY56" fmla="*/ 3687 h 10000"/>
                <a:gd name="connsiteX57" fmla="*/ 3081 w 9995"/>
                <a:gd name="connsiteY57" fmla="*/ 3707 h 10000"/>
                <a:gd name="connsiteX58" fmla="*/ 3012 w 9995"/>
                <a:gd name="connsiteY58" fmla="*/ 3724 h 10000"/>
                <a:gd name="connsiteX59" fmla="*/ 2940 w 9995"/>
                <a:gd name="connsiteY59" fmla="*/ 3739 h 10000"/>
                <a:gd name="connsiteX60" fmla="*/ 2867 w 9995"/>
                <a:gd name="connsiteY60" fmla="*/ 3754 h 10000"/>
                <a:gd name="connsiteX61" fmla="*/ 2796 w 9995"/>
                <a:gd name="connsiteY61" fmla="*/ 3761 h 10000"/>
                <a:gd name="connsiteX62" fmla="*/ 2721 w 9995"/>
                <a:gd name="connsiteY62" fmla="*/ 3771 h 10000"/>
                <a:gd name="connsiteX63" fmla="*/ 2648 w 9995"/>
                <a:gd name="connsiteY63" fmla="*/ 3776 h 10000"/>
                <a:gd name="connsiteX64" fmla="*/ 2575 w 9995"/>
                <a:gd name="connsiteY64" fmla="*/ 3781 h 10000"/>
                <a:gd name="connsiteX65" fmla="*/ 2498 w 9995"/>
                <a:gd name="connsiteY65" fmla="*/ 3781 h 10000"/>
                <a:gd name="connsiteX66" fmla="*/ 2393 w 9995"/>
                <a:gd name="connsiteY66" fmla="*/ 3781 h 10000"/>
                <a:gd name="connsiteX67" fmla="*/ 2284 w 9995"/>
                <a:gd name="connsiteY67" fmla="*/ 3771 h 10000"/>
                <a:gd name="connsiteX68" fmla="*/ 2179 w 9995"/>
                <a:gd name="connsiteY68" fmla="*/ 3759 h 10000"/>
                <a:gd name="connsiteX69" fmla="*/ 2074 w 9995"/>
                <a:gd name="connsiteY69" fmla="*/ 3741 h 10000"/>
                <a:gd name="connsiteX70" fmla="*/ 1970 w 9995"/>
                <a:gd name="connsiteY70" fmla="*/ 3719 h 10000"/>
                <a:gd name="connsiteX71" fmla="*/ 1867 w 9995"/>
                <a:gd name="connsiteY71" fmla="*/ 3692 h 10000"/>
                <a:gd name="connsiteX72" fmla="*/ 1765 w 9995"/>
                <a:gd name="connsiteY72" fmla="*/ 3662 h 10000"/>
                <a:gd name="connsiteX73" fmla="*/ 1665 w 9995"/>
                <a:gd name="connsiteY73" fmla="*/ 3627 h 10000"/>
                <a:gd name="connsiteX74" fmla="*/ 0 w 9995"/>
                <a:gd name="connsiteY74" fmla="*/ 6085 h 10000"/>
                <a:gd name="connsiteX75" fmla="*/ 209 w 9995"/>
                <a:gd name="connsiteY75" fmla="*/ 9512 h 10000"/>
                <a:gd name="connsiteX76" fmla="*/ 344 w 9995"/>
                <a:gd name="connsiteY76" fmla="*/ 9569 h 10000"/>
                <a:gd name="connsiteX77" fmla="*/ 481 w 9995"/>
                <a:gd name="connsiteY77" fmla="*/ 9623 h 10000"/>
                <a:gd name="connsiteX78" fmla="*/ 621 w 9995"/>
                <a:gd name="connsiteY78" fmla="*/ 9673 h 10000"/>
                <a:gd name="connsiteX79" fmla="*/ 758 w 9995"/>
                <a:gd name="connsiteY79" fmla="*/ 9720 h 10000"/>
                <a:gd name="connsiteX80" fmla="*/ 899 w 9995"/>
                <a:gd name="connsiteY80" fmla="*/ 9765 h 10000"/>
                <a:gd name="connsiteX81" fmla="*/ 1040 w 9995"/>
                <a:gd name="connsiteY81" fmla="*/ 9804 h 10000"/>
                <a:gd name="connsiteX82" fmla="*/ 1182 w 9995"/>
                <a:gd name="connsiteY82" fmla="*/ 9839 h 10000"/>
                <a:gd name="connsiteX83" fmla="*/ 1325 w 9995"/>
                <a:gd name="connsiteY83" fmla="*/ 9874 h 10000"/>
                <a:gd name="connsiteX84" fmla="*/ 1471 w 9995"/>
                <a:gd name="connsiteY84" fmla="*/ 9903 h 10000"/>
                <a:gd name="connsiteX85" fmla="*/ 1614 w 9995"/>
                <a:gd name="connsiteY85" fmla="*/ 9926 h 10000"/>
                <a:gd name="connsiteX86" fmla="*/ 1760 w 9995"/>
                <a:gd name="connsiteY86" fmla="*/ 9948 h 10000"/>
                <a:gd name="connsiteX87" fmla="*/ 1906 w 9995"/>
                <a:gd name="connsiteY87" fmla="*/ 9965 h 10000"/>
                <a:gd name="connsiteX88" fmla="*/ 2052 w 9995"/>
                <a:gd name="connsiteY88" fmla="*/ 9980 h 10000"/>
                <a:gd name="connsiteX89" fmla="*/ 2202 w 9995"/>
                <a:gd name="connsiteY89" fmla="*/ 9990 h 10000"/>
                <a:gd name="connsiteX90" fmla="*/ 2350 w 9995"/>
                <a:gd name="connsiteY90" fmla="*/ 9995 h 10000"/>
                <a:gd name="connsiteX91" fmla="*/ 2498 w 9995"/>
                <a:gd name="connsiteY91" fmla="*/ 10000 h 10000"/>
                <a:gd name="connsiteX92" fmla="*/ 2677 w 9995"/>
                <a:gd name="connsiteY92" fmla="*/ 9995 h 10000"/>
                <a:gd name="connsiteX93" fmla="*/ 2850 w 9995"/>
                <a:gd name="connsiteY93" fmla="*/ 9988 h 10000"/>
                <a:gd name="connsiteX94" fmla="*/ 3024 w 9995"/>
                <a:gd name="connsiteY94" fmla="*/ 9975 h 10000"/>
                <a:gd name="connsiteX95" fmla="*/ 3195 w 9995"/>
                <a:gd name="connsiteY95" fmla="*/ 9953 h 10000"/>
                <a:gd name="connsiteX96" fmla="*/ 3368 w 9995"/>
                <a:gd name="connsiteY96" fmla="*/ 9931 h 10000"/>
                <a:gd name="connsiteX97" fmla="*/ 3538 w 9995"/>
                <a:gd name="connsiteY97" fmla="*/ 9898 h 10000"/>
                <a:gd name="connsiteX98" fmla="*/ 3709 w 9995"/>
                <a:gd name="connsiteY98" fmla="*/ 9866 h 10000"/>
                <a:gd name="connsiteX99" fmla="*/ 3877 w 9995"/>
                <a:gd name="connsiteY99" fmla="*/ 9824 h 10000"/>
                <a:gd name="connsiteX100" fmla="*/ 4042 w 9995"/>
                <a:gd name="connsiteY100" fmla="*/ 9779 h 10000"/>
                <a:gd name="connsiteX101" fmla="*/ 4210 w 9995"/>
                <a:gd name="connsiteY101" fmla="*/ 9730 h 10000"/>
                <a:gd name="connsiteX102" fmla="*/ 4372 w 9995"/>
                <a:gd name="connsiteY102" fmla="*/ 9673 h 10000"/>
                <a:gd name="connsiteX103" fmla="*/ 4536 w 9995"/>
                <a:gd name="connsiteY103" fmla="*/ 9616 h 10000"/>
                <a:gd name="connsiteX104" fmla="*/ 4697 w 9995"/>
                <a:gd name="connsiteY104" fmla="*/ 9552 h 10000"/>
                <a:gd name="connsiteX105" fmla="*/ 4857 w 9995"/>
                <a:gd name="connsiteY105" fmla="*/ 9482 h 10000"/>
                <a:gd name="connsiteX106" fmla="*/ 5014 w 9995"/>
                <a:gd name="connsiteY106" fmla="*/ 9405 h 10000"/>
                <a:gd name="connsiteX107" fmla="*/ 5171 w 9995"/>
                <a:gd name="connsiteY107" fmla="*/ 9329 h 10000"/>
                <a:gd name="connsiteX108" fmla="*/ 5326 w 9995"/>
                <a:gd name="connsiteY108" fmla="*/ 9244 h 10000"/>
                <a:gd name="connsiteX109" fmla="*/ 5480 w 9995"/>
                <a:gd name="connsiteY109" fmla="*/ 9158 h 10000"/>
                <a:gd name="connsiteX110" fmla="*/ 5631 w 9995"/>
                <a:gd name="connsiteY110" fmla="*/ 9063 h 10000"/>
                <a:gd name="connsiteX111" fmla="*/ 5781 w 9995"/>
                <a:gd name="connsiteY111" fmla="*/ 8967 h 10000"/>
                <a:gd name="connsiteX112" fmla="*/ 5931 w 9995"/>
                <a:gd name="connsiteY112" fmla="*/ 8865 h 10000"/>
                <a:gd name="connsiteX113" fmla="*/ 6075 w 9995"/>
                <a:gd name="connsiteY113" fmla="*/ 8759 h 10000"/>
                <a:gd name="connsiteX114" fmla="*/ 6221 w 9995"/>
                <a:gd name="connsiteY114" fmla="*/ 8652 h 10000"/>
                <a:gd name="connsiteX115" fmla="*/ 6364 w 9995"/>
                <a:gd name="connsiteY115" fmla="*/ 8536 h 10000"/>
                <a:gd name="connsiteX116" fmla="*/ 6505 w 9995"/>
                <a:gd name="connsiteY116" fmla="*/ 8417 h 10000"/>
                <a:gd name="connsiteX117" fmla="*/ 6642 w 9995"/>
                <a:gd name="connsiteY117" fmla="*/ 8295 h 10000"/>
                <a:gd name="connsiteX118" fmla="*/ 6780 w 9995"/>
                <a:gd name="connsiteY118" fmla="*/ 8169 h 10000"/>
                <a:gd name="connsiteX119" fmla="*/ 6913 w 9995"/>
                <a:gd name="connsiteY119" fmla="*/ 8040 h 10000"/>
                <a:gd name="connsiteX120" fmla="*/ 7045 w 9995"/>
                <a:gd name="connsiteY120" fmla="*/ 7904 h 10000"/>
                <a:gd name="connsiteX121" fmla="*/ 7175 w 9995"/>
                <a:gd name="connsiteY121" fmla="*/ 7768 h 10000"/>
                <a:gd name="connsiteX122" fmla="*/ 7304 w 9995"/>
                <a:gd name="connsiteY122" fmla="*/ 7624 h 10000"/>
                <a:gd name="connsiteX123" fmla="*/ 7429 w 9995"/>
                <a:gd name="connsiteY123" fmla="*/ 7480 h 10000"/>
                <a:gd name="connsiteX124" fmla="*/ 7552 w 9995"/>
                <a:gd name="connsiteY124" fmla="*/ 7329 h 10000"/>
                <a:gd name="connsiteX125" fmla="*/ 7673 w 9995"/>
                <a:gd name="connsiteY125" fmla="*/ 7178 h 10000"/>
                <a:gd name="connsiteX126" fmla="*/ 7792 w 9995"/>
                <a:gd name="connsiteY126" fmla="*/ 7024 h 10000"/>
                <a:gd name="connsiteX127" fmla="*/ 7907 w 9995"/>
                <a:gd name="connsiteY127" fmla="*/ 6861 h 10000"/>
                <a:gd name="connsiteX128" fmla="*/ 8022 w 9995"/>
                <a:gd name="connsiteY128" fmla="*/ 6697 h 10000"/>
                <a:gd name="connsiteX129" fmla="*/ 8133 w 9995"/>
                <a:gd name="connsiteY129" fmla="*/ 6534 h 10000"/>
                <a:gd name="connsiteX130" fmla="*/ 8240 w 9995"/>
                <a:gd name="connsiteY130" fmla="*/ 6365 h 10000"/>
                <a:gd name="connsiteX131" fmla="*/ 8347 w 9995"/>
                <a:gd name="connsiteY131" fmla="*/ 6189 h 10000"/>
                <a:gd name="connsiteX132" fmla="*/ 8450 w 9995"/>
                <a:gd name="connsiteY132" fmla="*/ 6016 h 10000"/>
                <a:gd name="connsiteX133" fmla="*/ 8552 w 9995"/>
                <a:gd name="connsiteY133" fmla="*/ 5835 h 10000"/>
                <a:gd name="connsiteX134" fmla="*/ 8650 w 9995"/>
                <a:gd name="connsiteY134" fmla="*/ 5652 h 10000"/>
                <a:gd name="connsiteX135" fmla="*/ 8745 w 9995"/>
                <a:gd name="connsiteY135" fmla="*/ 5468 h 10000"/>
                <a:gd name="connsiteX136" fmla="*/ 8837 w 9995"/>
                <a:gd name="connsiteY136" fmla="*/ 5278 h 10000"/>
                <a:gd name="connsiteX137" fmla="*/ 8927 w 9995"/>
                <a:gd name="connsiteY137" fmla="*/ 5089 h 10000"/>
                <a:gd name="connsiteX138" fmla="*/ 9014 w 9995"/>
                <a:gd name="connsiteY138" fmla="*/ 4893 h 10000"/>
                <a:gd name="connsiteX139" fmla="*/ 9098 w 9995"/>
                <a:gd name="connsiteY139" fmla="*/ 4698 h 10000"/>
                <a:gd name="connsiteX140" fmla="*/ 9178 w 9995"/>
                <a:gd name="connsiteY140" fmla="*/ 4500 h 10000"/>
                <a:gd name="connsiteX141" fmla="*/ 9256 w 9995"/>
                <a:gd name="connsiteY141" fmla="*/ 4294 h 10000"/>
                <a:gd name="connsiteX142" fmla="*/ 9330 w 9995"/>
                <a:gd name="connsiteY142" fmla="*/ 4091 h 10000"/>
                <a:gd name="connsiteX143" fmla="*/ 9401 w 9995"/>
                <a:gd name="connsiteY143" fmla="*/ 3885 h 10000"/>
                <a:gd name="connsiteX144" fmla="*/ 9470 w 9995"/>
                <a:gd name="connsiteY144" fmla="*/ 3674 h 10000"/>
                <a:gd name="connsiteX145" fmla="*/ 9535 w 9995"/>
                <a:gd name="connsiteY145" fmla="*/ 3464 h 10000"/>
                <a:gd name="connsiteX146" fmla="*/ 9599 w 9995"/>
                <a:gd name="connsiteY146" fmla="*/ 3248 h 10000"/>
                <a:gd name="connsiteX147" fmla="*/ 9656 w 9995"/>
                <a:gd name="connsiteY147" fmla="*/ 3030 h 10000"/>
                <a:gd name="connsiteX148" fmla="*/ 9711 w 9995"/>
                <a:gd name="connsiteY148" fmla="*/ 2815 h 10000"/>
                <a:gd name="connsiteX149" fmla="*/ 9763 w 9995"/>
                <a:gd name="connsiteY149" fmla="*/ 2592 h 10000"/>
                <a:gd name="connsiteX150" fmla="*/ 9813 w 9995"/>
                <a:gd name="connsiteY150" fmla="*/ 2369 h 10000"/>
                <a:gd name="connsiteX151" fmla="*/ 9856 w 9995"/>
                <a:gd name="connsiteY151" fmla="*/ 2143 h 10000"/>
                <a:gd name="connsiteX152" fmla="*/ 9898 w 9995"/>
                <a:gd name="connsiteY152" fmla="*/ 1918 h 10000"/>
                <a:gd name="connsiteX153" fmla="*/ 9936 w 9995"/>
                <a:gd name="connsiteY153" fmla="*/ 1690 h 10000"/>
                <a:gd name="connsiteX154" fmla="*/ 9970 w 9995"/>
                <a:gd name="connsiteY154" fmla="*/ 1457 h 10000"/>
                <a:gd name="connsiteX155" fmla="*/ 9995 w 9995"/>
                <a:gd name="connsiteY155" fmla="*/ 1217 h 10000"/>
                <a:gd name="connsiteX156" fmla="*/ 7611 w 9995"/>
                <a:gd name="connsiteY156" fmla="*/ 1876 h 10000"/>
                <a:gd name="connsiteX157" fmla="*/ 5615 w 9995"/>
                <a:gd name="connsiteY157" fmla="*/ 0 h 10000"/>
                <a:gd name="connsiteX0" fmla="*/ 5618 w 10002"/>
                <a:gd name="connsiteY0" fmla="*/ 0 h 10000"/>
                <a:gd name="connsiteX1" fmla="*/ 5618 w 10002"/>
                <a:gd name="connsiteY1" fmla="*/ 0 h 10000"/>
                <a:gd name="connsiteX2" fmla="*/ 5609 w 10002"/>
                <a:gd name="connsiteY2" fmla="*/ 99 h 10000"/>
                <a:gd name="connsiteX3" fmla="*/ 5595 w 10002"/>
                <a:gd name="connsiteY3" fmla="*/ 201 h 10000"/>
                <a:gd name="connsiteX4" fmla="*/ 5583 w 10002"/>
                <a:gd name="connsiteY4" fmla="*/ 300 h 10000"/>
                <a:gd name="connsiteX5" fmla="*/ 5568 w 10002"/>
                <a:gd name="connsiteY5" fmla="*/ 394 h 10000"/>
                <a:gd name="connsiteX6" fmla="*/ 5550 w 10002"/>
                <a:gd name="connsiteY6" fmla="*/ 491 h 10000"/>
                <a:gd name="connsiteX7" fmla="*/ 5531 w 10002"/>
                <a:gd name="connsiteY7" fmla="*/ 587 h 10000"/>
                <a:gd name="connsiteX8" fmla="*/ 5511 w 10002"/>
                <a:gd name="connsiteY8" fmla="*/ 684 h 10000"/>
                <a:gd name="connsiteX9" fmla="*/ 5490 w 10002"/>
                <a:gd name="connsiteY9" fmla="*/ 778 h 10000"/>
                <a:gd name="connsiteX10" fmla="*/ 5468 w 10002"/>
                <a:gd name="connsiteY10" fmla="*/ 870 h 10000"/>
                <a:gd name="connsiteX11" fmla="*/ 5442 w 10002"/>
                <a:gd name="connsiteY11" fmla="*/ 961 h 10000"/>
                <a:gd name="connsiteX12" fmla="*/ 5418 w 10002"/>
                <a:gd name="connsiteY12" fmla="*/ 1053 h 10000"/>
                <a:gd name="connsiteX13" fmla="*/ 5390 w 10002"/>
                <a:gd name="connsiteY13" fmla="*/ 1145 h 10000"/>
                <a:gd name="connsiteX14" fmla="*/ 5361 w 10002"/>
                <a:gd name="connsiteY14" fmla="*/ 1231 h 10000"/>
                <a:gd name="connsiteX15" fmla="*/ 5331 w 10002"/>
                <a:gd name="connsiteY15" fmla="*/ 1318 h 10000"/>
                <a:gd name="connsiteX16" fmla="*/ 5301 w 10002"/>
                <a:gd name="connsiteY16" fmla="*/ 1405 h 10000"/>
                <a:gd name="connsiteX17" fmla="*/ 5269 w 10002"/>
                <a:gd name="connsiteY17" fmla="*/ 1494 h 10000"/>
                <a:gd name="connsiteX18" fmla="*/ 5235 w 10002"/>
                <a:gd name="connsiteY18" fmla="*/ 1578 h 10000"/>
                <a:gd name="connsiteX19" fmla="*/ 5199 w 10002"/>
                <a:gd name="connsiteY19" fmla="*/ 1663 h 10000"/>
                <a:gd name="connsiteX20" fmla="*/ 5163 w 10002"/>
                <a:gd name="connsiteY20" fmla="*/ 1742 h 10000"/>
                <a:gd name="connsiteX21" fmla="*/ 5124 w 10002"/>
                <a:gd name="connsiteY21" fmla="*/ 1824 h 10000"/>
                <a:gd name="connsiteX22" fmla="*/ 5085 w 10002"/>
                <a:gd name="connsiteY22" fmla="*/ 1903 h 10000"/>
                <a:gd name="connsiteX23" fmla="*/ 5046 w 10002"/>
                <a:gd name="connsiteY23" fmla="*/ 1985 h 10000"/>
                <a:gd name="connsiteX24" fmla="*/ 5005 w 10002"/>
                <a:gd name="connsiteY24" fmla="*/ 2059 h 10000"/>
                <a:gd name="connsiteX25" fmla="*/ 4961 w 10002"/>
                <a:gd name="connsiteY25" fmla="*/ 2133 h 10000"/>
                <a:gd name="connsiteX26" fmla="*/ 4916 w 10002"/>
                <a:gd name="connsiteY26" fmla="*/ 2210 h 10000"/>
                <a:gd name="connsiteX27" fmla="*/ 4872 w 10002"/>
                <a:gd name="connsiteY27" fmla="*/ 2282 h 10000"/>
                <a:gd name="connsiteX28" fmla="*/ 4825 w 10002"/>
                <a:gd name="connsiteY28" fmla="*/ 2354 h 10000"/>
                <a:gd name="connsiteX29" fmla="*/ 4779 w 10002"/>
                <a:gd name="connsiteY29" fmla="*/ 2426 h 10000"/>
                <a:gd name="connsiteX30" fmla="*/ 4731 w 10002"/>
                <a:gd name="connsiteY30" fmla="*/ 2495 h 10000"/>
                <a:gd name="connsiteX31" fmla="*/ 4681 w 10002"/>
                <a:gd name="connsiteY31" fmla="*/ 2562 h 10000"/>
                <a:gd name="connsiteX32" fmla="*/ 4631 w 10002"/>
                <a:gd name="connsiteY32" fmla="*/ 2626 h 10000"/>
                <a:gd name="connsiteX33" fmla="*/ 4579 w 10002"/>
                <a:gd name="connsiteY33" fmla="*/ 2691 h 10000"/>
                <a:gd name="connsiteX34" fmla="*/ 4528 w 10002"/>
                <a:gd name="connsiteY34" fmla="*/ 2753 h 10000"/>
                <a:gd name="connsiteX35" fmla="*/ 4472 w 10002"/>
                <a:gd name="connsiteY35" fmla="*/ 2817 h 10000"/>
                <a:gd name="connsiteX36" fmla="*/ 4419 w 10002"/>
                <a:gd name="connsiteY36" fmla="*/ 2874 h 10000"/>
                <a:gd name="connsiteX37" fmla="*/ 4364 w 10002"/>
                <a:gd name="connsiteY37" fmla="*/ 2934 h 10000"/>
                <a:gd name="connsiteX38" fmla="*/ 4307 w 10002"/>
                <a:gd name="connsiteY38" fmla="*/ 2988 h 10000"/>
                <a:gd name="connsiteX39" fmla="*/ 4250 w 10002"/>
                <a:gd name="connsiteY39" fmla="*/ 3043 h 10000"/>
                <a:gd name="connsiteX40" fmla="*/ 4192 w 10002"/>
                <a:gd name="connsiteY40" fmla="*/ 3097 h 10000"/>
                <a:gd name="connsiteX41" fmla="*/ 4134 w 10002"/>
                <a:gd name="connsiteY41" fmla="*/ 3149 h 10000"/>
                <a:gd name="connsiteX42" fmla="*/ 4073 w 10002"/>
                <a:gd name="connsiteY42" fmla="*/ 3196 h 10000"/>
                <a:gd name="connsiteX43" fmla="*/ 4012 w 10002"/>
                <a:gd name="connsiteY43" fmla="*/ 3243 h 10000"/>
                <a:gd name="connsiteX44" fmla="*/ 3952 w 10002"/>
                <a:gd name="connsiteY44" fmla="*/ 3290 h 10000"/>
                <a:gd name="connsiteX45" fmla="*/ 3889 w 10002"/>
                <a:gd name="connsiteY45" fmla="*/ 3335 h 10000"/>
                <a:gd name="connsiteX46" fmla="*/ 3825 w 10002"/>
                <a:gd name="connsiteY46" fmla="*/ 3377 h 10000"/>
                <a:gd name="connsiteX47" fmla="*/ 3761 w 10002"/>
                <a:gd name="connsiteY47" fmla="*/ 3417 h 10000"/>
                <a:gd name="connsiteX48" fmla="*/ 3697 w 10002"/>
                <a:gd name="connsiteY48" fmla="*/ 3454 h 10000"/>
                <a:gd name="connsiteX49" fmla="*/ 3631 w 10002"/>
                <a:gd name="connsiteY49" fmla="*/ 3491 h 10000"/>
                <a:gd name="connsiteX50" fmla="*/ 3567 w 10002"/>
                <a:gd name="connsiteY50" fmla="*/ 3523 h 10000"/>
                <a:gd name="connsiteX51" fmla="*/ 3499 w 10002"/>
                <a:gd name="connsiteY51" fmla="*/ 3558 h 10000"/>
                <a:gd name="connsiteX52" fmla="*/ 3431 w 10002"/>
                <a:gd name="connsiteY52" fmla="*/ 3588 h 10000"/>
                <a:gd name="connsiteX53" fmla="*/ 3363 w 10002"/>
                <a:gd name="connsiteY53" fmla="*/ 3615 h 10000"/>
                <a:gd name="connsiteX54" fmla="*/ 3294 w 10002"/>
                <a:gd name="connsiteY54" fmla="*/ 3642 h 10000"/>
                <a:gd name="connsiteX55" fmla="*/ 3224 w 10002"/>
                <a:gd name="connsiteY55" fmla="*/ 3665 h 10000"/>
                <a:gd name="connsiteX56" fmla="*/ 3155 w 10002"/>
                <a:gd name="connsiteY56" fmla="*/ 3687 h 10000"/>
                <a:gd name="connsiteX57" fmla="*/ 3083 w 10002"/>
                <a:gd name="connsiteY57" fmla="*/ 3707 h 10000"/>
                <a:gd name="connsiteX58" fmla="*/ 3014 w 10002"/>
                <a:gd name="connsiteY58" fmla="*/ 3724 h 10000"/>
                <a:gd name="connsiteX59" fmla="*/ 2941 w 10002"/>
                <a:gd name="connsiteY59" fmla="*/ 3739 h 10000"/>
                <a:gd name="connsiteX60" fmla="*/ 2868 w 10002"/>
                <a:gd name="connsiteY60" fmla="*/ 3754 h 10000"/>
                <a:gd name="connsiteX61" fmla="*/ 2797 w 10002"/>
                <a:gd name="connsiteY61" fmla="*/ 3761 h 10000"/>
                <a:gd name="connsiteX62" fmla="*/ 2722 w 10002"/>
                <a:gd name="connsiteY62" fmla="*/ 3771 h 10000"/>
                <a:gd name="connsiteX63" fmla="*/ 2649 w 10002"/>
                <a:gd name="connsiteY63" fmla="*/ 3776 h 10000"/>
                <a:gd name="connsiteX64" fmla="*/ 2576 w 10002"/>
                <a:gd name="connsiteY64" fmla="*/ 3781 h 10000"/>
                <a:gd name="connsiteX65" fmla="*/ 2499 w 10002"/>
                <a:gd name="connsiteY65" fmla="*/ 3781 h 10000"/>
                <a:gd name="connsiteX66" fmla="*/ 2394 w 10002"/>
                <a:gd name="connsiteY66" fmla="*/ 3781 h 10000"/>
                <a:gd name="connsiteX67" fmla="*/ 2285 w 10002"/>
                <a:gd name="connsiteY67" fmla="*/ 3771 h 10000"/>
                <a:gd name="connsiteX68" fmla="*/ 2180 w 10002"/>
                <a:gd name="connsiteY68" fmla="*/ 3759 h 10000"/>
                <a:gd name="connsiteX69" fmla="*/ 2075 w 10002"/>
                <a:gd name="connsiteY69" fmla="*/ 3741 h 10000"/>
                <a:gd name="connsiteX70" fmla="*/ 1971 w 10002"/>
                <a:gd name="connsiteY70" fmla="*/ 3719 h 10000"/>
                <a:gd name="connsiteX71" fmla="*/ 1868 w 10002"/>
                <a:gd name="connsiteY71" fmla="*/ 3692 h 10000"/>
                <a:gd name="connsiteX72" fmla="*/ 1766 w 10002"/>
                <a:gd name="connsiteY72" fmla="*/ 3662 h 10000"/>
                <a:gd name="connsiteX73" fmla="*/ 1666 w 10002"/>
                <a:gd name="connsiteY73" fmla="*/ 3627 h 10000"/>
                <a:gd name="connsiteX74" fmla="*/ 0 w 10002"/>
                <a:gd name="connsiteY74" fmla="*/ 6085 h 10000"/>
                <a:gd name="connsiteX75" fmla="*/ 209 w 10002"/>
                <a:gd name="connsiteY75" fmla="*/ 9512 h 10000"/>
                <a:gd name="connsiteX76" fmla="*/ 344 w 10002"/>
                <a:gd name="connsiteY76" fmla="*/ 9569 h 10000"/>
                <a:gd name="connsiteX77" fmla="*/ 481 w 10002"/>
                <a:gd name="connsiteY77" fmla="*/ 9623 h 10000"/>
                <a:gd name="connsiteX78" fmla="*/ 621 w 10002"/>
                <a:gd name="connsiteY78" fmla="*/ 9673 h 10000"/>
                <a:gd name="connsiteX79" fmla="*/ 758 w 10002"/>
                <a:gd name="connsiteY79" fmla="*/ 9720 h 10000"/>
                <a:gd name="connsiteX80" fmla="*/ 899 w 10002"/>
                <a:gd name="connsiteY80" fmla="*/ 9765 h 10000"/>
                <a:gd name="connsiteX81" fmla="*/ 1041 w 10002"/>
                <a:gd name="connsiteY81" fmla="*/ 9804 h 10000"/>
                <a:gd name="connsiteX82" fmla="*/ 1183 w 10002"/>
                <a:gd name="connsiteY82" fmla="*/ 9839 h 10000"/>
                <a:gd name="connsiteX83" fmla="*/ 1326 w 10002"/>
                <a:gd name="connsiteY83" fmla="*/ 9874 h 10000"/>
                <a:gd name="connsiteX84" fmla="*/ 1472 w 10002"/>
                <a:gd name="connsiteY84" fmla="*/ 9903 h 10000"/>
                <a:gd name="connsiteX85" fmla="*/ 1615 w 10002"/>
                <a:gd name="connsiteY85" fmla="*/ 9926 h 10000"/>
                <a:gd name="connsiteX86" fmla="*/ 1761 w 10002"/>
                <a:gd name="connsiteY86" fmla="*/ 9948 h 10000"/>
                <a:gd name="connsiteX87" fmla="*/ 1907 w 10002"/>
                <a:gd name="connsiteY87" fmla="*/ 9965 h 10000"/>
                <a:gd name="connsiteX88" fmla="*/ 2053 w 10002"/>
                <a:gd name="connsiteY88" fmla="*/ 9980 h 10000"/>
                <a:gd name="connsiteX89" fmla="*/ 2203 w 10002"/>
                <a:gd name="connsiteY89" fmla="*/ 9990 h 10000"/>
                <a:gd name="connsiteX90" fmla="*/ 2351 w 10002"/>
                <a:gd name="connsiteY90" fmla="*/ 9995 h 10000"/>
                <a:gd name="connsiteX91" fmla="*/ 2499 w 10002"/>
                <a:gd name="connsiteY91" fmla="*/ 10000 h 10000"/>
                <a:gd name="connsiteX92" fmla="*/ 2678 w 10002"/>
                <a:gd name="connsiteY92" fmla="*/ 9995 h 10000"/>
                <a:gd name="connsiteX93" fmla="*/ 2851 w 10002"/>
                <a:gd name="connsiteY93" fmla="*/ 9988 h 10000"/>
                <a:gd name="connsiteX94" fmla="*/ 3026 w 10002"/>
                <a:gd name="connsiteY94" fmla="*/ 9975 h 10000"/>
                <a:gd name="connsiteX95" fmla="*/ 3197 w 10002"/>
                <a:gd name="connsiteY95" fmla="*/ 9953 h 10000"/>
                <a:gd name="connsiteX96" fmla="*/ 3370 w 10002"/>
                <a:gd name="connsiteY96" fmla="*/ 9931 h 10000"/>
                <a:gd name="connsiteX97" fmla="*/ 3540 w 10002"/>
                <a:gd name="connsiteY97" fmla="*/ 9898 h 10000"/>
                <a:gd name="connsiteX98" fmla="*/ 3711 w 10002"/>
                <a:gd name="connsiteY98" fmla="*/ 9866 h 10000"/>
                <a:gd name="connsiteX99" fmla="*/ 3879 w 10002"/>
                <a:gd name="connsiteY99" fmla="*/ 9824 h 10000"/>
                <a:gd name="connsiteX100" fmla="*/ 4044 w 10002"/>
                <a:gd name="connsiteY100" fmla="*/ 9779 h 10000"/>
                <a:gd name="connsiteX101" fmla="*/ 4212 w 10002"/>
                <a:gd name="connsiteY101" fmla="*/ 9730 h 10000"/>
                <a:gd name="connsiteX102" fmla="*/ 4374 w 10002"/>
                <a:gd name="connsiteY102" fmla="*/ 9673 h 10000"/>
                <a:gd name="connsiteX103" fmla="*/ 4538 w 10002"/>
                <a:gd name="connsiteY103" fmla="*/ 9616 h 10000"/>
                <a:gd name="connsiteX104" fmla="*/ 4699 w 10002"/>
                <a:gd name="connsiteY104" fmla="*/ 9552 h 10000"/>
                <a:gd name="connsiteX105" fmla="*/ 4859 w 10002"/>
                <a:gd name="connsiteY105" fmla="*/ 9482 h 10000"/>
                <a:gd name="connsiteX106" fmla="*/ 5017 w 10002"/>
                <a:gd name="connsiteY106" fmla="*/ 9405 h 10000"/>
                <a:gd name="connsiteX107" fmla="*/ 5174 w 10002"/>
                <a:gd name="connsiteY107" fmla="*/ 9329 h 10000"/>
                <a:gd name="connsiteX108" fmla="*/ 5329 w 10002"/>
                <a:gd name="connsiteY108" fmla="*/ 9244 h 10000"/>
                <a:gd name="connsiteX109" fmla="*/ 5483 w 10002"/>
                <a:gd name="connsiteY109" fmla="*/ 9158 h 10000"/>
                <a:gd name="connsiteX110" fmla="*/ 5634 w 10002"/>
                <a:gd name="connsiteY110" fmla="*/ 9063 h 10000"/>
                <a:gd name="connsiteX111" fmla="*/ 5784 w 10002"/>
                <a:gd name="connsiteY111" fmla="*/ 8967 h 10000"/>
                <a:gd name="connsiteX112" fmla="*/ 5934 w 10002"/>
                <a:gd name="connsiteY112" fmla="*/ 8865 h 10000"/>
                <a:gd name="connsiteX113" fmla="*/ 6078 w 10002"/>
                <a:gd name="connsiteY113" fmla="*/ 8759 h 10000"/>
                <a:gd name="connsiteX114" fmla="*/ 6224 w 10002"/>
                <a:gd name="connsiteY114" fmla="*/ 8652 h 10000"/>
                <a:gd name="connsiteX115" fmla="*/ 6367 w 10002"/>
                <a:gd name="connsiteY115" fmla="*/ 8536 h 10000"/>
                <a:gd name="connsiteX116" fmla="*/ 6508 w 10002"/>
                <a:gd name="connsiteY116" fmla="*/ 8417 h 10000"/>
                <a:gd name="connsiteX117" fmla="*/ 6645 w 10002"/>
                <a:gd name="connsiteY117" fmla="*/ 8295 h 10000"/>
                <a:gd name="connsiteX118" fmla="*/ 6783 w 10002"/>
                <a:gd name="connsiteY118" fmla="*/ 8169 h 10000"/>
                <a:gd name="connsiteX119" fmla="*/ 6916 w 10002"/>
                <a:gd name="connsiteY119" fmla="*/ 8040 h 10000"/>
                <a:gd name="connsiteX120" fmla="*/ 7049 w 10002"/>
                <a:gd name="connsiteY120" fmla="*/ 7904 h 10000"/>
                <a:gd name="connsiteX121" fmla="*/ 7179 w 10002"/>
                <a:gd name="connsiteY121" fmla="*/ 7768 h 10000"/>
                <a:gd name="connsiteX122" fmla="*/ 7308 w 10002"/>
                <a:gd name="connsiteY122" fmla="*/ 7624 h 10000"/>
                <a:gd name="connsiteX123" fmla="*/ 7433 w 10002"/>
                <a:gd name="connsiteY123" fmla="*/ 7480 h 10000"/>
                <a:gd name="connsiteX124" fmla="*/ 7556 w 10002"/>
                <a:gd name="connsiteY124" fmla="*/ 7329 h 10000"/>
                <a:gd name="connsiteX125" fmla="*/ 7677 w 10002"/>
                <a:gd name="connsiteY125" fmla="*/ 7178 h 10000"/>
                <a:gd name="connsiteX126" fmla="*/ 7796 w 10002"/>
                <a:gd name="connsiteY126" fmla="*/ 7024 h 10000"/>
                <a:gd name="connsiteX127" fmla="*/ 7911 w 10002"/>
                <a:gd name="connsiteY127" fmla="*/ 6861 h 10000"/>
                <a:gd name="connsiteX128" fmla="*/ 8026 w 10002"/>
                <a:gd name="connsiteY128" fmla="*/ 6697 h 10000"/>
                <a:gd name="connsiteX129" fmla="*/ 8137 w 10002"/>
                <a:gd name="connsiteY129" fmla="*/ 6534 h 10000"/>
                <a:gd name="connsiteX130" fmla="*/ 8244 w 10002"/>
                <a:gd name="connsiteY130" fmla="*/ 6365 h 10000"/>
                <a:gd name="connsiteX131" fmla="*/ 8351 w 10002"/>
                <a:gd name="connsiteY131" fmla="*/ 6189 h 10000"/>
                <a:gd name="connsiteX132" fmla="*/ 8454 w 10002"/>
                <a:gd name="connsiteY132" fmla="*/ 6016 h 10000"/>
                <a:gd name="connsiteX133" fmla="*/ 8556 w 10002"/>
                <a:gd name="connsiteY133" fmla="*/ 5835 h 10000"/>
                <a:gd name="connsiteX134" fmla="*/ 8654 w 10002"/>
                <a:gd name="connsiteY134" fmla="*/ 5652 h 10000"/>
                <a:gd name="connsiteX135" fmla="*/ 8749 w 10002"/>
                <a:gd name="connsiteY135" fmla="*/ 5468 h 10000"/>
                <a:gd name="connsiteX136" fmla="*/ 8841 w 10002"/>
                <a:gd name="connsiteY136" fmla="*/ 5278 h 10000"/>
                <a:gd name="connsiteX137" fmla="*/ 8931 w 10002"/>
                <a:gd name="connsiteY137" fmla="*/ 5089 h 10000"/>
                <a:gd name="connsiteX138" fmla="*/ 9019 w 10002"/>
                <a:gd name="connsiteY138" fmla="*/ 4893 h 10000"/>
                <a:gd name="connsiteX139" fmla="*/ 9103 w 10002"/>
                <a:gd name="connsiteY139" fmla="*/ 4698 h 10000"/>
                <a:gd name="connsiteX140" fmla="*/ 9183 w 10002"/>
                <a:gd name="connsiteY140" fmla="*/ 4500 h 10000"/>
                <a:gd name="connsiteX141" fmla="*/ 9261 w 10002"/>
                <a:gd name="connsiteY141" fmla="*/ 4294 h 10000"/>
                <a:gd name="connsiteX142" fmla="*/ 9335 w 10002"/>
                <a:gd name="connsiteY142" fmla="*/ 4091 h 10000"/>
                <a:gd name="connsiteX143" fmla="*/ 9406 w 10002"/>
                <a:gd name="connsiteY143" fmla="*/ 3885 h 10000"/>
                <a:gd name="connsiteX144" fmla="*/ 9475 w 10002"/>
                <a:gd name="connsiteY144" fmla="*/ 3674 h 10000"/>
                <a:gd name="connsiteX145" fmla="*/ 9540 w 10002"/>
                <a:gd name="connsiteY145" fmla="*/ 3464 h 10000"/>
                <a:gd name="connsiteX146" fmla="*/ 9604 w 10002"/>
                <a:gd name="connsiteY146" fmla="*/ 3248 h 10000"/>
                <a:gd name="connsiteX147" fmla="*/ 9661 w 10002"/>
                <a:gd name="connsiteY147" fmla="*/ 3030 h 10000"/>
                <a:gd name="connsiteX148" fmla="*/ 9716 w 10002"/>
                <a:gd name="connsiteY148" fmla="*/ 2815 h 10000"/>
                <a:gd name="connsiteX149" fmla="*/ 9768 w 10002"/>
                <a:gd name="connsiteY149" fmla="*/ 2592 h 10000"/>
                <a:gd name="connsiteX150" fmla="*/ 9818 w 10002"/>
                <a:gd name="connsiteY150" fmla="*/ 2369 h 10000"/>
                <a:gd name="connsiteX151" fmla="*/ 9861 w 10002"/>
                <a:gd name="connsiteY151" fmla="*/ 2143 h 10000"/>
                <a:gd name="connsiteX152" fmla="*/ 9903 w 10002"/>
                <a:gd name="connsiteY152" fmla="*/ 1918 h 10000"/>
                <a:gd name="connsiteX153" fmla="*/ 9941 w 10002"/>
                <a:gd name="connsiteY153" fmla="*/ 1690 h 10000"/>
                <a:gd name="connsiteX154" fmla="*/ 9975 w 10002"/>
                <a:gd name="connsiteY154" fmla="*/ 1457 h 10000"/>
                <a:gd name="connsiteX155" fmla="*/ 10002 w 10002"/>
                <a:gd name="connsiteY155" fmla="*/ 1216 h 10000"/>
                <a:gd name="connsiteX156" fmla="*/ 7615 w 10002"/>
                <a:gd name="connsiteY156" fmla="*/ 1876 h 10000"/>
                <a:gd name="connsiteX157" fmla="*/ 5618 w 10002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9 w 10001"/>
                <a:gd name="connsiteY75" fmla="*/ 9512 h 10000"/>
                <a:gd name="connsiteX76" fmla="*/ 344 w 10001"/>
                <a:gd name="connsiteY76" fmla="*/ 9569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9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6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6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4 w 10001"/>
                <a:gd name="connsiteY76" fmla="*/ 9566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  <a:gd name="connsiteX0" fmla="*/ 5618 w 10001"/>
                <a:gd name="connsiteY0" fmla="*/ 0 h 10000"/>
                <a:gd name="connsiteX1" fmla="*/ 5618 w 10001"/>
                <a:gd name="connsiteY1" fmla="*/ 0 h 10000"/>
                <a:gd name="connsiteX2" fmla="*/ 5609 w 10001"/>
                <a:gd name="connsiteY2" fmla="*/ 99 h 10000"/>
                <a:gd name="connsiteX3" fmla="*/ 5595 w 10001"/>
                <a:gd name="connsiteY3" fmla="*/ 201 h 10000"/>
                <a:gd name="connsiteX4" fmla="*/ 5583 w 10001"/>
                <a:gd name="connsiteY4" fmla="*/ 300 h 10000"/>
                <a:gd name="connsiteX5" fmla="*/ 5568 w 10001"/>
                <a:gd name="connsiteY5" fmla="*/ 394 h 10000"/>
                <a:gd name="connsiteX6" fmla="*/ 5550 w 10001"/>
                <a:gd name="connsiteY6" fmla="*/ 491 h 10000"/>
                <a:gd name="connsiteX7" fmla="*/ 5531 w 10001"/>
                <a:gd name="connsiteY7" fmla="*/ 587 h 10000"/>
                <a:gd name="connsiteX8" fmla="*/ 5511 w 10001"/>
                <a:gd name="connsiteY8" fmla="*/ 684 h 10000"/>
                <a:gd name="connsiteX9" fmla="*/ 5490 w 10001"/>
                <a:gd name="connsiteY9" fmla="*/ 778 h 10000"/>
                <a:gd name="connsiteX10" fmla="*/ 5468 w 10001"/>
                <a:gd name="connsiteY10" fmla="*/ 870 h 10000"/>
                <a:gd name="connsiteX11" fmla="*/ 5442 w 10001"/>
                <a:gd name="connsiteY11" fmla="*/ 961 h 10000"/>
                <a:gd name="connsiteX12" fmla="*/ 5418 w 10001"/>
                <a:gd name="connsiteY12" fmla="*/ 1053 h 10000"/>
                <a:gd name="connsiteX13" fmla="*/ 5390 w 10001"/>
                <a:gd name="connsiteY13" fmla="*/ 1145 h 10000"/>
                <a:gd name="connsiteX14" fmla="*/ 5361 w 10001"/>
                <a:gd name="connsiteY14" fmla="*/ 1231 h 10000"/>
                <a:gd name="connsiteX15" fmla="*/ 5331 w 10001"/>
                <a:gd name="connsiteY15" fmla="*/ 1318 h 10000"/>
                <a:gd name="connsiteX16" fmla="*/ 5301 w 10001"/>
                <a:gd name="connsiteY16" fmla="*/ 1405 h 10000"/>
                <a:gd name="connsiteX17" fmla="*/ 5269 w 10001"/>
                <a:gd name="connsiteY17" fmla="*/ 1494 h 10000"/>
                <a:gd name="connsiteX18" fmla="*/ 5235 w 10001"/>
                <a:gd name="connsiteY18" fmla="*/ 1578 h 10000"/>
                <a:gd name="connsiteX19" fmla="*/ 5199 w 10001"/>
                <a:gd name="connsiteY19" fmla="*/ 1663 h 10000"/>
                <a:gd name="connsiteX20" fmla="*/ 5163 w 10001"/>
                <a:gd name="connsiteY20" fmla="*/ 1742 h 10000"/>
                <a:gd name="connsiteX21" fmla="*/ 5124 w 10001"/>
                <a:gd name="connsiteY21" fmla="*/ 1824 h 10000"/>
                <a:gd name="connsiteX22" fmla="*/ 5085 w 10001"/>
                <a:gd name="connsiteY22" fmla="*/ 1903 h 10000"/>
                <a:gd name="connsiteX23" fmla="*/ 5046 w 10001"/>
                <a:gd name="connsiteY23" fmla="*/ 1985 h 10000"/>
                <a:gd name="connsiteX24" fmla="*/ 5005 w 10001"/>
                <a:gd name="connsiteY24" fmla="*/ 2059 h 10000"/>
                <a:gd name="connsiteX25" fmla="*/ 4961 w 10001"/>
                <a:gd name="connsiteY25" fmla="*/ 2133 h 10000"/>
                <a:gd name="connsiteX26" fmla="*/ 4916 w 10001"/>
                <a:gd name="connsiteY26" fmla="*/ 2210 h 10000"/>
                <a:gd name="connsiteX27" fmla="*/ 4872 w 10001"/>
                <a:gd name="connsiteY27" fmla="*/ 2282 h 10000"/>
                <a:gd name="connsiteX28" fmla="*/ 4825 w 10001"/>
                <a:gd name="connsiteY28" fmla="*/ 2354 h 10000"/>
                <a:gd name="connsiteX29" fmla="*/ 4779 w 10001"/>
                <a:gd name="connsiteY29" fmla="*/ 2426 h 10000"/>
                <a:gd name="connsiteX30" fmla="*/ 4731 w 10001"/>
                <a:gd name="connsiteY30" fmla="*/ 2495 h 10000"/>
                <a:gd name="connsiteX31" fmla="*/ 4681 w 10001"/>
                <a:gd name="connsiteY31" fmla="*/ 2562 h 10000"/>
                <a:gd name="connsiteX32" fmla="*/ 4631 w 10001"/>
                <a:gd name="connsiteY32" fmla="*/ 2626 h 10000"/>
                <a:gd name="connsiteX33" fmla="*/ 4579 w 10001"/>
                <a:gd name="connsiteY33" fmla="*/ 2691 h 10000"/>
                <a:gd name="connsiteX34" fmla="*/ 4528 w 10001"/>
                <a:gd name="connsiteY34" fmla="*/ 2753 h 10000"/>
                <a:gd name="connsiteX35" fmla="*/ 4472 w 10001"/>
                <a:gd name="connsiteY35" fmla="*/ 2817 h 10000"/>
                <a:gd name="connsiteX36" fmla="*/ 4419 w 10001"/>
                <a:gd name="connsiteY36" fmla="*/ 2874 h 10000"/>
                <a:gd name="connsiteX37" fmla="*/ 4364 w 10001"/>
                <a:gd name="connsiteY37" fmla="*/ 2934 h 10000"/>
                <a:gd name="connsiteX38" fmla="*/ 4307 w 10001"/>
                <a:gd name="connsiteY38" fmla="*/ 2988 h 10000"/>
                <a:gd name="connsiteX39" fmla="*/ 4250 w 10001"/>
                <a:gd name="connsiteY39" fmla="*/ 3043 h 10000"/>
                <a:gd name="connsiteX40" fmla="*/ 4192 w 10001"/>
                <a:gd name="connsiteY40" fmla="*/ 3097 h 10000"/>
                <a:gd name="connsiteX41" fmla="*/ 4134 w 10001"/>
                <a:gd name="connsiteY41" fmla="*/ 3149 h 10000"/>
                <a:gd name="connsiteX42" fmla="*/ 4073 w 10001"/>
                <a:gd name="connsiteY42" fmla="*/ 3196 h 10000"/>
                <a:gd name="connsiteX43" fmla="*/ 4012 w 10001"/>
                <a:gd name="connsiteY43" fmla="*/ 3243 h 10000"/>
                <a:gd name="connsiteX44" fmla="*/ 3952 w 10001"/>
                <a:gd name="connsiteY44" fmla="*/ 3290 h 10000"/>
                <a:gd name="connsiteX45" fmla="*/ 3889 w 10001"/>
                <a:gd name="connsiteY45" fmla="*/ 3335 h 10000"/>
                <a:gd name="connsiteX46" fmla="*/ 3825 w 10001"/>
                <a:gd name="connsiteY46" fmla="*/ 3377 h 10000"/>
                <a:gd name="connsiteX47" fmla="*/ 3761 w 10001"/>
                <a:gd name="connsiteY47" fmla="*/ 3417 h 10000"/>
                <a:gd name="connsiteX48" fmla="*/ 3697 w 10001"/>
                <a:gd name="connsiteY48" fmla="*/ 3454 h 10000"/>
                <a:gd name="connsiteX49" fmla="*/ 3631 w 10001"/>
                <a:gd name="connsiteY49" fmla="*/ 3491 h 10000"/>
                <a:gd name="connsiteX50" fmla="*/ 3567 w 10001"/>
                <a:gd name="connsiteY50" fmla="*/ 3523 h 10000"/>
                <a:gd name="connsiteX51" fmla="*/ 3499 w 10001"/>
                <a:gd name="connsiteY51" fmla="*/ 3558 h 10000"/>
                <a:gd name="connsiteX52" fmla="*/ 3431 w 10001"/>
                <a:gd name="connsiteY52" fmla="*/ 3588 h 10000"/>
                <a:gd name="connsiteX53" fmla="*/ 3363 w 10001"/>
                <a:gd name="connsiteY53" fmla="*/ 3615 h 10000"/>
                <a:gd name="connsiteX54" fmla="*/ 3294 w 10001"/>
                <a:gd name="connsiteY54" fmla="*/ 3642 h 10000"/>
                <a:gd name="connsiteX55" fmla="*/ 3224 w 10001"/>
                <a:gd name="connsiteY55" fmla="*/ 3665 h 10000"/>
                <a:gd name="connsiteX56" fmla="*/ 3155 w 10001"/>
                <a:gd name="connsiteY56" fmla="*/ 3687 h 10000"/>
                <a:gd name="connsiteX57" fmla="*/ 3083 w 10001"/>
                <a:gd name="connsiteY57" fmla="*/ 3707 h 10000"/>
                <a:gd name="connsiteX58" fmla="*/ 3014 w 10001"/>
                <a:gd name="connsiteY58" fmla="*/ 3724 h 10000"/>
                <a:gd name="connsiteX59" fmla="*/ 2941 w 10001"/>
                <a:gd name="connsiteY59" fmla="*/ 3739 h 10000"/>
                <a:gd name="connsiteX60" fmla="*/ 2868 w 10001"/>
                <a:gd name="connsiteY60" fmla="*/ 3754 h 10000"/>
                <a:gd name="connsiteX61" fmla="*/ 2797 w 10001"/>
                <a:gd name="connsiteY61" fmla="*/ 3761 h 10000"/>
                <a:gd name="connsiteX62" fmla="*/ 2722 w 10001"/>
                <a:gd name="connsiteY62" fmla="*/ 3771 h 10000"/>
                <a:gd name="connsiteX63" fmla="*/ 2649 w 10001"/>
                <a:gd name="connsiteY63" fmla="*/ 3776 h 10000"/>
                <a:gd name="connsiteX64" fmla="*/ 2576 w 10001"/>
                <a:gd name="connsiteY64" fmla="*/ 3781 h 10000"/>
                <a:gd name="connsiteX65" fmla="*/ 2499 w 10001"/>
                <a:gd name="connsiteY65" fmla="*/ 3781 h 10000"/>
                <a:gd name="connsiteX66" fmla="*/ 2394 w 10001"/>
                <a:gd name="connsiteY66" fmla="*/ 3781 h 10000"/>
                <a:gd name="connsiteX67" fmla="*/ 2285 w 10001"/>
                <a:gd name="connsiteY67" fmla="*/ 3771 h 10000"/>
                <a:gd name="connsiteX68" fmla="*/ 2180 w 10001"/>
                <a:gd name="connsiteY68" fmla="*/ 3759 h 10000"/>
                <a:gd name="connsiteX69" fmla="*/ 2075 w 10001"/>
                <a:gd name="connsiteY69" fmla="*/ 3741 h 10000"/>
                <a:gd name="connsiteX70" fmla="*/ 1971 w 10001"/>
                <a:gd name="connsiteY70" fmla="*/ 3719 h 10000"/>
                <a:gd name="connsiteX71" fmla="*/ 1868 w 10001"/>
                <a:gd name="connsiteY71" fmla="*/ 3692 h 10000"/>
                <a:gd name="connsiteX72" fmla="*/ 1766 w 10001"/>
                <a:gd name="connsiteY72" fmla="*/ 3662 h 10000"/>
                <a:gd name="connsiteX73" fmla="*/ 1666 w 10001"/>
                <a:gd name="connsiteY73" fmla="*/ 3627 h 10000"/>
                <a:gd name="connsiteX74" fmla="*/ 0 w 10001"/>
                <a:gd name="connsiteY74" fmla="*/ 6085 h 10000"/>
                <a:gd name="connsiteX75" fmla="*/ 208 w 10001"/>
                <a:gd name="connsiteY75" fmla="*/ 9494 h 10000"/>
                <a:gd name="connsiteX76" fmla="*/ 345 w 10001"/>
                <a:gd name="connsiteY76" fmla="*/ 9563 h 10000"/>
                <a:gd name="connsiteX77" fmla="*/ 481 w 10001"/>
                <a:gd name="connsiteY77" fmla="*/ 9623 h 10000"/>
                <a:gd name="connsiteX78" fmla="*/ 621 w 10001"/>
                <a:gd name="connsiteY78" fmla="*/ 9673 h 10000"/>
                <a:gd name="connsiteX79" fmla="*/ 758 w 10001"/>
                <a:gd name="connsiteY79" fmla="*/ 9720 h 10000"/>
                <a:gd name="connsiteX80" fmla="*/ 899 w 10001"/>
                <a:gd name="connsiteY80" fmla="*/ 9765 h 10000"/>
                <a:gd name="connsiteX81" fmla="*/ 1041 w 10001"/>
                <a:gd name="connsiteY81" fmla="*/ 9804 h 10000"/>
                <a:gd name="connsiteX82" fmla="*/ 1183 w 10001"/>
                <a:gd name="connsiteY82" fmla="*/ 9839 h 10000"/>
                <a:gd name="connsiteX83" fmla="*/ 1326 w 10001"/>
                <a:gd name="connsiteY83" fmla="*/ 9874 h 10000"/>
                <a:gd name="connsiteX84" fmla="*/ 1472 w 10001"/>
                <a:gd name="connsiteY84" fmla="*/ 9903 h 10000"/>
                <a:gd name="connsiteX85" fmla="*/ 1615 w 10001"/>
                <a:gd name="connsiteY85" fmla="*/ 9926 h 10000"/>
                <a:gd name="connsiteX86" fmla="*/ 1761 w 10001"/>
                <a:gd name="connsiteY86" fmla="*/ 9948 h 10000"/>
                <a:gd name="connsiteX87" fmla="*/ 1907 w 10001"/>
                <a:gd name="connsiteY87" fmla="*/ 9965 h 10000"/>
                <a:gd name="connsiteX88" fmla="*/ 2053 w 10001"/>
                <a:gd name="connsiteY88" fmla="*/ 9980 h 10000"/>
                <a:gd name="connsiteX89" fmla="*/ 2203 w 10001"/>
                <a:gd name="connsiteY89" fmla="*/ 9990 h 10000"/>
                <a:gd name="connsiteX90" fmla="*/ 2351 w 10001"/>
                <a:gd name="connsiteY90" fmla="*/ 9995 h 10000"/>
                <a:gd name="connsiteX91" fmla="*/ 2499 w 10001"/>
                <a:gd name="connsiteY91" fmla="*/ 10000 h 10000"/>
                <a:gd name="connsiteX92" fmla="*/ 2678 w 10001"/>
                <a:gd name="connsiteY92" fmla="*/ 9995 h 10000"/>
                <a:gd name="connsiteX93" fmla="*/ 2851 w 10001"/>
                <a:gd name="connsiteY93" fmla="*/ 9988 h 10000"/>
                <a:gd name="connsiteX94" fmla="*/ 3026 w 10001"/>
                <a:gd name="connsiteY94" fmla="*/ 9975 h 10000"/>
                <a:gd name="connsiteX95" fmla="*/ 3197 w 10001"/>
                <a:gd name="connsiteY95" fmla="*/ 9953 h 10000"/>
                <a:gd name="connsiteX96" fmla="*/ 3370 w 10001"/>
                <a:gd name="connsiteY96" fmla="*/ 9931 h 10000"/>
                <a:gd name="connsiteX97" fmla="*/ 3540 w 10001"/>
                <a:gd name="connsiteY97" fmla="*/ 9898 h 10000"/>
                <a:gd name="connsiteX98" fmla="*/ 3711 w 10001"/>
                <a:gd name="connsiteY98" fmla="*/ 9866 h 10000"/>
                <a:gd name="connsiteX99" fmla="*/ 3879 w 10001"/>
                <a:gd name="connsiteY99" fmla="*/ 9824 h 10000"/>
                <a:gd name="connsiteX100" fmla="*/ 4044 w 10001"/>
                <a:gd name="connsiteY100" fmla="*/ 9779 h 10000"/>
                <a:gd name="connsiteX101" fmla="*/ 4212 w 10001"/>
                <a:gd name="connsiteY101" fmla="*/ 9730 h 10000"/>
                <a:gd name="connsiteX102" fmla="*/ 4374 w 10001"/>
                <a:gd name="connsiteY102" fmla="*/ 9673 h 10000"/>
                <a:gd name="connsiteX103" fmla="*/ 4538 w 10001"/>
                <a:gd name="connsiteY103" fmla="*/ 9616 h 10000"/>
                <a:gd name="connsiteX104" fmla="*/ 4699 w 10001"/>
                <a:gd name="connsiteY104" fmla="*/ 9552 h 10000"/>
                <a:gd name="connsiteX105" fmla="*/ 4859 w 10001"/>
                <a:gd name="connsiteY105" fmla="*/ 9482 h 10000"/>
                <a:gd name="connsiteX106" fmla="*/ 5017 w 10001"/>
                <a:gd name="connsiteY106" fmla="*/ 9405 h 10000"/>
                <a:gd name="connsiteX107" fmla="*/ 5174 w 10001"/>
                <a:gd name="connsiteY107" fmla="*/ 9329 h 10000"/>
                <a:gd name="connsiteX108" fmla="*/ 5329 w 10001"/>
                <a:gd name="connsiteY108" fmla="*/ 9244 h 10000"/>
                <a:gd name="connsiteX109" fmla="*/ 5483 w 10001"/>
                <a:gd name="connsiteY109" fmla="*/ 9158 h 10000"/>
                <a:gd name="connsiteX110" fmla="*/ 5634 w 10001"/>
                <a:gd name="connsiteY110" fmla="*/ 9063 h 10000"/>
                <a:gd name="connsiteX111" fmla="*/ 5784 w 10001"/>
                <a:gd name="connsiteY111" fmla="*/ 8967 h 10000"/>
                <a:gd name="connsiteX112" fmla="*/ 5934 w 10001"/>
                <a:gd name="connsiteY112" fmla="*/ 8865 h 10000"/>
                <a:gd name="connsiteX113" fmla="*/ 6078 w 10001"/>
                <a:gd name="connsiteY113" fmla="*/ 8759 h 10000"/>
                <a:gd name="connsiteX114" fmla="*/ 6224 w 10001"/>
                <a:gd name="connsiteY114" fmla="*/ 8652 h 10000"/>
                <a:gd name="connsiteX115" fmla="*/ 6367 w 10001"/>
                <a:gd name="connsiteY115" fmla="*/ 8536 h 10000"/>
                <a:gd name="connsiteX116" fmla="*/ 6508 w 10001"/>
                <a:gd name="connsiteY116" fmla="*/ 8417 h 10000"/>
                <a:gd name="connsiteX117" fmla="*/ 6645 w 10001"/>
                <a:gd name="connsiteY117" fmla="*/ 8295 h 10000"/>
                <a:gd name="connsiteX118" fmla="*/ 6783 w 10001"/>
                <a:gd name="connsiteY118" fmla="*/ 8169 h 10000"/>
                <a:gd name="connsiteX119" fmla="*/ 6916 w 10001"/>
                <a:gd name="connsiteY119" fmla="*/ 8040 h 10000"/>
                <a:gd name="connsiteX120" fmla="*/ 7049 w 10001"/>
                <a:gd name="connsiteY120" fmla="*/ 7904 h 10000"/>
                <a:gd name="connsiteX121" fmla="*/ 7179 w 10001"/>
                <a:gd name="connsiteY121" fmla="*/ 7768 h 10000"/>
                <a:gd name="connsiteX122" fmla="*/ 7308 w 10001"/>
                <a:gd name="connsiteY122" fmla="*/ 7624 h 10000"/>
                <a:gd name="connsiteX123" fmla="*/ 7433 w 10001"/>
                <a:gd name="connsiteY123" fmla="*/ 7480 h 10000"/>
                <a:gd name="connsiteX124" fmla="*/ 7556 w 10001"/>
                <a:gd name="connsiteY124" fmla="*/ 7329 h 10000"/>
                <a:gd name="connsiteX125" fmla="*/ 7677 w 10001"/>
                <a:gd name="connsiteY125" fmla="*/ 7178 h 10000"/>
                <a:gd name="connsiteX126" fmla="*/ 7796 w 10001"/>
                <a:gd name="connsiteY126" fmla="*/ 7024 h 10000"/>
                <a:gd name="connsiteX127" fmla="*/ 7911 w 10001"/>
                <a:gd name="connsiteY127" fmla="*/ 6861 h 10000"/>
                <a:gd name="connsiteX128" fmla="*/ 8026 w 10001"/>
                <a:gd name="connsiteY128" fmla="*/ 6697 h 10000"/>
                <a:gd name="connsiteX129" fmla="*/ 8137 w 10001"/>
                <a:gd name="connsiteY129" fmla="*/ 6534 h 10000"/>
                <a:gd name="connsiteX130" fmla="*/ 8244 w 10001"/>
                <a:gd name="connsiteY130" fmla="*/ 6365 h 10000"/>
                <a:gd name="connsiteX131" fmla="*/ 8351 w 10001"/>
                <a:gd name="connsiteY131" fmla="*/ 6189 h 10000"/>
                <a:gd name="connsiteX132" fmla="*/ 8454 w 10001"/>
                <a:gd name="connsiteY132" fmla="*/ 6016 h 10000"/>
                <a:gd name="connsiteX133" fmla="*/ 8556 w 10001"/>
                <a:gd name="connsiteY133" fmla="*/ 5835 h 10000"/>
                <a:gd name="connsiteX134" fmla="*/ 8654 w 10001"/>
                <a:gd name="connsiteY134" fmla="*/ 5652 h 10000"/>
                <a:gd name="connsiteX135" fmla="*/ 8749 w 10001"/>
                <a:gd name="connsiteY135" fmla="*/ 5468 h 10000"/>
                <a:gd name="connsiteX136" fmla="*/ 8841 w 10001"/>
                <a:gd name="connsiteY136" fmla="*/ 5278 h 10000"/>
                <a:gd name="connsiteX137" fmla="*/ 8931 w 10001"/>
                <a:gd name="connsiteY137" fmla="*/ 5089 h 10000"/>
                <a:gd name="connsiteX138" fmla="*/ 9019 w 10001"/>
                <a:gd name="connsiteY138" fmla="*/ 4893 h 10000"/>
                <a:gd name="connsiteX139" fmla="*/ 9103 w 10001"/>
                <a:gd name="connsiteY139" fmla="*/ 4698 h 10000"/>
                <a:gd name="connsiteX140" fmla="*/ 9183 w 10001"/>
                <a:gd name="connsiteY140" fmla="*/ 4500 h 10000"/>
                <a:gd name="connsiteX141" fmla="*/ 9261 w 10001"/>
                <a:gd name="connsiteY141" fmla="*/ 4294 h 10000"/>
                <a:gd name="connsiteX142" fmla="*/ 9335 w 10001"/>
                <a:gd name="connsiteY142" fmla="*/ 4091 h 10000"/>
                <a:gd name="connsiteX143" fmla="*/ 9406 w 10001"/>
                <a:gd name="connsiteY143" fmla="*/ 3885 h 10000"/>
                <a:gd name="connsiteX144" fmla="*/ 9475 w 10001"/>
                <a:gd name="connsiteY144" fmla="*/ 3674 h 10000"/>
                <a:gd name="connsiteX145" fmla="*/ 9540 w 10001"/>
                <a:gd name="connsiteY145" fmla="*/ 3464 h 10000"/>
                <a:gd name="connsiteX146" fmla="*/ 9604 w 10001"/>
                <a:gd name="connsiteY146" fmla="*/ 3248 h 10000"/>
                <a:gd name="connsiteX147" fmla="*/ 9661 w 10001"/>
                <a:gd name="connsiteY147" fmla="*/ 3030 h 10000"/>
                <a:gd name="connsiteX148" fmla="*/ 9716 w 10001"/>
                <a:gd name="connsiteY148" fmla="*/ 2815 h 10000"/>
                <a:gd name="connsiteX149" fmla="*/ 9768 w 10001"/>
                <a:gd name="connsiteY149" fmla="*/ 2592 h 10000"/>
                <a:gd name="connsiteX150" fmla="*/ 9818 w 10001"/>
                <a:gd name="connsiteY150" fmla="*/ 2369 h 10000"/>
                <a:gd name="connsiteX151" fmla="*/ 9861 w 10001"/>
                <a:gd name="connsiteY151" fmla="*/ 2143 h 10000"/>
                <a:gd name="connsiteX152" fmla="*/ 9903 w 10001"/>
                <a:gd name="connsiteY152" fmla="*/ 1918 h 10000"/>
                <a:gd name="connsiteX153" fmla="*/ 9941 w 10001"/>
                <a:gd name="connsiteY153" fmla="*/ 1690 h 10000"/>
                <a:gd name="connsiteX154" fmla="*/ 9975 w 10001"/>
                <a:gd name="connsiteY154" fmla="*/ 1457 h 10000"/>
                <a:gd name="connsiteX155" fmla="*/ 10001 w 10001"/>
                <a:gd name="connsiteY155" fmla="*/ 1215 h 10000"/>
                <a:gd name="connsiteX156" fmla="*/ 7615 w 10001"/>
                <a:gd name="connsiteY156" fmla="*/ 1876 h 10000"/>
                <a:gd name="connsiteX157" fmla="*/ 5618 w 10001"/>
                <a:gd name="connsiteY157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</a:cxnLst>
              <a:rect l="l" t="t" r="r" b="b"/>
              <a:pathLst>
                <a:path w="10001" h="10000">
                  <a:moveTo>
                    <a:pt x="5618" y="0"/>
                  </a:moveTo>
                  <a:lnTo>
                    <a:pt x="5618" y="0"/>
                  </a:lnTo>
                  <a:lnTo>
                    <a:pt x="5609" y="99"/>
                  </a:lnTo>
                  <a:cubicBezTo>
                    <a:pt x="5604" y="133"/>
                    <a:pt x="5600" y="167"/>
                    <a:pt x="5595" y="201"/>
                  </a:cubicBezTo>
                  <a:lnTo>
                    <a:pt x="5583" y="300"/>
                  </a:lnTo>
                  <a:cubicBezTo>
                    <a:pt x="5578" y="331"/>
                    <a:pt x="5573" y="363"/>
                    <a:pt x="5568" y="394"/>
                  </a:cubicBezTo>
                  <a:cubicBezTo>
                    <a:pt x="5562" y="426"/>
                    <a:pt x="5556" y="459"/>
                    <a:pt x="5550" y="491"/>
                  </a:cubicBezTo>
                  <a:cubicBezTo>
                    <a:pt x="5544" y="523"/>
                    <a:pt x="5537" y="555"/>
                    <a:pt x="5531" y="587"/>
                  </a:cubicBezTo>
                  <a:cubicBezTo>
                    <a:pt x="5524" y="619"/>
                    <a:pt x="5518" y="652"/>
                    <a:pt x="5511" y="684"/>
                  </a:cubicBezTo>
                  <a:cubicBezTo>
                    <a:pt x="5504" y="715"/>
                    <a:pt x="5497" y="747"/>
                    <a:pt x="5490" y="778"/>
                  </a:cubicBezTo>
                  <a:cubicBezTo>
                    <a:pt x="5483" y="809"/>
                    <a:pt x="5475" y="839"/>
                    <a:pt x="5468" y="870"/>
                  </a:cubicBezTo>
                  <a:cubicBezTo>
                    <a:pt x="5459" y="900"/>
                    <a:pt x="5451" y="931"/>
                    <a:pt x="5442" y="961"/>
                  </a:cubicBezTo>
                  <a:cubicBezTo>
                    <a:pt x="5434" y="992"/>
                    <a:pt x="5426" y="1022"/>
                    <a:pt x="5418" y="1053"/>
                  </a:cubicBezTo>
                  <a:cubicBezTo>
                    <a:pt x="5409" y="1084"/>
                    <a:pt x="5399" y="1114"/>
                    <a:pt x="5390" y="1145"/>
                  </a:cubicBezTo>
                  <a:cubicBezTo>
                    <a:pt x="5380" y="1174"/>
                    <a:pt x="5371" y="1202"/>
                    <a:pt x="5361" y="1231"/>
                  </a:cubicBezTo>
                  <a:lnTo>
                    <a:pt x="5331" y="1318"/>
                  </a:lnTo>
                  <a:lnTo>
                    <a:pt x="5301" y="1405"/>
                  </a:lnTo>
                  <a:cubicBezTo>
                    <a:pt x="5290" y="1435"/>
                    <a:pt x="5280" y="1464"/>
                    <a:pt x="5269" y="1494"/>
                  </a:cubicBezTo>
                  <a:cubicBezTo>
                    <a:pt x="5258" y="1522"/>
                    <a:pt x="5246" y="1550"/>
                    <a:pt x="5235" y="1578"/>
                  </a:cubicBezTo>
                  <a:cubicBezTo>
                    <a:pt x="5223" y="1606"/>
                    <a:pt x="5211" y="1635"/>
                    <a:pt x="5199" y="1663"/>
                  </a:cubicBezTo>
                  <a:cubicBezTo>
                    <a:pt x="5187" y="1689"/>
                    <a:pt x="5175" y="1716"/>
                    <a:pt x="5163" y="1742"/>
                  </a:cubicBezTo>
                  <a:cubicBezTo>
                    <a:pt x="5150" y="1769"/>
                    <a:pt x="5137" y="1797"/>
                    <a:pt x="5124" y="1824"/>
                  </a:cubicBezTo>
                  <a:cubicBezTo>
                    <a:pt x="5111" y="1850"/>
                    <a:pt x="5098" y="1877"/>
                    <a:pt x="5085" y="1903"/>
                  </a:cubicBezTo>
                  <a:cubicBezTo>
                    <a:pt x="5072" y="1930"/>
                    <a:pt x="5059" y="1958"/>
                    <a:pt x="5046" y="1985"/>
                  </a:cubicBezTo>
                  <a:cubicBezTo>
                    <a:pt x="5032" y="2010"/>
                    <a:pt x="5019" y="2034"/>
                    <a:pt x="5005" y="2059"/>
                  </a:cubicBezTo>
                  <a:cubicBezTo>
                    <a:pt x="4990" y="2084"/>
                    <a:pt x="4975" y="2108"/>
                    <a:pt x="4961" y="2133"/>
                  </a:cubicBezTo>
                  <a:cubicBezTo>
                    <a:pt x="4946" y="2159"/>
                    <a:pt x="4931" y="2184"/>
                    <a:pt x="4916" y="2210"/>
                  </a:cubicBezTo>
                  <a:cubicBezTo>
                    <a:pt x="4901" y="2234"/>
                    <a:pt x="4887" y="2258"/>
                    <a:pt x="4872" y="2282"/>
                  </a:cubicBezTo>
                  <a:cubicBezTo>
                    <a:pt x="4856" y="2306"/>
                    <a:pt x="4841" y="2330"/>
                    <a:pt x="4825" y="2354"/>
                  </a:cubicBezTo>
                  <a:cubicBezTo>
                    <a:pt x="4810" y="2378"/>
                    <a:pt x="4794" y="2402"/>
                    <a:pt x="4779" y="2426"/>
                  </a:cubicBezTo>
                  <a:lnTo>
                    <a:pt x="4731" y="2495"/>
                  </a:lnTo>
                  <a:cubicBezTo>
                    <a:pt x="4714" y="2517"/>
                    <a:pt x="4698" y="2540"/>
                    <a:pt x="4681" y="2562"/>
                  </a:cubicBezTo>
                  <a:cubicBezTo>
                    <a:pt x="4664" y="2583"/>
                    <a:pt x="4648" y="2605"/>
                    <a:pt x="4631" y="2626"/>
                  </a:cubicBezTo>
                  <a:cubicBezTo>
                    <a:pt x="4614" y="2648"/>
                    <a:pt x="4596" y="2669"/>
                    <a:pt x="4579" y="2691"/>
                  </a:cubicBezTo>
                  <a:cubicBezTo>
                    <a:pt x="4562" y="2712"/>
                    <a:pt x="4545" y="2732"/>
                    <a:pt x="4528" y="2753"/>
                  </a:cubicBezTo>
                  <a:cubicBezTo>
                    <a:pt x="4509" y="2774"/>
                    <a:pt x="4491" y="2796"/>
                    <a:pt x="4472" y="2817"/>
                  </a:cubicBezTo>
                  <a:cubicBezTo>
                    <a:pt x="4454" y="2836"/>
                    <a:pt x="4437" y="2855"/>
                    <a:pt x="4419" y="2874"/>
                  </a:cubicBezTo>
                  <a:cubicBezTo>
                    <a:pt x="4401" y="2894"/>
                    <a:pt x="4382" y="2914"/>
                    <a:pt x="4364" y="2934"/>
                  </a:cubicBezTo>
                  <a:lnTo>
                    <a:pt x="4307" y="2988"/>
                  </a:lnTo>
                  <a:cubicBezTo>
                    <a:pt x="4288" y="3006"/>
                    <a:pt x="4269" y="3025"/>
                    <a:pt x="4250" y="3043"/>
                  </a:cubicBezTo>
                  <a:cubicBezTo>
                    <a:pt x="4231" y="3061"/>
                    <a:pt x="4211" y="3079"/>
                    <a:pt x="4192" y="3097"/>
                  </a:cubicBezTo>
                  <a:lnTo>
                    <a:pt x="4134" y="3149"/>
                  </a:lnTo>
                  <a:cubicBezTo>
                    <a:pt x="4114" y="3165"/>
                    <a:pt x="4093" y="3180"/>
                    <a:pt x="4073" y="3196"/>
                  </a:cubicBezTo>
                  <a:cubicBezTo>
                    <a:pt x="4053" y="3212"/>
                    <a:pt x="4032" y="3227"/>
                    <a:pt x="4012" y="3243"/>
                  </a:cubicBezTo>
                  <a:cubicBezTo>
                    <a:pt x="3992" y="3259"/>
                    <a:pt x="3972" y="3274"/>
                    <a:pt x="3952" y="3290"/>
                  </a:cubicBezTo>
                  <a:lnTo>
                    <a:pt x="3889" y="3335"/>
                  </a:lnTo>
                  <a:cubicBezTo>
                    <a:pt x="3868" y="3349"/>
                    <a:pt x="3846" y="3363"/>
                    <a:pt x="3825" y="3377"/>
                  </a:cubicBezTo>
                  <a:lnTo>
                    <a:pt x="3761" y="3417"/>
                  </a:lnTo>
                  <a:lnTo>
                    <a:pt x="3697" y="3454"/>
                  </a:lnTo>
                  <a:cubicBezTo>
                    <a:pt x="3675" y="3466"/>
                    <a:pt x="3653" y="3479"/>
                    <a:pt x="3631" y="3491"/>
                  </a:cubicBezTo>
                  <a:cubicBezTo>
                    <a:pt x="3610" y="3502"/>
                    <a:pt x="3588" y="3512"/>
                    <a:pt x="3567" y="3523"/>
                  </a:cubicBezTo>
                  <a:lnTo>
                    <a:pt x="3499" y="3558"/>
                  </a:lnTo>
                  <a:lnTo>
                    <a:pt x="3431" y="3588"/>
                  </a:lnTo>
                  <a:lnTo>
                    <a:pt x="3363" y="3615"/>
                  </a:lnTo>
                  <a:lnTo>
                    <a:pt x="3294" y="3642"/>
                  </a:lnTo>
                  <a:cubicBezTo>
                    <a:pt x="3271" y="3650"/>
                    <a:pt x="3247" y="3657"/>
                    <a:pt x="3224" y="3665"/>
                  </a:cubicBezTo>
                  <a:cubicBezTo>
                    <a:pt x="3201" y="3672"/>
                    <a:pt x="3178" y="3680"/>
                    <a:pt x="3155" y="3687"/>
                  </a:cubicBezTo>
                  <a:cubicBezTo>
                    <a:pt x="3131" y="3694"/>
                    <a:pt x="3107" y="3700"/>
                    <a:pt x="3083" y="3707"/>
                  </a:cubicBezTo>
                  <a:cubicBezTo>
                    <a:pt x="3060" y="3713"/>
                    <a:pt x="3037" y="3718"/>
                    <a:pt x="3014" y="3724"/>
                  </a:cubicBezTo>
                  <a:lnTo>
                    <a:pt x="2941" y="3739"/>
                  </a:lnTo>
                  <a:lnTo>
                    <a:pt x="2868" y="3754"/>
                  </a:lnTo>
                  <a:cubicBezTo>
                    <a:pt x="2844" y="3756"/>
                    <a:pt x="2821" y="3759"/>
                    <a:pt x="2797" y="3761"/>
                  </a:cubicBezTo>
                  <a:cubicBezTo>
                    <a:pt x="2772" y="3764"/>
                    <a:pt x="2747" y="3768"/>
                    <a:pt x="2722" y="3771"/>
                  </a:cubicBezTo>
                  <a:cubicBezTo>
                    <a:pt x="2698" y="3773"/>
                    <a:pt x="2673" y="3774"/>
                    <a:pt x="2649" y="3776"/>
                  </a:cubicBezTo>
                  <a:cubicBezTo>
                    <a:pt x="2625" y="3778"/>
                    <a:pt x="2600" y="3779"/>
                    <a:pt x="2576" y="3781"/>
                  </a:cubicBezTo>
                  <a:lnTo>
                    <a:pt x="2499" y="3781"/>
                  </a:lnTo>
                  <a:lnTo>
                    <a:pt x="2394" y="3781"/>
                  </a:lnTo>
                  <a:lnTo>
                    <a:pt x="2285" y="3771"/>
                  </a:lnTo>
                  <a:lnTo>
                    <a:pt x="2180" y="3759"/>
                  </a:lnTo>
                  <a:lnTo>
                    <a:pt x="2075" y="3741"/>
                  </a:lnTo>
                  <a:cubicBezTo>
                    <a:pt x="2040" y="3734"/>
                    <a:pt x="2006" y="3726"/>
                    <a:pt x="1971" y="3719"/>
                  </a:cubicBezTo>
                  <a:lnTo>
                    <a:pt x="1868" y="3692"/>
                  </a:lnTo>
                  <a:lnTo>
                    <a:pt x="1766" y="3662"/>
                  </a:lnTo>
                  <a:cubicBezTo>
                    <a:pt x="1733" y="3650"/>
                    <a:pt x="1699" y="3639"/>
                    <a:pt x="1666" y="3627"/>
                  </a:cubicBezTo>
                  <a:lnTo>
                    <a:pt x="0" y="6085"/>
                  </a:lnTo>
                  <a:cubicBezTo>
                    <a:pt x="70" y="7227"/>
                    <a:pt x="138" y="8352"/>
                    <a:pt x="208" y="9494"/>
                  </a:cubicBezTo>
                  <a:cubicBezTo>
                    <a:pt x="253" y="9518"/>
                    <a:pt x="259" y="9522"/>
                    <a:pt x="345" y="9563"/>
                  </a:cubicBezTo>
                  <a:cubicBezTo>
                    <a:pt x="390" y="9583"/>
                    <a:pt x="411" y="9593"/>
                    <a:pt x="481" y="9623"/>
                  </a:cubicBezTo>
                  <a:lnTo>
                    <a:pt x="621" y="9673"/>
                  </a:lnTo>
                  <a:lnTo>
                    <a:pt x="758" y="9720"/>
                  </a:lnTo>
                  <a:lnTo>
                    <a:pt x="899" y="9765"/>
                  </a:lnTo>
                  <a:lnTo>
                    <a:pt x="1041" y="9804"/>
                  </a:lnTo>
                  <a:lnTo>
                    <a:pt x="1183" y="9839"/>
                  </a:lnTo>
                  <a:lnTo>
                    <a:pt x="1326" y="9874"/>
                  </a:lnTo>
                  <a:lnTo>
                    <a:pt x="1472" y="9903"/>
                  </a:lnTo>
                  <a:lnTo>
                    <a:pt x="1615" y="9926"/>
                  </a:lnTo>
                  <a:lnTo>
                    <a:pt x="1761" y="9948"/>
                  </a:lnTo>
                  <a:lnTo>
                    <a:pt x="1907" y="9965"/>
                  </a:lnTo>
                  <a:lnTo>
                    <a:pt x="2053" y="9980"/>
                  </a:lnTo>
                  <a:lnTo>
                    <a:pt x="2203" y="9990"/>
                  </a:lnTo>
                  <a:lnTo>
                    <a:pt x="2351" y="9995"/>
                  </a:lnTo>
                  <a:lnTo>
                    <a:pt x="2499" y="10000"/>
                  </a:lnTo>
                  <a:lnTo>
                    <a:pt x="2678" y="9995"/>
                  </a:lnTo>
                  <a:lnTo>
                    <a:pt x="2851" y="9988"/>
                  </a:lnTo>
                  <a:lnTo>
                    <a:pt x="3026" y="9975"/>
                  </a:lnTo>
                  <a:lnTo>
                    <a:pt x="3197" y="9953"/>
                  </a:lnTo>
                  <a:lnTo>
                    <a:pt x="3370" y="9931"/>
                  </a:lnTo>
                  <a:lnTo>
                    <a:pt x="3540" y="9898"/>
                  </a:lnTo>
                  <a:lnTo>
                    <a:pt x="3711" y="9866"/>
                  </a:lnTo>
                  <a:lnTo>
                    <a:pt x="3879" y="9824"/>
                  </a:lnTo>
                  <a:lnTo>
                    <a:pt x="4044" y="9779"/>
                  </a:lnTo>
                  <a:lnTo>
                    <a:pt x="4212" y="9730"/>
                  </a:lnTo>
                  <a:lnTo>
                    <a:pt x="4374" y="9673"/>
                  </a:lnTo>
                  <a:lnTo>
                    <a:pt x="4538" y="9616"/>
                  </a:lnTo>
                  <a:lnTo>
                    <a:pt x="4699" y="9552"/>
                  </a:lnTo>
                  <a:lnTo>
                    <a:pt x="4859" y="9482"/>
                  </a:lnTo>
                  <a:lnTo>
                    <a:pt x="5017" y="9405"/>
                  </a:lnTo>
                  <a:lnTo>
                    <a:pt x="5174" y="9329"/>
                  </a:lnTo>
                  <a:lnTo>
                    <a:pt x="5329" y="9244"/>
                  </a:lnTo>
                  <a:cubicBezTo>
                    <a:pt x="5380" y="9215"/>
                    <a:pt x="5432" y="9187"/>
                    <a:pt x="5483" y="9158"/>
                  </a:cubicBezTo>
                  <a:cubicBezTo>
                    <a:pt x="5533" y="9126"/>
                    <a:pt x="5584" y="9095"/>
                    <a:pt x="5634" y="9063"/>
                  </a:cubicBezTo>
                  <a:lnTo>
                    <a:pt x="5784" y="8967"/>
                  </a:lnTo>
                  <a:lnTo>
                    <a:pt x="5934" y="8865"/>
                  </a:lnTo>
                  <a:lnTo>
                    <a:pt x="6078" y="8759"/>
                  </a:lnTo>
                  <a:lnTo>
                    <a:pt x="6224" y="8652"/>
                  </a:lnTo>
                  <a:lnTo>
                    <a:pt x="6367" y="8536"/>
                  </a:lnTo>
                  <a:lnTo>
                    <a:pt x="6508" y="8417"/>
                  </a:lnTo>
                  <a:lnTo>
                    <a:pt x="6645" y="8295"/>
                  </a:lnTo>
                  <a:lnTo>
                    <a:pt x="6783" y="8169"/>
                  </a:lnTo>
                  <a:lnTo>
                    <a:pt x="6916" y="8040"/>
                  </a:lnTo>
                  <a:lnTo>
                    <a:pt x="7049" y="7904"/>
                  </a:lnTo>
                  <a:lnTo>
                    <a:pt x="7179" y="7768"/>
                  </a:lnTo>
                  <a:lnTo>
                    <a:pt x="7308" y="7624"/>
                  </a:lnTo>
                  <a:lnTo>
                    <a:pt x="7433" y="7480"/>
                  </a:lnTo>
                  <a:lnTo>
                    <a:pt x="7556" y="7329"/>
                  </a:lnTo>
                  <a:lnTo>
                    <a:pt x="7677" y="7178"/>
                  </a:lnTo>
                  <a:cubicBezTo>
                    <a:pt x="7717" y="7127"/>
                    <a:pt x="7756" y="7075"/>
                    <a:pt x="7796" y="7024"/>
                  </a:cubicBezTo>
                  <a:lnTo>
                    <a:pt x="7911" y="6861"/>
                  </a:lnTo>
                  <a:cubicBezTo>
                    <a:pt x="7949" y="6806"/>
                    <a:pt x="7988" y="6752"/>
                    <a:pt x="8026" y="6697"/>
                  </a:cubicBezTo>
                  <a:lnTo>
                    <a:pt x="8137" y="6534"/>
                  </a:lnTo>
                  <a:cubicBezTo>
                    <a:pt x="8173" y="6478"/>
                    <a:pt x="8208" y="6421"/>
                    <a:pt x="8244" y="6365"/>
                  </a:cubicBezTo>
                  <a:lnTo>
                    <a:pt x="8351" y="6189"/>
                  </a:lnTo>
                  <a:cubicBezTo>
                    <a:pt x="8385" y="6131"/>
                    <a:pt x="8420" y="6074"/>
                    <a:pt x="8454" y="6016"/>
                  </a:cubicBezTo>
                  <a:lnTo>
                    <a:pt x="8556" y="5835"/>
                  </a:lnTo>
                  <a:cubicBezTo>
                    <a:pt x="8589" y="5774"/>
                    <a:pt x="8621" y="5713"/>
                    <a:pt x="8654" y="5652"/>
                  </a:cubicBezTo>
                  <a:cubicBezTo>
                    <a:pt x="8686" y="5591"/>
                    <a:pt x="8717" y="5529"/>
                    <a:pt x="8749" y="5468"/>
                  </a:cubicBezTo>
                  <a:cubicBezTo>
                    <a:pt x="8780" y="5405"/>
                    <a:pt x="8810" y="5341"/>
                    <a:pt x="8841" y="5278"/>
                  </a:cubicBezTo>
                  <a:lnTo>
                    <a:pt x="8931" y="5089"/>
                  </a:lnTo>
                  <a:cubicBezTo>
                    <a:pt x="8960" y="5024"/>
                    <a:pt x="8989" y="4958"/>
                    <a:pt x="9019" y="4893"/>
                  </a:cubicBezTo>
                  <a:lnTo>
                    <a:pt x="9103" y="4698"/>
                  </a:lnTo>
                  <a:cubicBezTo>
                    <a:pt x="9130" y="4632"/>
                    <a:pt x="9156" y="4566"/>
                    <a:pt x="9183" y="4500"/>
                  </a:cubicBezTo>
                  <a:cubicBezTo>
                    <a:pt x="9209" y="4431"/>
                    <a:pt x="9235" y="4363"/>
                    <a:pt x="9261" y="4294"/>
                  </a:cubicBezTo>
                  <a:cubicBezTo>
                    <a:pt x="9286" y="4226"/>
                    <a:pt x="9310" y="4159"/>
                    <a:pt x="9335" y="4091"/>
                  </a:cubicBezTo>
                  <a:cubicBezTo>
                    <a:pt x="9359" y="4022"/>
                    <a:pt x="9382" y="3954"/>
                    <a:pt x="9406" y="3885"/>
                  </a:cubicBezTo>
                  <a:cubicBezTo>
                    <a:pt x="9429" y="3815"/>
                    <a:pt x="9452" y="3744"/>
                    <a:pt x="9475" y="3674"/>
                  </a:cubicBezTo>
                  <a:cubicBezTo>
                    <a:pt x="9497" y="3604"/>
                    <a:pt x="9518" y="3534"/>
                    <a:pt x="9540" y="3464"/>
                  </a:cubicBezTo>
                  <a:cubicBezTo>
                    <a:pt x="9561" y="3392"/>
                    <a:pt x="9583" y="3320"/>
                    <a:pt x="9604" y="3248"/>
                  </a:cubicBezTo>
                  <a:cubicBezTo>
                    <a:pt x="9623" y="3175"/>
                    <a:pt x="9642" y="3103"/>
                    <a:pt x="9661" y="3030"/>
                  </a:cubicBezTo>
                  <a:cubicBezTo>
                    <a:pt x="9679" y="2958"/>
                    <a:pt x="9698" y="2887"/>
                    <a:pt x="9716" y="2815"/>
                  </a:cubicBezTo>
                  <a:cubicBezTo>
                    <a:pt x="9733" y="2741"/>
                    <a:pt x="9751" y="2666"/>
                    <a:pt x="9768" y="2592"/>
                  </a:cubicBezTo>
                  <a:cubicBezTo>
                    <a:pt x="9785" y="2518"/>
                    <a:pt x="9801" y="2443"/>
                    <a:pt x="9818" y="2369"/>
                  </a:cubicBezTo>
                  <a:cubicBezTo>
                    <a:pt x="9832" y="2294"/>
                    <a:pt x="9847" y="2218"/>
                    <a:pt x="9861" y="2143"/>
                  </a:cubicBezTo>
                  <a:lnTo>
                    <a:pt x="9903" y="1918"/>
                  </a:lnTo>
                  <a:cubicBezTo>
                    <a:pt x="9916" y="1842"/>
                    <a:pt x="9928" y="1766"/>
                    <a:pt x="9941" y="1690"/>
                  </a:cubicBezTo>
                  <a:cubicBezTo>
                    <a:pt x="9952" y="1612"/>
                    <a:pt x="9964" y="1535"/>
                    <a:pt x="9975" y="1457"/>
                  </a:cubicBezTo>
                  <a:cubicBezTo>
                    <a:pt x="9983" y="1377"/>
                    <a:pt x="9993" y="1295"/>
                    <a:pt x="10001" y="1215"/>
                  </a:cubicBezTo>
                  <a:lnTo>
                    <a:pt x="7615" y="1876"/>
                  </a:lnTo>
                  <a:lnTo>
                    <a:pt x="5618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70596" y="234864"/>
            <a:ext cx="8794113" cy="659459"/>
          </a:xfrm>
        </p:spPr>
        <p:txBody>
          <a:bodyPr/>
          <a:lstStyle/>
          <a:p>
            <a:r>
              <a:rPr lang="en-US" dirty="0" err="1"/>
              <a:t>Index</a:t>
            </a:r>
            <a:r>
              <a:rPr lang="en-US" baseline="-25000" dirty="0" err="1"/>
              <a:t>c</a:t>
            </a:r>
            <a:r>
              <a:rPr lang="en-US" dirty="0"/>
              <a:t> provides clear, comprehensive product sustainability visibility to consumers while communicating their preferences and feedback upstream</a:t>
            </a:r>
          </a:p>
        </p:txBody>
      </p:sp>
      <p:sp>
        <p:nvSpPr>
          <p:cNvPr id="22" name="Oval 21"/>
          <p:cNvSpPr/>
          <p:nvPr/>
        </p:nvSpPr>
        <p:spPr bwMode="gray">
          <a:xfrm>
            <a:off x="5200122" y="3136431"/>
            <a:ext cx="1363310" cy="94911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48" tIns="46648" rIns="46648" bIns="46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Work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Legend2"/>
          <p:cNvSpPr>
            <a:spLocks noChangeArrowheads="1"/>
          </p:cNvSpPr>
          <p:nvPr/>
        </p:nvSpPr>
        <p:spPr bwMode="gray">
          <a:xfrm>
            <a:off x="1238832" y="3053019"/>
            <a:ext cx="1506529" cy="6806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en-US" b="1" dirty="0" smtClean="0"/>
              <a:t>Index</a:t>
            </a:r>
            <a:r>
              <a:rPr lang="en-US" b="1" baseline="-25000" dirty="0" smtClean="0"/>
              <a:t>c</a:t>
            </a:r>
            <a:endParaRPr lang="en-US" b="1" baseline="-25000" dirty="0" smtClean="0">
              <a:latin typeface="+mn-lt"/>
            </a:endParaRPr>
          </a:p>
          <a:p>
            <a:pPr defTabSz="913526">
              <a:buClr>
                <a:schemeClr val="tx2"/>
              </a:buClr>
            </a:pPr>
            <a:r>
              <a:rPr lang="en-US" i="1" dirty="0" smtClean="0"/>
              <a:t>More product info for better decision making</a:t>
            </a:r>
            <a:endParaRPr lang="en-US" b="1" dirty="0">
              <a:latin typeface="+mn-lt"/>
            </a:endParaRPr>
          </a:p>
        </p:txBody>
      </p:sp>
      <p:sp>
        <p:nvSpPr>
          <p:cNvPr id="36" name="Rectangle 6174"/>
          <p:cNvSpPr txBox="1"/>
          <p:nvPr/>
        </p:nvSpPr>
        <p:spPr bwMode="gray">
          <a:xfrm>
            <a:off x="392363" y="4144210"/>
            <a:ext cx="2420278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P</a:t>
            </a:r>
            <a:r>
              <a:rPr lang="en-US" dirty="0" smtClean="0"/>
              <a:t>roduct sustainability details at POS; upwards feedback on drivers of purchasing decisions</a:t>
            </a:r>
          </a:p>
        </p:txBody>
      </p:sp>
      <p:sp>
        <p:nvSpPr>
          <p:cNvPr id="37" name="Rounded Rectangle 36"/>
          <p:cNvSpPr/>
          <p:nvPr/>
        </p:nvSpPr>
        <p:spPr bwMode="gray">
          <a:xfrm>
            <a:off x="302438" y="3054435"/>
            <a:ext cx="839725" cy="83967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2400" b="1" baseline="30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8" name="Legend2"/>
          <p:cNvSpPr>
            <a:spLocks noChangeArrowheads="1"/>
          </p:cNvSpPr>
          <p:nvPr/>
        </p:nvSpPr>
        <p:spPr bwMode="gray">
          <a:xfrm>
            <a:off x="518162" y="3265603"/>
            <a:ext cx="477789" cy="351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noAutofit/>
          </a:bodyPr>
          <a:lstStyle/>
          <a:p>
            <a:pPr algn="ctr" defTabSz="913526">
              <a:buClr>
                <a:schemeClr val="tx2"/>
              </a:buClr>
            </a:pPr>
            <a:r>
              <a:rPr lang="en-US" sz="73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i</a:t>
            </a:r>
            <a:r>
              <a:rPr lang="en-US" sz="7300" b="1" baseline="-25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c</a:t>
            </a:r>
            <a:endParaRPr lang="en-US" sz="7300" b="1" baseline="-25000" dirty="0">
              <a:solidFill>
                <a:schemeClr val="tx1">
                  <a:lumMod val="50000"/>
                  <a:lumOff val="50000"/>
                </a:schemeClr>
              </a:solidFill>
              <a:latin typeface="Arabic Typesetting" panose="03020402040406030203" pitchFamily="66" charset="-78"/>
              <a:cs typeface="Arabic Typesetting" panose="03020402040406030203" pitchFamily="66" charset="-78"/>
            </a:endParaRPr>
          </a:p>
        </p:txBody>
      </p:sp>
      <p:sp>
        <p:nvSpPr>
          <p:cNvPr id="39" name="Right Arrow 38"/>
          <p:cNvSpPr/>
          <p:nvPr/>
        </p:nvSpPr>
        <p:spPr bwMode="gray">
          <a:xfrm>
            <a:off x="4930368" y="1484485"/>
            <a:ext cx="1400985" cy="276167"/>
          </a:xfrm>
          <a:prstGeom prst="rightArrow">
            <a:avLst/>
          </a:prstGeom>
          <a:solidFill>
            <a:srgbClr val="ACC23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0" name="Right Arrow 39"/>
          <p:cNvSpPr/>
          <p:nvPr/>
        </p:nvSpPr>
        <p:spPr bwMode="gray">
          <a:xfrm>
            <a:off x="2445691" y="1484485"/>
            <a:ext cx="1286457" cy="276167"/>
          </a:xfrm>
          <a:prstGeom prst="rightArrow">
            <a:avLst/>
          </a:prstGeom>
          <a:solidFill>
            <a:srgbClr val="0066CC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1" name="Right Arrow 40"/>
          <p:cNvSpPr/>
          <p:nvPr/>
        </p:nvSpPr>
        <p:spPr bwMode="gray">
          <a:xfrm rot="4262365">
            <a:off x="6476893" y="2460835"/>
            <a:ext cx="1286382" cy="276183"/>
          </a:xfrm>
          <a:prstGeom prst="rightArrow">
            <a:avLst/>
          </a:prstGeom>
          <a:solidFill>
            <a:srgbClr val="ACC23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2" name="Right Arrow 41"/>
          <p:cNvSpPr/>
          <p:nvPr/>
        </p:nvSpPr>
        <p:spPr bwMode="gray">
          <a:xfrm rot="7658086">
            <a:off x="6296540" y="4637661"/>
            <a:ext cx="1286382" cy="276183"/>
          </a:xfrm>
          <a:prstGeom prst="rightArrow">
            <a:avLst/>
          </a:prstGeom>
          <a:solidFill>
            <a:srgbClr val="ACC23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3" name="Right Arrow 42"/>
          <p:cNvSpPr/>
          <p:nvPr/>
        </p:nvSpPr>
        <p:spPr bwMode="gray">
          <a:xfrm rot="3141914" flipH="1">
            <a:off x="4402037" y="4620446"/>
            <a:ext cx="1286382" cy="276183"/>
          </a:xfrm>
          <a:prstGeom prst="rightArrow">
            <a:avLst/>
          </a:prstGeom>
          <a:solidFill>
            <a:srgbClr val="ACC23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4" name="Right Arrow 43"/>
          <p:cNvSpPr/>
          <p:nvPr/>
        </p:nvSpPr>
        <p:spPr bwMode="gray">
          <a:xfrm rot="18458086">
            <a:off x="6194242" y="5049394"/>
            <a:ext cx="1610831" cy="276183"/>
          </a:xfrm>
          <a:prstGeom prst="rightArrow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5" name="Right Arrow 44"/>
          <p:cNvSpPr/>
          <p:nvPr/>
        </p:nvSpPr>
        <p:spPr bwMode="gray">
          <a:xfrm rot="3141914" flipV="1">
            <a:off x="3874263" y="4767546"/>
            <a:ext cx="1681892" cy="276183"/>
          </a:xfrm>
          <a:prstGeom prst="rightArrow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6" name="Right Arrow 45"/>
          <p:cNvSpPr/>
          <p:nvPr/>
        </p:nvSpPr>
        <p:spPr bwMode="gray">
          <a:xfrm rot="4262365" flipH="1" flipV="1">
            <a:off x="6933942" y="3016171"/>
            <a:ext cx="1286382" cy="276183"/>
          </a:xfrm>
          <a:prstGeom prst="rightArrow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7" name="Right Arrow 46"/>
          <p:cNvSpPr/>
          <p:nvPr/>
        </p:nvSpPr>
        <p:spPr bwMode="gray">
          <a:xfrm flipH="1">
            <a:off x="5000428" y="1792378"/>
            <a:ext cx="1400985" cy="276167"/>
          </a:xfrm>
          <a:prstGeom prst="rightArrow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9" name="Right Arrow 48"/>
          <p:cNvSpPr/>
          <p:nvPr/>
        </p:nvSpPr>
        <p:spPr bwMode="gray">
          <a:xfrm flipH="1">
            <a:off x="2533296" y="1774274"/>
            <a:ext cx="1400985" cy="276167"/>
          </a:xfrm>
          <a:prstGeom prst="rightArrow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1" name="McK 1. On-page tracker"/>
          <p:cNvSpPr>
            <a:spLocks noChangeArrowheads="1"/>
          </p:cNvSpPr>
          <p:nvPr/>
        </p:nvSpPr>
        <p:spPr bwMode="gray">
          <a:xfrm>
            <a:off x="121489" y="27537"/>
            <a:ext cx="67326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dirty="0" smtClean="0">
                <a:solidFill>
                  <a:srgbClr val="808080"/>
                </a:solidFill>
                <a:latin typeface="Arial Narrow" pitchFamily="34" charset="0"/>
                <a:ea typeface="+mj-ea"/>
              </a:rPr>
              <a:t>INDEXc</a:t>
            </a:r>
            <a:endParaRPr lang="en-US" b="1" baseline="0" noProof="0" dirty="0">
              <a:solidFill>
                <a:srgbClr val="FF0000"/>
              </a:solidFill>
              <a:latin typeface="Arial Narrow" pitchFamily="34" charset="0"/>
              <a:ea typeface="+mj-ea"/>
            </a:endParaRPr>
          </a:p>
        </p:txBody>
      </p:sp>
      <p:grpSp>
        <p:nvGrpSpPr>
          <p:cNvPr id="4" name="Group 51"/>
          <p:cNvGrpSpPr/>
          <p:nvPr/>
        </p:nvGrpSpPr>
        <p:grpSpPr bwMode="gray">
          <a:xfrm>
            <a:off x="483090" y="5272339"/>
            <a:ext cx="1408207" cy="276999"/>
            <a:chOff x="473445" y="4464963"/>
            <a:chExt cx="1380092" cy="271485"/>
          </a:xfrm>
        </p:grpSpPr>
        <p:sp>
          <p:nvSpPr>
            <p:cNvPr id="53" name="RectangleLegend2"/>
            <p:cNvSpPr>
              <a:spLocks noChangeArrowheads="1"/>
            </p:cNvSpPr>
            <p:nvPr/>
          </p:nvSpPr>
          <p:spPr bwMode="gray">
            <a:xfrm>
              <a:off x="473445" y="4476076"/>
              <a:ext cx="165100" cy="160338"/>
            </a:xfrm>
            <a:prstGeom prst="rect">
              <a:avLst/>
            </a:prstGeom>
            <a:solidFill>
              <a:srgbClr val="ACC23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54" name="Legend2"/>
            <p:cNvSpPr>
              <a:spLocks noChangeArrowheads="1"/>
            </p:cNvSpPr>
            <p:nvPr/>
          </p:nvSpPr>
          <p:spPr bwMode="gray">
            <a:xfrm>
              <a:off x="727445" y="4464963"/>
              <a:ext cx="1126092" cy="2714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dirty="0" smtClean="0">
                  <a:latin typeface="+mn-lt"/>
                </a:rPr>
                <a:t>Product info</a:t>
              </a:r>
              <a:endParaRPr lang="en-US" dirty="0">
                <a:latin typeface="+mn-lt"/>
              </a:endParaRPr>
            </a:p>
          </p:txBody>
        </p:sp>
      </p:grpSp>
      <p:grpSp>
        <p:nvGrpSpPr>
          <p:cNvPr id="5" name="Group 54"/>
          <p:cNvGrpSpPr/>
          <p:nvPr/>
        </p:nvGrpSpPr>
        <p:grpSpPr bwMode="gray">
          <a:xfrm>
            <a:off x="483090" y="5595600"/>
            <a:ext cx="1904241" cy="276999"/>
            <a:chOff x="473445" y="4736426"/>
            <a:chExt cx="1866222" cy="271485"/>
          </a:xfrm>
        </p:grpSpPr>
        <p:sp>
          <p:nvSpPr>
            <p:cNvPr id="62" name="RectangleLegend3"/>
            <p:cNvSpPr>
              <a:spLocks noChangeArrowheads="1"/>
            </p:cNvSpPr>
            <p:nvPr/>
          </p:nvSpPr>
          <p:spPr bwMode="gray">
            <a:xfrm>
              <a:off x="473445" y="474753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63" name="Legend3"/>
            <p:cNvSpPr>
              <a:spLocks noChangeArrowheads="1"/>
            </p:cNvSpPr>
            <p:nvPr/>
          </p:nvSpPr>
          <p:spPr bwMode="gray">
            <a:xfrm>
              <a:off x="727445" y="4736426"/>
              <a:ext cx="1612222" cy="2714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dirty="0" smtClean="0">
                  <a:latin typeface="+mn-lt"/>
                </a:rPr>
                <a:t>Raw material info</a:t>
              </a:r>
              <a:endParaRPr lang="en-US" dirty="0">
                <a:latin typeface="+mn-lt"/>
              </a:endParaRPr>
            </a:p>
          </p:txBody>
        </p:sp>
      </p:grpSp>
      <p:grpSp>
        <p:nvGrpSpPr>
          <p:cNvPr id="7" name="Group 66"/>
          <p:cNvGrpSpPr/>
          <p:nvPr/>
        </p:nvGrpSpPr>
        <p:grpSpPr bwMode="gray">
          <a:xfrm>
            <a:off x="483091" y="5918859"/>
            <a:ext cx="1899175" cy="276999"/>
            <a:chOff x="473445" y="5007889"/>
            <a:chExt cx="1861258" cy="271485"/>
          </a:xfrm>
        </p:grpSpPr>
        <p:sp>
          <p:nvSpPr>
            <p:cNvPr id="68" name="RectangleLegend4"/>
            <p:cNvSpPr>
              <a:spLocks noChangeArrowheads="1"/>
            </p:cNvSpPr>
            <p:nvPr/>
          </p:nvSpPr>
          <p:spPr bwMode="gray">
            <a:xfrm>
              <a:off x="473445" y="5019001"/>
              <a:ext cx="165100" cy="160338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69" name="Legend4"/>
            <p:cNvSpPr>
              <a:spLocks noChangeArrowheads="1"/>
            </p:cNvSpPr>
            <p:nvPr/>
          </p:nvSpPr>
          <p:spPr bwMode="gray">
            <a:xfrm>
              <a:off x="727445" y="5007889"/>
              <a:ext cx="1607258" cy="2714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dirty="0" smtClean="0">
                  <a:latin typeface="+mn-lt"/>
                </a:rPr>
                <a:t>Product feedback</a:t>
              </a:r>
              <a:endParaRPr lang="en-US" dirty="0">
                <a:latin typeface="+mn-lt"/>
              </a:endParaRPr>
            </a:p>
          </p:txBody>
        </p:sp>
      </p:grpSp>
      <p:sp>
        <p:nvSpPr>
          <p:cNvPr id="19" name="Rectangle 18"/>
          <p:cNvSpPr/>
          <p:nvPr/>
        </p:nvSpPr>
        <p:spPr bwMode="gray">
          <a:xfrm>
            <a:off x="1290025" y="1099333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Raw materials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3733035" y="1096978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ier 2/3 suppliers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6338549" y="1240249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ier 1 suppliers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5236251" y="4744931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tores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7130169" y="3209933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uyer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3312100" y="3209933"/>
            <a:ext cx="1291050" cy="1306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8" tIns="46648" rIns="46648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nsumers</a:t>
            </a:r>
          </a:p>
        </p:txBody>
      </p:sp>
    </p:spTree>
    <p:extLst>
      <p:ext uri="{BB962C8B-B14F-4D97-AF65-F5344CB8AC3E}">
        <p14:creationId xmlns:p14="http://schemas.microsoft.com/office/powerpoint/2010/main" val="2188531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flipH="1">
            <a:off x="0" y="203"/>
            <a:ext cx="9144000" cy="6857596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6628735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21489" y="234864"/>
            <a:ext cx="8794113" cy="596653"/>
          </a:xfrm>
        </p:spPr>
        <p:txBody>
          <a:bodyPr/>
          <a:lstStyle/>
          <a:p>
            <a:r>
              <a:rPr lang="en-US" dirty="0" smtClean="0"/>
              <a:t>What are some common threads across successful enterprise sustainability apps?</a:t>
            </a:r>
            <a:endParaRPr lang="en-US" dirty="0"/>
          </a:p>
        </p:txBody>
      </p:sp>
      <p:sp>
        <p:nvSpPr>
          <p:cNvPr id="20" name="McK 1. On-page tracker"/>
          <p:cNvSpPr>
            <a:spLocks noChangeArrowheads="1"/>
          </p:cNvSpPr>
          <p:nvPr/>
        </p:nvSpPr>
        <p:spPr bwMode="gray">
          <a:xfrm>
            <a:off x="121489" y="27537"/>
            <a:ext cx="180979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dirty="0" smtClean="0">
                <a:solidFill>
                  <a:srgbClr val="808080"/>
                </a:solidFill>
                <a:latin typeface="Arial Narrow" pitchFamily="34" charset="0"/>
                <a:ea typeface="+mj-ea"/>
              </a:rPr>
              <a:t>SUCCESS DRIVERS</a:t>
            </a:r>
            <a:endParaRPr lang="en-US" b="1" baseline="0" noProof="0" dirty="0">
              <a:solidFill>
                <a:srgbClr val="FF0000"/>
              </a:solidFill>
              <a:latin typeface="Arial Narrow" pitchFamily="34" charset="0"/>
              <a:ea typeface="+mj-ea"/>
            </a:endParaRPr>
          </a:p>
        </p:txBody>
      </p:sp>
      <p:sp>
        <p:nvSpPr>
          <p:cNvPr id="7" name="Rectangle 6174"/>
          <p:cNvSpPr txBox="1"/>
          <p:nvPr/>
        </p:nvSpPr>
        <p:spPr bwMode="gray">
          <a:xfrm>
            <a:off x="124307" y="951406"/>
            <a:ext cx="5609929" cy="5652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91551" indent="-291551">
              <a:spcBef>
                <a:spcPts val="1837"/>
              </a:spcBef>
              <a:buFont typeface="Arial" panose="020B0604020202020204" pitchFamily="34" charset="0"/>
              <a:buChar char="•"/>
            </a:pPr>
            <a:r>
              <a:rPr lang="en-US" sz="2000" b="1" dirty="0" smtClean="0">
                <a:solidFill>
                  <a:srgbClr val="27AAE2"/>
                </a:solidFill>
              </a:rPr>
              <a:t>A positive business case:  </a:t>
            </a:r>
            <a:r>
              <a:rPr lang="en-US" sz="2000" dirty="0" smtClean="0"/>
              <a:t>a simple and clear economic or personal motivation for all actors required to participate</a:t>
            </a:r>
          </a:p>
          <a:p>
            <a:pPr marL="291551" indent="-291551">
              <a:spcBef>
                <a:spcPts val="1837"/>
              </a:spcBef>
              <a:buFont typeface="Arial" panose="020B0604020202020204" pitchFamily="34" charset="0"/>
              <a:buChar char="•"/>
            </a:pPr>
            <a:r>
              <a:rPr lang="en-US" sz="2000" b="1" dirty="0" smtClean="0">
                <a:solidFill>
                  <a:srgbClr val="27AAE2"/>
                </a:solidFill>
              </a:rPr>
              <a:t>IP protection:  </a:t>
            </a:r>
            <a:r>
              <a:rPr lang="en-US" sz="2000" dirty="0" smtClean="0"/>
              <a:t>systems that guard essential proprietary data, and inspire confidence in the impacted parties</a:t>
            </a:r>
          </a:p>
          <a:p>
            <a:pPr marL="291551" indent="-291551">
              <a:spcBef>
                <a:spcPts val="1837"/>
              </a:spcBef>
              <a:buFont typeface="Arial" panose="020B0604020202020204" pitchFamily="34" charset="0"/>
              <a:buChar char="•"/>
            </a:pPr>
            <a:r>
              <a:rPr lang="en-US" sz="2000" b="1" dirty="0" smtClean="0">
                <a:solidFill>
                  <a:srgbClr val="27AAE2"/>
                </a:solidFill>
              </a:rPr>
              <a:t>A catalytic actor:  </a:t>
            </a:r>
            <a:r>
              <a:rPr lang="en-US" sz="2000" dirty="0" smtClean="0"/>
              <a:t>stakeholder willing to test and drive adoption, with enough influence to motivate all necessary participants</a:t>
            </a:r>
          </a:p>
          <a:p>
            <a:pPr marL="291551" indent="-291551">
              <a:spcBef>
                <a:spcPts val="1837"/>
              </a:spcBef>
              <a:buFont typeface="Arial" panose="020B0604020202020204" pitchFamily="34" charset="0"/>
              <a:buChar char="•"/>
            </a:pPr>
            <a:r>
              <a:rPr lang="en-US" sz="2000" b="1" dirty="0" smtClean="0">
                <a:solidFill>
                  <a:srgbClr val="27AAE2"/>
                </a:solidFill>
              </a:rPr>
              <a:t>Collaboration:  </a:t>
            </a:r>
            <a:r>
              <a:rPr lang="en-US" sz="2000" dirty="0" smtClean="0"/>
              <a:t>overarching</a:t>
            </a:r>
            <a:r>
              <a:rPr lang="en-US" sz="2000" b="1" dirty="0" smtClean="0"/>
              <a:t> </a:t>
            </a:r>
            <a:r>
              <a:rPr lang="en-US" sz="2000" dirty="0" smtClean="0"/>
              <a:t>“common goal” motivation for participants, coupled to long-term value capture/creation</a:t>
            </a:r>
          </a:p>
          <a:p>
            <a:pPr marL="291551" indent="-291551">
              <a:spcBef>
                <a:spcPts val="1837"/>
              </a:spcBef>
              <a:buFont typeface="Arial" panose="020B0604020202020204" pitchFamily="34" charset="0"/>
              <a:buChar char="•"/>
            </a:pPr>
            <a:r>
              <a:rPr lang="en-US" sz="2000" b="1" dirty="0" smtClean="0">
                <a:solidFill>
                  <a:srgbClr val="27AAE2"/>
                </a:solidFill>
              </a:rPr>
              <a:t>Game-ification:  </a:t>
            </a:r>
            <a:r>
              <a:rPr lang="en-US" sz="2000" dirty="0" smtClean="0"/>
              <a:t>leveraging peer competition wherever possible, with public leaderboards and recognition</a:t>
            </a:r>
          </a:p>
        </p:txBody>
      </p:sp>
    </p:spTree>
    <p:extLst>
      <p:ext uri="{BB962C8B-B14F-4D97-AF65-F5344CB8AC3E}">
        <p14:creationId xmlns:p14="http://schemas.microsoft.com/office/powerpoint/2010/main" val="4062334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717833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21489" y="234863"/>
            <a:ext cx="8794113" cy="298327"/>
          </a:xfrm>
        </p:spPr>
        <p:txBody>
          <a:bodyPr/>
          <a:lstStyle/>
          <a:p>
            <a:r>
              <a:rPr lang="en-US" dirty="0" smtClean="0"/>
              <a:t>Help develop one of our thought-starters… or create a novel idea</a:t>
            </a:r>
            <a:endParaRPr lang="en-US" dirty="0"/>
          </a:p>
        </p:txBody>
      </p:sp>
      <p:sp>
        <p:nvSpPr>
          <p:cNvPr id="20" name="McK 1. On-page tracker"/>
          <p:cNvSpPr>
            <a:spLocks noChangeArrowheads="1"/>
          </p:cNvSpPr>
          <p:nvPr/>
        </p:nvSpPr>
        <p:spPr bwMode="gray">
          <a:xfrm>
            <a:off x="121489" y="27537"/>
            <a:ext cx="191231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noProof="0" dirty="0" smtClean="0">
                <a:solidFill>
                  <a:srgbClr val="808080"/>
                </a:solidFill>
                <a:latin typeface="Arial Narrow" pitchFamily="34" charset="0"/>
                <a:ea typeface="+mj-ea"/>
              </a:rPr>
              <a:t>GROUP BREAKOUTS</a:t>
            </a:r>
            <a:endParaRPr lang="en-US" b="1" baseline="0" noProof="0" dirty="0">
              <a:solidFill>
                <a:srgbClr val="FF0000"/>
              </a:solidFill>
              <a:latin typeface="Arial Narrow" pitchFamily="34" charset="0"/>
              <a:ea typeface="+mj-ea"/>
            </a:endParaRPr>
          </a:p>
        </p:txBody>
      </p:sp>
      <p:sp>
        <p:nvSpPr>
          <p:cNvPr id="14" name="Rectangle 17"/>
          <p:cNvSpPr txBox="1">
            <a:spLocks/>
          </p:cNvSpPr>
          <p:nvPr/>
        </p:nvSpPr>
        <p:spPr bwMode="gray">
          <a:xfrm>
            <a:off x="404468" y="1268305"/>
            <a:ext cx="8511133" cy="628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536345" eaLnBrk="1" hangingPunct="1">
              <a:buClr>
                <a:schemeClr val="tx2"/>
              </a:buClr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16018" indent="-115068" defTabSz="53634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273878" indent="-156911" defTabSz="53634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368025" indent="-93195" defTabSz="53634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449161" indent="-77980" defTabSz="53634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17" lvl="1" indent="0">
              <a:buNone/>
            </a:pPr>
            <a:r>
              <a:rPr lang="en-US" sz="2000" b="1" dirty="0" smtClean="0">
                <a:solidFill>
                  <a:srgbClr val="27AAE2"/>
                </a:solidFill>
                <a:ea typeface="Arial Unicode MS"/>
                <a:cs typeface="Arial Unicode MS"/>
              </a:rPr>
              <a:t>1.  Choose your group.  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ea typeface="Arial Unicode MS"/>
                <a:cs typeface="Arial Unicode MS"/>
              </a:rPr>
              <a:t>Help develop one of our four existing ideas or work in one of two teams to create a novel solution</a:t>
            </a:r>
            <a:endParaRPr lang="en-US" sz="2000" dirty="0">
              <a:solidFill>
                <a:schemeClr val="bg1">
                  <a:lumMod val="50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32" name="Rectangle 17"/>
          <p:cNvSpPr txBox="1">
            <a:spLocks/>
          </p:cNvSpPr>
          <p:nvPr/>
        </p:nvSpPr>
        <p:spPr bwMode="gray">
          <a:xfrm>
            <a:off x="404469" y="3334271"/>
            <a:ext cx="8511132" cy="628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536345" eaLnBrk="1" hangingPunct="1">
              <a:buClr>
                <a:schemeClr val="tx2"/>
              </a:buClr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16018" indent="-115068" defTabSz="53634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273878" indent="-156911" defTabSz="53634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368025" indent="-93195" defTabSz="53634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449161" indent="-77980" defTabSz="53634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17" lvl="1" indent="0">
              <a:buNone/>
            </a:pPr>
            <a:r>
              <a:rPr lang="en-US" sz="2000" b="1" dirty="0" smtClean="0">
                <a:solidFill>
                  <a:srgbClr val="27AAE2"/>
                </a:solidFill>
                <a:ea typeface="Arial Unicode MS"/>
                <a:cs typeface="Arial Unicode MS"/>
              </a:rPr>
              <a:t>2.  Brainstorm the concept.  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ea typeface="Arial Unicode MS"/>
                <a:cs typeface="Arial Unicode MS"/>
              </a:rPr>
              <a:t>With the common success drivers as a guide, sketch out the problem, actors, platform, and features of your app</a:t>
            </a:r>
            <a:endParaRPr lang="en-US" sz="2000" dirty="0">
              <a:solidFill>
                <a:schemeClr val="bg1">
                  <a:lumMod val="50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33" name="Rectangle 17"/>
          <p:cNvSpPr txBox="1">
            <a:spLocks/>
          </p:cNvSpPr>
          <p:nvPr/>
        </p:nvSpPr>
        <p:spPr bwMode="gray">
          <a:xfrm>
            <a:off x="404469" y="4257997"/>
            <a:ext cx="8511132" cy="628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536345" eaLnBrk="1" hangingPunct="1">
              <a:buClr>
                <a:schemeClr val="tx2"/>
              </a:buClr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16018" indent="-115068" defTabSz="53634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273878" indent="-156911" defTabSz="53634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368025" indent="-93195" defTabSz="53634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449161" indent="-77980" defTabSz="53634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17" lvl="1" indent="0">
              <a:buNone/>
            </a:pPr>
            <a:r>
              <a:rPr lang="en-US" sz="2000" b="1" dirty="0" smtClean="0">
                <a:solidFill>
                  <a:srgbClr val="27AAE2"/>
                </a:solidFill>
                <a:ea typeface="Arial Unicode MS"/>
                <a:cs typeface="Arial Unicode MS"/>
              </a:rPr>
              <a:t>3.  Prepare your pitch.  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ea typeface="Arial Unicode MS"/>
                <a:cs typeface="Arial Unicode MS"/>
              </a:rPr>
              <a:t>Refine and condense the essential elements of your solution for a 90-second pitch to the group</a:t>
            </a:r>
            <a:endParaRPr lang="en-US" sz="2000" dirty="0">
              <a:solidFill>
                <a:schemeClr val="bg1">
                  <a:lumMod val="50000"/>
                </a:schemeClr>
              </a:solidFill>
              <a:ea typeface="Arial Unicode MS"/>
              <a:cs typeface="Arial Unicode MS"/>
            </a:endParaRPr>
          </a:p>
        </p:txBody>
      </p:sp>
      <p:grpSp>
        <p:nvGrpSpPr>
          <p:cNvPr id="3" name="Group 3"/>
          <p:cNvGrpSpPr/>
          <p:nvPr/>
        </p:nvGrpSpPr>
        <p:grpSpPr bwMode="gray">
          <a:xfrm>
            <a:off x="1326450" y="2301599"/>
            <a:ext cx="729566" cy="669678"/>
            <a:chOff x="1299967" y="2109398"/>
            <a:chExt cx="715000" cy="656346"/>
          </a:xfrm>
        </p:grpSpPr>
        <p:sp>
          <p:nvSpPr>
            <p:cNvPr id="28" name="Rounded Rectangle 27"/>
            <p:cNvSpPr>
              <a:spLocks/>
            </p:cNvSpPr>
            <p:nvPr/>
          </p:nvSpPr>
          <p:spPr bwMode="gray">
            <a:xfrm>
              <a:off x="1299967" y="2109398"/>
              <a:ext cx="715000" cy="65634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400" b="1" baseline="30000" dirty="0" smtClean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gray">
            <a:xfrm>
              <a:off x="1319768" y="2168572"/>
              <a:ext cx="675397" cy="515089"/>
            </a:xfrm>
            <a:prstGeom prst="rect">
              <a:avLst/>
            </a:prstGeom>
          </p:spPr>
        </p:pic>
      </p:grpSp>
      <p:grpSp>
        <p:nvGrpSpPr>
          <p:cNvPr id="4" name="Group 6"/>
          <p:cNvGrpSpPr/>
          <p:nvPr/>
        </p:nvGrpSpPr>
        <p:grpSpPr bwMode="gray">
          <a:xfrm>
            <a:off x="3666108" y="2302014"/>
            <a:ext cx="729566" cy="669678"/>
            <a:chOff x="3577820" y="2109805"/>
            <a:chExt cx="715000" cy="656346"/>
          </a:xfrm>
        </p:grpSpPr>
        <p:sp>
          <p:nvSpPr>
            <p:cNvPr id="18" name="Rounded Rectangle 17"/>
            <p:cNvSpPr/>
            <p:nvPr/>
          </p:nvSpPr>
          <p:spPr bwMode="gray">
            <a:xfrm>
              <a:off x="3577820" y="2109805"/>
              <a:ext cx="715000" cy="65634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 baseline="30000" dirty="0" smtClean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gray">
            <a:xfrm>
              <a:off x="3766709" y="2226735"/>
              <a:ext cx="322924" cy="3263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no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4500" b="1" dirty="0" smtClean="0">
                  <a:solidFill>
                    <a:srgbClr val="FF0000"/>
                  </a:solidFill>
                  <a:latin typeface="+mn-lt"/>
                </a:rPr>
                <a:t>^</a:t>
              </a:r>
              <a:endParaRPr lang="en-US" sz="4500" b="1" dirty="0">
                <a:solidFill>
                  <a:srgbClr val="FF0000"/>
                </a:solidFill>
                <a:latin typeface="+mn-lt"/>
              </a:endParaRPr>
            </a:p>
          </p:txBody>
        </p:sp>
      </p:grpSp>
      <p:grpSp>
        <p:nvGrpSpPr>
          <p:cNvPr id="5" name="Group 7"/>
          <p:cNvGrpSpPr/>
          <p:nvPr/>
        </p:nvGrpSpPr>
        <p:grpSpPr bwMode="gray">
          <a:xfrm>
            <a:off x="4835937" y="2287960"/>
            <a:ext cx="729566" cy="669678"/>
            <a:chOff x="4733808" y="2096031"/>
            <a:chExt cx="715000" cy="656346"/>
          </a:xfrm>
        </p:grpSpPr>
        <p:sp>
          <p:nvSpPr>
            <p:cNvPr id="21" name="Rounded Rectangle 20"/>
            <p:cNvSpPr/>
            <p:nvPr/>
          </p:nvSpPr>
          <p:spPr bwMode="gray">
            <a:xfrm>
              <a:off x="4733808" y="2096031"/>
              <a:ext cx="715000" cy="65634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 baseline="30000" dirty="0" smtClean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gray">
            <a:xfrm>
              <a:off x="4945225" y="2222786"/>
              <a:ext cx="322924" cy="3263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algn="ctr" defTabSz="913526">
                <a:buClr>
                  <a:schemeClr val="tx2"/>
                </a:buClr>
              </a:pPr>
              <a:r>
                <a:rPr lang="en-US" sz="55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abic Typesetting" panose="03020402040406030203" pitchFamily="66" charset="-78"/>
                  <a:cs typeface="Arabic Typesetting" panose="03020402040406030203" pitchFamily="66" charset="-78"/>
                </a:rPr>
                <a:t>i</a:t>
              </a:r>
              <a:r>
                <a:rPr lang="en-US" sz="5500" b="1" baseline="-250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abic Typesetting" panose="03020402040406030203" pitchFamily="66" charset="-78"/>
                  <a:cs typeface="Arabic Typesetting" panose="03020402040406030203" pitchFamily="66" charset="-78"/>
                </a:rPr>
                <a:t>c</a:t>
              </a:r>
              <a:endParaRPr lang="en-US" sz="5500" b="1" baseline="-25000" dirty="0">
                <a:solidFill>
                  <a:schemeClr val="tx1">
                    <a:lumMod val="50000"/>
                    <a:lumOff val="50000"/>
                  </a:schemeClr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endParaRPr>
            </a:p>
          </p:txBody>
        </p:sp>
      </p:grpSp>
      <p:sp>
        <p:nvSpPr>
          <p:cNvPr id="30" name="Rounded Rectangle 29"/>
          <p:cNvSpPr/>
          <p:nvPr/>
        </p:nvSpPr>
        <p:spPr bwMode="gray">
          <a:xfrm>
            <a:off x="6005765" y="2287960"/>
            <a:ext cx="747502" cy="66967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?</a:t>
            </a:r>
          </a:p>
        </p:txBody>
      </p:sp>
      <p:sp>
        <p:nvSpPr>
          <p:cNvPr id="31" name="Rounded Rectangle 30"/>
          <p:cNvSpPr/>
          <p:nvPr/>
        </p:nvSpPr>
        <p:spPr bwMode="gray">
          <a:xfrm>
            <a:off x="7193530" y="2308821"/>
            <a:ext cx="735571" cy="66967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?</a:t>
            </a:r>
          </a:p>
        </p:txBody>
      </p:sp>
      <p:sp>
        <p:nvSpPr>
          <p:cNvPr id="51" name="Rectangle 17"/>
          <p:cNvSpPr txBox="1">
            <a:spLocks/>
          </p:cNvSpPr>
          <p:nvPr/>
        </p:nvSpPr>
        <p:spPr bwMode="gray">
          <a:xfrm>
            <a:off x="404469" y="5884804"/>
            <a:ext cx="8511132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536345" eaLnBrk="1" hangingPunct="1">
              <a:buClr>
                <a:schemeClr val="tx2"/>
              </a:buClr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16018" indent="-115068" defTabSz="53634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273878" indent="-156911" defTabSz="53634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368025" indent="-93195" defTabSz="53634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449161" indent="-77980" defTabSz="53634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17" lvl="1" indent="0">
              <a:buNone/>
            </a:pPr>
            <a:r>
              <a:rPr lang="en-US" sz="2000" b="1" dirty="0" smtClean="0">
                <a:solidFill>
                  <a:srgbClr val="27AAE2"/>
                </a:solidFill>
                <a:ea typeface="Arial Unicode MS"/>
                <a:cs typeface="Arial Unicode MS"/>
              </a:rPr>
              <a:t>Each group should have: 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ea typeface="Arial Unicode MS"/>
                <a:cs typeface="Arial Unicode MS"/>
              </a:rPr>
              <a:t>Easel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ea typeface="Arial Unicode MS"/>
                <a:cs typeface="Arial Unicode MS"/>
              </a:rPr>
              <a:t> 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ea typeface="Arial Unicode MS"/>
                <a:cs typeface="Arial Unicode MS"/>
              </a:rPr>
              <a:t>and a hardcopy of the materials</a:t>
            </a:r>
            <a:endParaRPr lang="en-US" sz="2000" dirty="0">
              <a:solidFill>
                <a:schemeClr val="bg1">
                  <a:lumMod val="50000"/>
                </a:schemeClr>
              </a:solidFill>
              <a:ea typeface="Arial Unicode MS"/>
              <a:cs typeface="Arial Unicode MS"/>
            </a:endParaRPr>
          </a:p>
        </p:txBody>
      </p:sp>
      <p:grpSp>
        <p:nvGrpSpPr>
          <p:cNvPr id="7" name="Group 2"/>
          <p:cNvGrpSpPr/>
          <p:nvPr/>
        </p:nvGrpSpPr>
        <p:grpSpPr bwMode="gray">
          <a:xfrm>
            <a:off x="2514754" y="2241865"/>
            <a:ext cx="729566" cy="854198"/>
            <a:chOff x="2571183" y="2050853"/>
            <a:chExt cx="715000" cy="837193"/>
          </a:xfrm>
        </p:grpSpPr>
        <p:sp>
          <p:nvSpPr>
            <p:cNvPr id="35" name="Rounded Rectangle 34"/>
            <p:cNvSpPr>
              <a:spLocks/>
            </p:cNvSpPr>
            <p:nvPr/>
          </p:nvSpPr>
          <p:spPr bwMode="gray">
            <a:xfrm>
              <a:off x="2571183" y="2109398"/>
              <a:ext cx="715000" cy="65634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400" b="1" baseline="30000" dirty="0" smtClean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gray">
            <a:xfrm>
              <a:off x="2671786" y="2183023"/>
              <a:ext cx="143843" cy="7050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noAutofit/>
            </a:bodyPr>
            <a:lstStyle/>
            <a:p>
              <a:pPr defTabSz="913526">
                <a:lnSpc>
                  <a:spcPts val="1326"/>
                </a:lnSpc>
                <a:buClr>
                  <a:schemeClr val="tx2"/>
                </a:buClr>
              </a:pPr>
              <a:r>
                <a:rPr lang="en-US" sz="1400" b="1" dirty="0" smtClean="0">
                  <a:latin typeface="Georgia" pitchFamily="18" charset="0"/>
                </a:rPr>
                <a:t>A</a:t>
              </a:r>
            </a:p>
            <a:p>
              <a:pPr defTabSz="913526">
                <a:lnSpc>
                  <a:spcPts val="1326"/>
                </a:lnSpc>
                <a:buClr>
                  <a:schemeClr val="tx2"/>
                </a:buClr>
              </a:pPr>
              <a:r>
                <a:rPr lang="en-US" sz="1400" b="1" dirty="0" smtClean="0">
                  <a:latin typeface="Georgia" pitchFamily="18" charset="0"/>
                </a:rPr>
                <a:t>CR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2822430" y="2050853"/>
              <a:ext cx="379665" cy="7970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no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4900" b="1" dirty="0" smtClean="0">
                  <a:solidFill>
                    <a:srgbClr val="008000"/>
                  </a:solidFill>
                  <a:latin typeface="Georgia" pitchFamily="18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E</a:t>
              </a:r>
            </a:p>
          </p:txBody>
        </p:sp>
      </p:grpSp>
      <p:sp>
        <p:nvSpPr>
          <p:cNvPr id="52" name="Oval 51"/>
          <p:cNvSpPr/>
          <p:nvPr/>
        </p:nvSpPr>
        <p:spPr bwMode="gray">
          <a:xfrm>
            <a:off x="1149958" y="2072683"/>
            <a:ext cx="346583" cy="349073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3" name="Oval 52"/>
          <p:cNvSpPr/>
          <p:nvPr/>
        </p:nvSpPr>
        <p:spPr bwMode="gray">
          <a:xfrm>
            <a:off x="2317629" y="2072683"/>
            <a:ext cx="346583" cy="349073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4" name="Oval 53"/>
          <p:cNvSpPr/>
          <p:nvPr/>
        </p:nvSpPr>
        <p:spPr bwMode="gray">
          <a:xfrm>
            <a:off x="3485300" y="2072683"/>
            <a:ext cx="346583" cy="349073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5" name="Oval 54"/>
          <p:cNvSpPr/>
          <p:nvPr/>
        </p:nvSpPr>
        <p:spPr bwMode="gray">
          <a:xfrm>
            <a:off x="4652971" y="2072683"/>
            <a:ext cx="346583" cy="349073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Oval 55"/>
          <p:cNvSpPr/>
          <p:nvPr/>
        </p:nvSpPr>
        <p:spPr bwMode="gray">
          <a:xfrm>
            <a:off x="5820642" y="2072683"/>
            <a:ext cx="346583" cy="349073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Oval 56"/>
          <p:cNvSpPr/>
          <p:nvPr/>
        </p:nvSpPr>
        <p:spPr bwMode="gray">
          <a:xfrm>
            <a:off x="6988314" y="2072683"/>
            <a:ext cx="346583" cy="349073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4" name="Rectangle 17"/>
          <p:cNvSpPr txBox="1">
            <a:spLocks/>
          </p:cNvSpPr>
          <p:nvPr/>
        </p:nvSpPr>
        <p:spPr>
          <a:xfrm>
            <a:off x="404470" y="819012"/>
            <a:ext cx="736612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536345" eaLnBrk="1" hangingPunct="1">
              <a:buClr>
                <a:schemeClr val="tx2"/>
              </a:buClr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16018" indent="-115068" defTabSz="53634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273878" indent="-156911" defTabSz="53634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368025" indent="-93195" defTabSz="53634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449161" indent="-77980" defTabSz="53634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17" lvl="1" indent="0">
              <a:buNone/>
            </a:pPr>
            <a:r>
              <a:rPr lang="en-US" sz="2900" b="1" dirty="0" smtClean="0">
                <a:solidFill>
                  <a:schemeClr val="accent2"/>
                </a:solidFill>
                <a:ea typeface="Arial Unicode MS"/>
                <a:cs typeface="Arial Unicode MS"/>
              </a:rPr>
              <a:t>STEP</a:t>
            </a:r>
            <a:endParaRPr lang="en-US" sz="2900" dirty="0">
              <a:solidFill>
                <a:schemeClr val="accent2"/>
              </a:solidFill>
              <a:ea typeface="Arial Unicode MS"/>
              <a:cs typeface="Arial Unicode MS"/>
            </a:endParaRPr>
          </a:p>
        </p:txBody>
      </p:sp>
      <p:sp>
        <p:nvSpPr>
          <p:cNvPr id="38" name="Rectangle 17"/>
          <p:cNvSpPr txBox="1">
            <a:spLocks/>
          </p:cNvSpPr>
          <p:nvPr/>
        </p:nvSpPr>
        <p:spPr>
          <a:xfrm>
            <a:off x="404469" y="5347587"/>
            <a:ext cx="1012393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536345" eaLnBrk="1" hangingPunct="1">
              <a:buClr>
                <a:schemeClr val="tx2"/>
              </a:buClr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16018" indent="-115068" defTabSz="53634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273878" indent="-156911" defTabSz="53634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368025" indent="-93195" defTabSz="53634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449161" indent="-77980" defTabSz="53634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8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449161" indent="-77980" defTabSz="5363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17" lvl="1" indent="0">
              <a:buNone/>
            </a:pPr>
            <a:r>
              <a:rPr lang="en-US" sz="2900" b="1" dirty="0" smtClean="0">
                <a:solidFill>
                  <a:schemeClr val="accent2"/>
                </a:solidFill>
                <a:ea typeface="Arial Unicode MS"/>
                <a:cs typeface="Arial Unicode MS"/>
              </a:rPr>
              <a:t>TOOLS</a:t>
            </a:r>
            <a:endParaRPr lang="en-US" sz="2900" dirty="0">
              <a:solidFill>
                <a:schemeClr val="accent2"/>
              </a:solidFill>
              <a:ea typeface="Arial Unicode MS"/>
              <a:cs typeface="Arial Unicode MS"/>
            </a:endParaRPr>
          </a:p>
        </p:txBody>
      </p:sp>
    </p:spTree>
    <p:extLst>
      <p:ext uri="{BB962C8B-B14F-4D97-AF65-F5344CB8AC3E}">
        <p14:creationId xmlns:p14="http://schemas.microsoft.com/office/powerpoint/2010/main" val="3944206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817474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21489" y="234864"/>
            <a:ext cx="8794113" cy="314028"/>
          </a:xfrm>
        </p:spPr>
        <p:txBody>
          <a:bodyPr/>
          <a:lstStyle/>
          <a:p>
            <a:r>
              <a:rPr lang="en-US" dirty="0" smtClean="0"/>
              <a:t>Common threads and a set of corresponding questions to think through</a:t>
            </a:r>
            <a:endParaRPr lang="en-US" dirty="0"/>
          </a:p>
        </p:txBody>
      </p:sp>
      <p:sp>
        <p:nvSpPr>
          <p:cNvPr id="20" name="McK 1. On-page tracker"/>
          <p:cNvSpPr>
            <a:spLocks noChangeArrowheads="1"/>
          </p:cNvSpPr>
          <p:nvPr/>
        </p:nvSpPr>
        <p:spPr bwMode="gray">
          <a:xfrm>
            <a:off x="121489" y="27537"/>
            <a:ext cx="209025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noProof="0" dirty="0" smtClean="0">
                <a:solidFill>
                  <a:srgbClr val="808080"/>
                </a:solidFill>
                <a:latin typeface="Arial Narrow" pitchFamily="34" charset="0"/>
                <a:ea typeface="+mj-ea"/>
              </a:rPr>
              <a:t>BREAKOUT GUIDANCE</a:t>
            </a:r>
            <a:endParaRPr lang="en-US" b="1" baseline="0" noProof="0" dirty="0">
              <a:solidFill>
                <a:srgbClr val="FF0000"/>
              </a:solidFill>
              <a:latin typeface="Arial Narrow" pitchFamily="34" charset="0"/>
              <a:ea typeface="+mj-ea"/>
            </a:endParaRPr>
          </a:p>
        </p:txBody>
      </p:sp>
      <p:sp>
        <p:nvSpPr>
          <p:cNvPr id="7" name="Rectangle 6174"/>
          <p:cNvSpPr txBox="1"/>
          <p:nvPr/>
        </p:nvSpPr>
        <p:spPr bwMode="gray">
          <a:xfrm>
            <a:off x="121489" y="578248"/>
            <a:ext cx="4200340" cy="5150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91551" indent="-291551">
              <a:spcBef>
                <a:spcPts val="1428"/>
              </a:spcBef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rgbClr val="27AAE2"/>
                </a:solidFill>
              </a:rPr>
              <a:t>A positive business case:  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a   simple and clear economic or personal motivation for all actors required to participate</a:t>
            </a:r>
          </a:p>
          <a:p>
            <a:pPr marL="291551" indent="-291551">
              <a:spcBef>
                <a:spcPts val="1428"/>
              </a:spcBef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rgbClr val="27AAE2"/>
                </a:solidFill>
              </a:rPr>
              <a:t>IP protection:  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systems that guard proprietary data, and inspire confidence in the impacted parties</a:t>
            </a:r>
          </a:p>
          <a:p>
            <a:pPr marL="291551" indent="-291551">
              <a:spcBef>
                <a:spcPts val="1428"/>
              </a:spcBef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rgbClr val="27AAE2"/>
                </a:solidFill>
              </a:rPr>
              <a:t>A catalytic actor:  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stakeholder  willing to test and drive adoption,  with enough influence to motivate    all necessary users</a:t>
            </a:r>
          </a:p>
          <a:p>
            <a:pPr marL="291551" indent="-291551">
              <a:spcBef>
                <a:spcPts val="1428"/>
              </a:spcBef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rgbClr val="27AAE2"/>
                </a:solidFill>
              </a:rPr>
              <a:t>Collaboration:  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overarching</a:t>
            </a:r>
            <a:r>
              <a:rPr lang="en-US" b="1" dirty="0" smtClean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“common goal” motivation for participants, coupled to long-term value capture/creation</a:t>
            </a:r>
          </a:p>
          <a:p>
            <a:pPr marL="291551" indent="-291551">
              <a:spcBef>
                <a:spcPts val="1428"/>
              </a:spcBef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rgbClr val="27AAE2"/>
                </a:solidFill>
              </a:rPr>
              <a:t>Game-ification:  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leveraging peer competition wherever possible, with   public leaderboards and recognition</a:t>
            </a:r>
          </a:p>
        </p:txBody>
      </p:sp>
      <p:sp>
        <p:nvSpPr>
          <p:cNvPr id="4" name="Rectangular Callout 3"/>
          <p:cNvSpPr/>
          <p:nvPr/>
        </p:nvSpPr>
        <p:spPr bwMode="gray">
          <a:xfrm>
            <a:off x="4525374" y="640310"/>
            <a:ext cx="4479368" cy="1026270"/>
          </a:xfrm>
          <a:prstGeom prst="wedgeRectCallout">
            <a:avLst>
              <a:gd name="adj1" fmla="val -58717"/>
              <a:gd name="adj2" fmla="val -7271"/>
            </a:avLst>
          </a:prstGeom>
          <a:solidFill>
            <a:srgbClr val="6E92A8"/>
          </a:solidFill>
          <a:ln w="9525">
            <a:solidFill>
              <a:srgbClr val="6E92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marL="186592" indent="-186592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Who are the main </a:t>
            </a:r>
            <a:r>
              <a:rPr lang="en-US" dirty="0" smtClean="0">
                <a:solidFill>
                  <a:schemeClr val="bg1"/>
                </a:solidFill>
              </a:rPr>
              <a:t>actors and what </a:t>
            </a:r>
            <a:r>
              <a:rPr lang="en-US" dirty="0">
                <a:solidFill>
                  <a:schemeClr val="bg1"/>
                </a:solidFill>
              </a:rPr>
              <a:t>are their incentives to use the app?</a:t>
            </a:r>
          </a:p>
          <a:p>
            <a:pPr marL="186592" indent="-186592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What is the </a:t>
            </a:r>
            <a:r>
              <a:rPr lang="en-US" dirty="0" smtClean="0">
                <a:solidFill>
                  <a:schemeClr val="bg1"/>
                </a:solidFill>
              </a:rPr>
              <a:t>revenue model?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6" name="Rectangular Callout 15"/>
          <p:cNvSpPr/>
          <p:nvPr/>
        </p:nvSpPr>
        <p:spPr bwMode="gray">
          <a:xfrm>
            <a:off x="4526207" y="1806762"/>
            <a:ext cx="4478535" cy="1026270"/>
          </a:xfrm>
          <a:prstGeom prst="wedgeRectCallout">
            <a:avLst>
              <a:gd name="adj1" fmla="val -58717"/>
              <a:gd name="adj2" fmla="val -7271"/>
            </a:avLst>
          </a:prstGeom>
          <a:solidFill>
            <a:srgbClr val="E4CA01"/>
          </a:solidFill>
          <a:ln w="9525">
            <a:solidFill>
              <a:srgbClr val="E4CA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marL="186592" indent="-186592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What proprietary or sensitive information is needed?  </a:t>
            </a:r>
          </a:p>
          <a:p>
            <a:pPr marL="186592" indent="-186592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How will </a:t>
            </a:r>
            <a:r>
              <a:rPr lang="en-US" dirty="0" smtClean="0">
                <a:solidFill>
                  <a:schemeClr val="bg1"/>
                </a:solidFill>
              </a:rPr>
              <a:t>it be </a:t>
            </a:r>
            <a:r>
              <a:rPr lang="en-US" dirty="0">
                <a:solidFill>
                  <a:schemeClr val="bg1"/>
                </a:solidFill>
              </a:rPr>
              <a:t>protected/anonymized?</a:t>
            </a:r>
          </a:p>
        </p:txBody>
      </p:sp>
      <p:sp>
        <p:nvSpPr>
          <p:cNvPr id="17" name="Rectangular Callout 16"/>
          <p:cNvSpPr/>
          <p:nvPr/>
        </p:nvSpPr>
        <p:spPr bwMode="gray">
          <a:xfrm>
            <a:off x="4525374" y="2973214"/>
            <a:ext cx="4479368" cy="1026270"/>
          </a:xfrm>
          <a:prstGeom prst="wedgeRectCallout">
            <a:avLst>
              <a:gd name="adj1" fmla="val -58717"/>
              <a:gd name="adj2" fmla="val -7271"/>
            </a:avLst>
          </a:prstGeom>
          <a:solidFill>
            <a:srgbClr val="ACC231"/>
          </a:solidFill>
          <a:ln w="9525">
            <a:solidFill>
              <a:srgbClr val="ACC2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marL="186592" indent="-186592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How would the app get off the ground?</a:t>
            </a:r>
          </a:p>
          <a:p>
            <a:pPr marL="186592" indent="-186592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Who would push </a:t>
            </a:r>
            <a:r>
              <a:rPr lang="en-US" dirty="0" smtClean="0">
                <a:solidFill>
                  <a:schemeClr val="bg1"/>
                </a:solidFill>
              </a:rPr>
              <a:t>its </a:t>
            </a:r>
            <a:r>
              <a:rPr lang="en-US" dirty="0">
                <a:solidFill>
                  <a:schemeClr val="bg1"/>
                </a:solidFill>
              </a:rPr>
              <a:t>adoption and how would they </a:t>
            </a:r>
            <a:r>
              <a:rPr lang="en-US" dirty="0" smtClean="0">
                <a:solidFill>
                  <a:schemeClr val="bg1"/>
                </a:solidFill>
              </a:rPr>
              <a:t>engage </a:t>
            </a:r>
            <a:r>
              <a:rPr lang="en-US" dirty="0">
                <a:solidFill>
                  <a:schemeClr val="bg1"/>
                </a:solidFill>
              </a:rPr>
              <a:t>the critical users?</a:t>
            </a:r>
          </a:p>
        </p:txBody>
      </p:sp>
      <p:sp>
        <p:nvSpPr>
          <p:cNvPr id="18" name="Rectangular Callout 17"/>
          <p:cNvSpPr/>
          <p:nvPr/>
        </p:nvSpPr>
        <p:spPr bwMode="gray">
          <a:xfrm>
            <a:off x="4526207" y="4139666"/>
            <a:ext cx="4478535" cy="1026270"/>
          </a:xfrm>
          <a:prstGeom prst="wedgeRectCallout">
            <a:avLst>
              <a:gd name="adj1" fmla="val -58717"/>
              <a:gd name="adj2" fmla="val -7271"/>
            </a:avLst>
          </a:prstGeom>
          <a:solidFill>
            <a:srgbClr val="27AAE2"/>
          </a:solidFill>
          <a:ln w="9525">
            <a:solidFill>
              <a:srgbClr val="27AA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marL="186592" indent="-186592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What is the common goal?</a:t>
            </a:r>
          </a:p>
          <a:p>
            <a:pPr marL="186592" indent="-186592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What elements are built into the system to remind users of the greater goal? </a:t>
            </a:r>
          </a:p>
        </p:txBody>
      </p:sp>
      <p:sp>
        <p:nvSpPr>
          <p:cNvPr id="19" name="Rectangular Callout 18"/>
          <p:cNvSpPr/>
          <p:nvPr/>
        </p:nvSpPr>
        <p:spPr bwMode="gray">
          <a:xfrm>
            <a:off x="4513252" y="5306118"/>
            <a:ext cx="4491490" cy="1026270"/>
          </a:xfrm>
          <a:prstGeom prst="wedgeRectCallout">
            <a:avLst>
              <a:gd name="adj1" fmla="val -58717"/>
              <a:gd name="adj2" fmla="val -7271"/>
            </a:avLst>
          </a:prstGeom>
          <a:solidFill>
            <a:schemeClr val="bg2">
              <a:lumMod val="75000"/>
            </a:schemeClr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0" bIns="46648" rtlCol="0" anchor="ctr"/>
          <a:lstStyle/>
          <a:p>
            <a:pPr marL="186592" indent="-186592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How can </a:t>
            </a:r>
            <a:r>
              <a:rPr lang="en-US" dirty="0" smtClean="0">
                <a:solidFill>
                  <a:schemeClr val="bg1"/>
                </a:solidFill>
              </a:rPr>
              <a:t>peer pressure be leveraged?  </a:t>
            </a:r>
            <a:endParaRPr lang="en-US" dirty="0">
              <a:solidFill>
                <a:schemeClr val="bg1"/>
              </a:solidFill>
            </a:endParaRPr>
          </a:p>
          <a:p>
            <a:pPr marL="186592" indent="-186592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What information would you make available to the greater network? </a:t>
            </a:r>
          </a:p>
        </p:txBody>
      </p:sp>
    </p:spTree>
    <p:extLst>
      <p:ext uri="{BB962C8B-B14F-4D97-AF65-F5344CB8AC3E}">
        <p14:creationId xmlns:p14="http://schemas.microsoft.com/office/powerpoint/2010/main" val="3693962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9" name="Picture 8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6317378" y="0"/>
            <a:ext cx="2826622" cy="2258789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6628735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21489" y="234863"/>
            <a:ext cx="8794113" cy="298327"/>
          </a:xfrm>
        </p:spPr>
        <p:txBody>
          <a:bodyPr/>
          <a:lstStyle/>
          <a:p>
            <a:r>
              <a:rPr lang="en-US" dirty="0" smtClean="0"/>
              <a:t>Let’s pick a winner…</a:t>
            </a:r>
            <a:endParaRPr lang="en-US" dirty="0"/>
          </a:p>
        </p:txBody>
      </p:sp>
      <p:sp>
        <p:nvSpPr>
          <p:cNvPr id="20" name="McK 1. On-page tracker"/>
          <p:cNvSpPr>
            <a:spLocks noChangeArrowheads="1"/>
          </p:cNvSpPr>
          <p:nvPr/>
        </p:nvSpPr>
        <p:spPr bwMode="gray">
          <a:xfrm>
            <a:off x="121489" y="27537"/>
            <a:ext cx="72616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noProof="0" dirty="0" smtClean="0">
                <a:solidFill>
                  <a:srgbClr val="808080"/>
                </a:solidFill>
                <a:latin typeface="Arial Narrow" pitchFamily="34" charset="0"/>
                <a:ea typeface="+mj-ea"/>
              </a:rPr>
              <a:t>VOTING</a:t>
            </a:r>
            <a:endParaRPr lang="en-US" b="1" baseline="0" noProof="0" dirty="0">
              <a:solidFill>
                <a:srgbClr val="FF0000"/>
              </a:solidFill>
              <a:latin typeface="Arial Narrow" pitchFamily="34" charset="0"/>
              <a:ea typeface="+mj-ea"/>
            </a:endParaRPr>
          </a:p>
        </p:txBody>
      </p:sp>
      <p:grpSp>
        <p:nvGrpSpPr>
          <p:cNvPr id="3" name="Group 81"/>
          <p:cNvGrpSpPr/>
          <p:nvPr/>
        </p:nvGrpSpPr>
        <p:grpSpPr bwMode="gray">
          <a:xfrm>
            <a:off x="587527" y="2077286"/>
            <a:ext cx="2072022" cy="1817890"/>
            <a:chOff x="792019" y="1405208"/>
            <a:chExt cx="2030654" cy="1781701"/>
          </a:xfrm>
        </p:grpSpPr>
        <p:grpSp>
          <p:nvGrpSpPr>
            <p:cNvPr id="4" name="Group 4"/>
            <p:cNvGrpSpPr/>
            <p:nvPr/>
          </p:nvGrpSpPr>
          <p:grpSpPr bwMode="gray">
            <a:xfrm>
              <a:off x="1218485" y="1729158"/>
              <a:ext cx="1604188" cy="1457751"/>
              <a:chOff x="1218485" y="1892112"/>
              <a:chExt cx="1604188" cy="1457751"/>
            </a:xfrm>
          </p:grpSpPr>
          <p:sp>
            <p:nvSpPr>
              <p:cNvPr id="31" name="Rounded Rectangle 30"/>
              <p:cNvSpPr>
                <a:spLocks/>
              </p:cNvSpPr>
              <p:nvPr/>
            </p:nvSpPr>
            <p:spPr bwMode="gray">
              <a:xfrm>
                <a:off x="1218485" y="1892112"/>
                <a:ext cx="1604188" cy="1457751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>
                    <a:lumMod val="65000"/>
                  </a:schemeClr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2400" b="1" baseline="300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pic>
            <p:nvPicPr>
              <p:cNvPr id="32" name="Picture 31"/>
              <p:cNvPicPr>
                <a:picLocks noChangeAspect="1"/>
              </p:cNvPicPr>
              <p:nvPr/>
            </p:nvPicPr>
            <p:blipFill>
              <a:blip r:embed="rId8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 bwMode="gray">
              <a:xfrm>
                <a:off x="1262911" y="2023538"/>
                <a:ext cx="1515334" cy="1144018"/>
              </a:xfrm>
              <a:prstGeom prst="rect">
                <a:avLst/>
              </a:prstGeom>
            </p:spPr>
          </p:pic>
        </p:grpSp>
        <p:sp>
          <p:nvSpPr>
            <p:cNvPr id="21" name="Oval 20"/>
            <p:cNvSpPr/>
            <p:nvPr/>
          </p:nvSpPr>
          <p:spPr bwMode="gray">
            <a:xfrm>
              <a:off x="792019" y="1405208"/>
              <a:ext cx="640080" cy="64008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2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1</a:t>
              </a:r>
              <a:endParaRPr lang="en-US" sz="2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5" name="Group 82"/>
          <p:cNvGrpSpPr/>
          <p:nvPr/>
        </p:nvGrpSpPr>
        <p:grpSpPr bwMode="gray">
          <a:xfrm>
            <a:off x="3267403" y="2077285"/>
            <a:ext cx="2082868" cy="1825530"/>
            <a:chOff x="3462780" y="1405208"/>
            <a:chExt cx="2041283" cy="1789188"/>
          </a:xfrm>
        </p:grpSpPr>
        <p:grpSp>
          <p:nvGrpSpPr>
            <p:cNvPr id="9" name="Group 3"/>
            <p:cNvGrpSpPr/>
            <p:nvPr/>
          </p:nvGrpSpPr>
          <p:grpSpPr bwMode="gray">
            <a:xfrm>
              <a:off x="3899875" y="1729158"/>
              <a:ext cx="1604188" cy="1465238"/>
              <a:chOff x="3478535" y="1942199"/>
              <a:chExt cx="1604188" cy="1465238"/>
            </a:xfrm>
          </p:grpSpPr>
          <p:sp>
            <p:nvSpPr>
              <p:cNvPr id="52" name="Rounded Rectangle 51"/>
              <p:cNvSpPr>
                <a:spLocks/>
              </p:cNvSpPr>
              <p:nvPr/>
            </p:nvSpPr>
            <p:spPr bwMode="gray">
              <a:xfrm>
                <a:off x="3478535" y="1949686"/>
                <a:ext cx="1604188" cy="1457751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>
                    <a:lumMod val="65000"/>
                  </a:schemeClr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2400" b="1" baseline="300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53" name="Legend2"/>
              <p:cNvSpPr>
                <a:spLocks noChangeArrowheads="1"/>
              </p:cNvSpPr>
              <p:nvPr/>
            </p:nvSpPr>
            <p:spPr bwMode="gray">
              <a:xfrm>
                <a:off x="3819500" y="2187265"/>
                <a:ext cx="322729" cy="92333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t">
                <a:spAutoFit/>
              </a:bodyPr>
              <a:lstStyle/>
              <a:p>
                <a:pPr defTabSz="913526">
                  <a:buClr>
                    <a:schemeClr val="tx2"/>
                  </a:buClr>
                </a:pPr>
                <a:r>
                  <a:rPr lang="en-US" sz="2000" b="1" dirty="0" smtClean="0">
                    <a:latin typeface="Georgia" pitchFamily="18" charset="0"/>
                  </a:rPr>
                  <a:t>A</a:t>
                </a:r>
              </a:p>
              <a:p>
                <a:pPr defTabSz="913526">
                  <a:buClr>
                    <a:schemeClr val="tx2"/>
                  </a:buClr>
                </a:pPr>
                <a:r>
                  <a:rPr lang="en-US" sz="2000" b="1" dirty="0" smtClean="0">
                    <a:latin typeface="Georgia" pitchFamily="18" charset="0"/>
                  </a:rPr>
                  <a:t>CR</a:t>
                </a:r>
              </a:p>
            </p:txBody>
          </p:sp>
          <p:sp>
            <p:nvSpPr>
              <p:cNvPr id="54" name="Legend2"/>
              <p:cNvSpPr>
                <a:spLocks noChangeArrowheads="1"/>
              </p:cNvSpPr>
              <p:nvPr/>
            </p:nvSpPr>
            <p:spPr bwMode="gray">
              <a:xfrm>
                <a:off x="4037596" y="1942199"/>
                <a:ext cx="851824" cy="13849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t">
                <a:spAutoFit/>
              </a:bodyPr>
              <a:lstStyle/>
              <a:p>
                <a:pPr defTabSz="913526">
                  <a:buClr>
                    <a:schemeClr val="tx2"/>
                  </a:buClr>
                </a:pPr>
                <a:r>
                  <a:rPr lang="en-US" sz="9200" b="1" dirty="0" smtClean="0">
                    <a:solidFill>
                      <a:srgbClr val="008000"/>
                    </a:solidFill>
                    <a:latin typeface="Georgia" pitchFamily="18" charset="0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E</a:t>
                </a:r>
              </a:p>
            </p:txBody>
          </p:sp>
        </p:grpSp>
        <p:sp>
          <p:nvSpPr>
            <p:cNvPr id="59" name="Oval 58"/>
            <p:cNvSpPr/>
            <p:nvPr/>
          </p:nvSpPr>
          <p:spPr bwMode="gray">
            <a:xfrm>
              <a:off x="3462780" y="1405208"/>
              <a:ext cx="640080" cy="64008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2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2</a:t>
              </a:r>
              <a:endParaRPr lang="en-US" sz="2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10" name="Group 83"/>
          <p:cNvGrpSpPr/>
          <p:nvPr/>
        </p:nvGrpSpPr>
        <p:grpSpPr bwMode="gray">
          <a:xfrm>
            <a:off x="6055984" y="2077286"/>
            <a:ext cx="2093714" cy="1817890"/>
            <a:chOff x="6133540" y="1405208"/>
            <a:chExt cx="2051913" cy="1781701"/>
          </a:xfrm>
        </p:grpSpPr>
        <p:grpSp>
          <p:nvGrpSpPr>
            <p:cNvPr id="11" name="Group 60"/>
            <p:cNvGrpSpPr/>
            <p:nvPr/>
          </p:nvGrpSpPr>
          <p:grpSpPr bwMode="gray">
            <a:xfrm>
              <a:off x="6581265" y="1729158"/>
              <a:ext cx="1604188" cy="1457751"/>
              <a:chOff x="6273466" y="1903246"/>
              <a:chExt cx="1604188" cy="1457751"/>
            </a:xfrm>
          </p:grpSpPr>
          <p:sp>
            <p:nvSpPr>
              <p:cNvPr id="7" name="Rounded Rectangle 6"/>
              <p:cNvSpPr/>
              <p:nvPr/>
            </p:nvSpPr>
            <p:spPr bwMode="gray">
              <a:xfrm>
                <a:off x="6273466" y="1903246"/>
                <a:ext cx="1604188" cy="1457751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>
                    <a:lumMod val="65000"/>
                  </a:schemeClr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b="1" baseline="300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8" name="Legend2"/>
              <p:cNvSpPr>
                <a:spLocks noChangeArrowheads="1"/>
              </p:cNvSpPr>
              <p:nvPr/>
            </p:nvSpPr>
            <p:spPr bwMode="gray">
              <a:xfrm>
                <a:off x="6751937" y="2244300"/>
                <a:ext cx="724519" cy="72472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t">
                <a:noAutofit/>
              </a:bodyPr>
              <a:lstStyle/>
              <a:p>
                <a:pPr defTabSz="913526">
                  <a:buClr>
                    <a:schemeClr val="tx2"/>
                  </a:buClr>
                </a:pPr>
                <a:r>
                  <a:rPr lang="en-US" sz="9000" b="1" dirty="0" smtClean="0">
                    <a:solidFill>
                      <a:srgbClr val="FF0000"/>
                    </a:solidFill>
                    <a:latin typeface="+mn-lt"/>
                  </a:rPr>
                  <a:t>^</a:t>
                </a:r>
                <a:endParaRPr lang="en-US" sz="9000" b="1" dirty="0">
                  <a:solidFill>
                    <a:srgbClr val="FF0000"/>
                  </a:solidFill>
                  <a:latin typeface="+mn-lt"/>
                </a:endParaRPr>
              </a:p>
            </p:txBody>
          </p:sp>
        </p:grpSp>
        <p:sp>
          <p:nvSpPr>
            <p:cNvPr id="60" name="Oval 59"/>
            <p:cNvSpPr/>
            <p:nvPr/>
          </p:nvSpPr>
          <p:spPr bwMode="gray">
            <a:xfrm>
              <a:off x="6133540" y="1405208"/>
              <a:ext cx="640080" cy="64008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2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3</a:t>
              </a:r>
              <a:endParaRPr lang="en-US" sz="2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12" name="Group 86"/>
          <p:cNvGrpSpPr/>
          <p:nvPr/>
        </p:nvGrpSpPr>
        <p:grpSpPr bwMode="gray">
          <a:xfrm>
            <a:off x="587527" y="4362865"/>
            <a:ext cx="2072022" cy="1660848"/>
            <a:chOff x="792019" y="4248004"/>
            <a:chExt cx="2030654" cy="1627785"/>
          </a:xfrm>
        </p:grpSpPr>
        <p:grpSp>
          <p:nvGrpSpPr>
            <p:cNvPr id="13" name="Group 80"/>
            <p:cNvGrpSpPr/>
            <p:nvPr/>
          </p:nvGrpSpPr>
          <p:grpSpPr bwMode="gray">
            <a:xfrm>
              <a:off x="1218485" y="4418038"/>
              <a:ext cx="1604188" cy="1457751"/>
              <a:chOff x="1218485" y="4418038"/>
              <a:chExt cx="1604188" cy="1457751"/>
            </a:xfrm>
          </p:grpSpPr>
          <p:sp>
            <p:nvSpPr>
              <p:cNvPr id="74" name="Rounded Rectangle 73"/>
              <p:cNvSpPr>
                <a:spLocks/>
              </p:cNvSpPr>
              <p:nvPr/>
            </p:nvSpPr>
            <p:spPr bwMode="gray">
              <a:xfrm>
                <a:off x="1218485" y="4418038"/>
                <a:ext cx="1604188" cy="1457751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>
                    <a:lumMod val="65000"/>
                  </a:schemeClr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2400" b="1" baseline="300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78" name="Legend2"/>
              <p:cNvSpPr>
                <a:spLocks noChangeArrowheads="1"/>
              </p:cNvSpPr>
              <p:nvPr/>
            </p:nvSpPr>
            <p:spPr bwMode="gray">
              <a:xfrm>
                <a:off x="1709662" y="4812082"/>
                <a:ext cx="712144" cy="71959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 algn="ctr" defTabSz="913526">
                  <a:buClr>
                    <a:schemeClr val="tx2"/>
                  </a:buClr>
                </a:pPr>
                <a:r>
                  <a:rPr lang="en-US" sz="10200" b="1" dirty="0" smtClean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abic Typesetting" panose="03020402040406030203" pitchFamily="66" charset="-78"/>
                    <a:cs typeface="Arabic Typesetting" panose="03020402040406030203" pitchFamily="66" charset="-78"/>
                  </a:rPr>
                  <a:t>i</a:t>
                </a:r>
                <a:r>
                  <a:rPr lang="en-US" sz="10200" b="1" baseline="-25000" dirty="0" smtClean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abic Typesetting" panose="03020402040406030203" pitchFamily="66" charset="-78"/>
                    <a:cs typeface="Arabic Typesetting" panose="03020402040406030203" pitchFamily="66" charset="-78"/>
                  </a:rPr>
                  <a:t>c</a:t>
                </a:r>
                <a:endParaRPr lang="en-US" sz="10200" b="1" baseline="-25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abic Typesetting" panose="03020402040406030203" pitchFamily="66" charset="-78"/>
                  <a:cs typeface="Arabic Typesetting" panose="03020402040406030203" pitchFamily="66" charset="-78"/>
                </a:endParaRPr>
              </a:p>
            </p:txBody>
          </p:sp>
        </p:grpSp>
        <p:sp>
          <p:nvSpPr>
            <p:cNvPr id="68" name="Oval 67"/>
            <p:cNvSpPr/>
            <p:nvPr/>
          </p:nvSpPr>
          <p:spPr bwMode="gray">
            <a:xfrm>
              <a:off x="792019" y="4248004"/>
              <a:ext cx="640080" cy="64008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2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4</a:t>
              </a:r>
              <a:endParaRPr lang="en-US" sz="2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14" name="Group 85"/>
          <p:cNvGrpSpPr/>
          <p:nvPr/>
        </p:nvGrpSpPr>
        <p:grpSpPr bwMode="gray">
          <a:xfrm>
            <a:off x="3267403" y="4362865"/>
            <a:ext cx="2082868" cy="1660848"/>
            <a:chOff x="3462780" y="4248004"/>
            <a:chExt cx="2041283" cy="1627785"/>
          </a:xfrm>
        </p:grpSpPr>
        <p:sp>
          <p:nvSpPr>
            <p:cNvPr id="79" name="Rounded Rectangle 78"/>
            <p:cNvSpPr>
              <a:spLocks/>
            </p:cNvSpPr>
            <p:nvPr/>
          </p:nvSpPr>
          <p:spPr bwMode="gray">
            <a:xfrm>
              <a:off x="3899875" y="4418038"/>
              <a:ext cx="1604188" cy="1457751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71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?</a:t>
              </a:r>
            </a:p>
          </p:txBody>
        </p:sp>
        <p:sp>
          <p:nvSpPr>
            <p:cNvPr id="69" name="Oval 68"/>
            <p:cNvSpPr/>
            <p:nvPr/>
          </p:nvSpPr>
          <p:spPr bwMode="gray">
            <a:xfrm>
              <a:off x="3462780" y="4248004"/>
              <a:ext cx="640080" cy="64008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2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5</a:t>
              </a:r>
              <a:endParaRPr lang="en-US" sz="2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15" name="Group 84"/>
          <p:cNvGrpSpPr/>
          <p:nvPr/>
        </p:nvGrpSpPr>
        <p:grpSpPr bwMode="gray">
          <a:xfrm>
            <a:off x="6055984" y="4362865"/>
            <a:ext cx="2093714" cy="1660848"/>
            <a:chOff x="6133540" y="4248004"/>
            <a:chExt cx="2051913" cy="1627785"/>
          </a:xfrm>
        </p:grpSpPr>
        <p:sp>
          <p:nvSpPr>
            <p:cNvPr id="80" name="Rounded Rectangle 79"/>
            <p:cNvSpPr>
              <a:spLocks/>
            </p:cNvSpPr>
            <p:nvPr/>
          </p:nvSpPr>
          <p:spPr bwMode="gray">
            <a:xfrm>
              <a:off x="6581265" y="4418038"/>
              <a:ext cx="1604188" cy="1457751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71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?</a:t>
              </a:r>
            </a:p>
          </p:txBody>
        </p:sp>
        <p:sp>
          <p:nvSpPr>
            <p:cNvPr id="70" name="Oval 69"/>
            <p:cNvSpPr/>
            <p:nvPr/>
          </p:nvSpPr>
          <p:spPr bwMode="gray">
            <a:xfrm>
              <a:off x="6133540" y="4248004"/>
              <a:ext cx="640080" cy="64008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2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6</a:t>
              </a:r>
              <a:endParaRPr lang="en-US" sz="2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1550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7762" name="Rectangle 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4876953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24" y="648"/>
            <a:ext cx="9143676" cy="6857352"/>
          </a:xfrm>
          <a:prstGeom prst="rect">
            <a:avLst/>
          </a:prstGeom>
        </p:spPr>
      </p:pic>
      <p:sp>
        <p:nvSpPr>
          <p:cNvPr id="13" name="Rectangular Callout 12"/>
          <p:cNvSpPr/>
          <p:nvPr/>
        </p:nvSpPr>
        <p:spPr bwMode="gray">
          <a:xfrm rot="20546917">
            <a:off x="4838586" y="5191971"/>
            <a:ext cx="1852183" cy="970233"/>
          </a:xfrm>
          <a:prstGeom prst="wedgeRectCallout">
            <a:avLst>
              <a:gd name="adj1" fmla="val -32954"/>
              <a:gd name="adj2" fmla="val 106944"/>
            </a:avLst>
          </a:prstGeom>
          <a:solidFill>
            <a:srgbClr val="6E92A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/>
          <p:nvPr/>
        </p:nvSpPr>
        <p:spPr bwMode="gray">
          <a:xfrm rot="20486523">
            <a:off x="2292803" y="3727010"/>
            <a:ext cx="2986611" cy="1955072"/>
          </a:xfrm>
          <a:prstGeom prst="rect">
            <a:avLst/>
          </a:prstGeom>
          <a:solidFill>
            <a:srgbClr val="27AAE2"/>
          </a:solidFill>
          <a:ln w="9525">
            <a:solidFill>
              <a:srgbClr val="27AA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271504" y="2578137"/>
            <a:ext cx="7872335" cy="533848"/>
          </a:xfrm>
        </p:spPr>
        <p:txBody>
          <a:bodyPr/>
          <a:lstStyle/>
          <a:p>
            <a:r>
              <a:rPr lang="en-US" sz="3500" dirty="0" smtClean="0"/>
              <a:t>App-ifying sustainability</a:t>
            </a:r>
            <a:endParaRPr lang="en-US" sz="3500" baseline="-25000" dirty="0"/>
          </a:p>
        </p:txBody>
      </p:sp>
      <p:sp>
        <p:nvSpPr>
          <p:cNvPr id="96" name="Rectangle 13"/>
          <p:cNvSpPr>
            <a:spLocks noChangeArrowheads="1"/>
          </p:cNvSpPr>
          <p:nvPr/>
        </p:nvSpPr>
        <p:spPr bwMode="gray">
          <a:xfrm rot="20491736">
            <a:off x="2231754" y="4398815"/>
            <a:ext cx="3152882" cy="5221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186592" tIns="93296" rIns="93296" bIns="46648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2000" dirty="0" smtClean="0">
                <a:solidFill>
                  <a:schemeClr val="bg1"/>
                </a:solidFill>
              </a:rPr>
              <a:t>Creating </a:t>
            </a:r>
            <a:r>
              <a:rPr lang="en-US" sz="2000" dirty="0">
                <a:solidFill>
                  <a:schemeClr val="bg1"/>
                </a:solidFill>
              </a:rPr>
              <a:t>an ecosystem of apps to drive </a:t>
            </a:r>
            <a:r>
              <a:rPr lang="en-US" sz="2000" dirty="0" smtClean="0">
                <a:solidFill>
                  <a:schemeClr val="bg1"/>
                </a:solidFill>
              </a:rPr>
              <a:t>sustain-ability </a:t>
            </a:r>
            <a:r>
              <a:rPr lang="en-US" sz="2000" dirty="0">
                <a:solidFill>
                  <a:schemeClr val="bg1"/>
                </a:solidFill>
              </a:rPr>
              <a:t>and resource productivity into core business and consumer decision making</a:t>
            </a:r>
          </a:p>
        </p:txBody>
      </p:sp>
      <p:sp>
        <p:nvSpPr>
          <p:cNvPr id="9" name="Rectangle 13"/>
          <p:cNvSpPr>
            <a:spLocks noChangeArrowheads="1"/>
          </p:cNvSpPr>
          <p:nvPr/>
        </p:nvSpPr>
        <p:spPr bwMode="gray">
          <a:xfrm rot="20491736">
            <a:off x="5173897" y="3926327"/>
            <a:ext cx="1717017" cy="5221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186592" tIns="93296" rIns="93296" bIns="46648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800" dirty="0" smtClean="0">
                <a:solidFill>
                  <a:schemeClr val="bg1"/>
                </a:solidFill>
              </a:rPr>
              <a:t>2014 Global </a:t>
            </a:r>
          </a:p>
          <a:p>
            <a:pPr>
              <a:buClr>
                <a:srgbClr val="002960"/>
              </a:buClr>
            </a:pPr>
            <a:r>
              <a:rPr lang="en-US" sz="1800" dirty="0" smtClean="0">
                <a:solidFill>
                  <a:schemeClr val="bg1"/>
                </a:solidFill>
              </a:rPr>
              <a:t>Sustainability</a:t>
            </a:r>
          </a:p>
          <a:p>
            <a:pPr>
              <a:buClr>
                <a:srgbClr val="002960"/>
              </a:buClr>
            </a:pPr>
            <a:r>
              <a:rPr lang="en-US" sz="1800" dirty="0" smtClean="0">
                <a:solidFill>
                  <a:schemeClr val="bg1"/>
                </a:solidFill>
              </a:rPr>
              <a:t>Summit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5" name="Isosceles Triangle 4"/>
          <p:cNvSpPr/>
          <p:nvPr/>
        </p:nvSpPr>
        <p:spPr bwMode="gray">
          <a:xfrm rot="9695166">
            <a:off x="6072249" y="4606248"/>
            <a:ext cx="634625" cy="964815"/>
          </a:xfrm>
          <a:prstGeom prst="triangle">
            <a:avLst>
              <a:gd name="adj" fmla="val 100000"/>
            </a:avLst>
          </a:prstGeom>
          <a:solidFill>
            <a:srgbClr val="ACC23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" name="Rectangular Callout 3"/>
          <p:cNvSpPr/>
          <p:nvPr/>
        </p:nvSpPr>
        <p:spPr bwMode="gray">
          <a:xfrm rot="20546917">
            <a:off x="4840030" y="5201328"/>
            <a:ext cx="1790119" cy="970233"/>
          </a:xfrm>
          <a:prstGeom prst="wedgeRectCallout">
            <a:avLst>
              <a:gd name="adj1" fmla="val -32954"/>
              <a:gd name="adj2" fmla="val 106944"/>
            </a:avLst>
          </a:prstGeom>
          <a:solidFill>
            <a:srgbClr val="6E92A8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0" name="Rectangle 13"/>
          <p:cNvSpPr>
            <a:spLocks noChangeArrowheads="1"/>
          </p:cNvSpPr>
          <p:nvPr/>
        </p:nvSpPr>
        <p:spPr bwMode="gray">
          <a:xfrm rot="20491736">
            <a:off x="4692063" y="5388413"/>
            <a:ext cx="1969446" cy="5221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186592" tIns="93296" rIns="93296" bIns="46648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800" dirty="0" smtClean="0">
                <a:solidFill>
                  <a:schemeClr val="bg1"/>
                </a:solidFill>
              </a:rPr>
              <a:t>Steven Swartz</a:t>
            </a:r>
          </a:p>
          <a:p>
            <a:pPr>
              <a:buClr>
                <a:srgbClr val="002960"/>
              </a:buClr>
            </a:pPr>
            <a:r>
              <a:rPr lang="en-US" sz="1800" dirty="0" smtClean="0">
                <a:solidFill>
                  <a:schemeClr val="bg1"/>
                </a:solidFill>
              </a:rPr>
              <a:t>McKinsey &amp; Company</a:t>
            </a:r>
            <a:endParaRPr lang="en-US" sz="18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22526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6628735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21489" y="234863"/>
            <a:ext cx="8794113" cy="298327"/>
          </a:xfrm>
        </p:spPr>
        <p:txBody>
          <a:bodyPr/>
          <a:lstStyle/>
          <a:p>
            <a:r>
              <a:rPr lang="en-US" dirty="0" smtClean="0"/>
              <a:t>For those interested, a chance  to help make a new app a reality</a:t>
            </a:r>
            <a:endParaRPr lang="en-US" dirty="0"/>
          </a:p>
        </p:txBody>
      </p:sp>
      <p:sp>
        <p:nvSpPr>
          <p:cNvPr id="20" name="McK 1. On-page tracker"/>
          <p:cNvSpPr>
            <a:spLocks noChangeArrowheads="1"/>
          </p:cNvSpPr>
          <p:nvPr/>
        </p:nvSpPr>
        <p:spPr bwMode="gray">
          <a:xfrm>
            <a:off x="121488" y="27537"/>
            <a:ext cx="117654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noProof="0" dirty="0" smtClean="0">
                <a:solidFill>
                  <a:srgbClr val="808080"/>
                </a:solidFill>
                <a:latin typeface="Arial Narrow" pitchFamily="34" charset="0"/>
                <a:ea typeface="+mj-ea"/>
              </a:rPr>
              <a:t>NEXT STEPS</a:t>
            </a:r>
            <a:endParaRPr lang="en-US" b="1" baseline="0" noProof="0" dirty="0">
              <a:solidFill>
                <a:srgbClr val="FF0000"/>
              </a:solidFill>
              <a:latin typeface="Arial Narrow" pitchFamily="34" charset="0"/>
              <a:ea typeface="+mj-ea"/>
            </a:endParaRPr>
          </a:p>
        </p:txBody>
      </p:sp>
      <p:sp>
        <p:nvSpPr>
          <p:cNvPr id="17" name="Rectangular Callout 16"/>
          <p:cNvSpPr/>
          <p:nvPr/>
        </p:nvSpPr>
        <p:spPr bwMode="gray">
          <a:xfrm>
            <a:off x="654059" y="855094"/>
            <a:ext cx="5729818" cy="1492757"/>
          </a:xfrm>
          <a:prstGeom prst="wedgeRectCallout">
            <a:avLst>
              <a:gd name="adj1" fmla="val -58717"/>
              <a:gd name="adj2" fmla="val -7271"/>
            </a:avLst>
          </a:prstGeom>
          <a:solidFill>
            <a:srgbClr val="6E92A8"/>
          </a:solidFill>
          <a:ln w="9525">
            <a:solidFill>
              <a:srgbClr val="6E92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>
              <a:spcBef>
                <a:spcPts val="0"/>
              </a:spcBef>
              <a:buClr>
                <a:schemeClr val="bg1"/>
              </a:buClr>
            </a:pPr>
            <a:r>
              <a:rPr lang="en-US" sz="2400" b="1" dirty="0" smtClean="0">
                <a:solidFill>
                  <a:schemeClr val="bg1"/>
                </a:solidFill>
              </a:rPr>
              <a:t>Signup to </a:t>
            </a:r>
            <a:r>
              <a:rPr lang="en-US" sz="2400" b="1" dirty="0">
                <a:solidFill>
                  <a:schemeClr val="bg1"/>
                </a:solidFill>
              </a:rPr>
              <a:t>join our working group for the new app</a:t>
            </a:r>
          </a:p>
        </p:txBody>
      </p:sp>
      <p:sp>
        <p:nvSpPr>
          <p:cNvPr id="23" name="Rectangular Callout 22"/>
          <p:cNvSpPr/>
          <p:nvPr/>
        </p:nvSpPr>
        <p:spPr bwMode="gray">
          <a:xfrm>
            <a:off x="2442801" y="2150280"/>
            <a:ext cx="6111920" cy="1492757"/>
          </a:xfrm>
          <a:prstGeom prst="wedgeRectCallout">
            <a:avLst>
              <a:gd name="adj1" fmla="val -58717"/>
              <a:gd name="adj2" fmla="val -7271"/>
            </a:avLst>
          </a:prstGeom>
          <a:solidFill>
            <a:srgbClr val="E4CA01"/>
          </a:solidFill>
          <a:ln w="9525">
            <a:solidFill>
              <a:srgbClr val="E4CA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>
              <a:spcBef>
                <a:spcPts val="0"/>
              </a:spcBef>
              <a:buClr>
                <a:schemeClr val="bg1"/>
              </a:buClr>
            </a:pPr>
            <a:r>
              <a:rPr lang="en-US" sz="2400" b="1" dirty="0" smtClean="0">
                <a:solidFill>
                  <a:schemeClr val="bg1"/>
                </a:solidFill>
              </a:rPr>
              <a:t>Participate in a monthly </a:t>
            </a:r>
            <a:r>
              <a:rPr lang="en-US" sz="2400" b="1" dirty="0">
                <a:solidFill>
                  <a:schemeClr val="bg1"/>
                </a:solidFill>
              </a:rPr>
              <a:t>group </a:t>
            </a:r>
            <a:r>
              <a:rPr lang="en-US" sz="2400" b="1" dirty="0" smtClean="0">
                <a:solidFill>
                  <a:schemeClr val="bg1"/>
                </a:solidFill>
              </a:rPr>
              <a:t>call/VC to </a:t>
            </a:r>
            <a:r>
              <a:rPr lang="en-US" sz="2400" b="1" dirty="0">
                <a:solidFill>
                  <a:schemeClr val="bg1"/>
                </a:solidFill>
              </a:rPr>
              <a:t>refine the concept</a:t>
            </a:r>
          </a:p>
        </p:txBody>
      </p:sp>
      <p:sp>
        <p:nvSpPr>
          <p:cNvPr id="24" name="Rectangular Callout 23"/>
          <p:cNvSpPr/>
          <p:nvPr/>
        </p:nvSpPr>
        <p:spPr bwMode="gray">
          <a:xfrm>
            <a:off x="654059" y="3445467"/>
            <a:ext cx="5729818" cy="1492757"/>
          </a:xfrm>
          <a:prstGeom prst="wedgeRectCallout">
            <a:avLst>
              <a:gd name="adj1" fmla="val -58717"/>
              <a:gd name="adj2" fmla="val -7271"/>
            </a:avLst>
          </a:prstGeom>
          <a:solidFill>
            <a:srgbClr val="ACC231"/>
          </a:solidFill>
          <a:ln w="9525">
            <a:solidFill>
              <a:srgbClr val="ACC2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>
              <a:spcBef>
                <a:spcPts val="0"/>
              </a:spcBef>
              <a:buClr>
                <a:schemeClr val="bg1"/>
              </a:buClr>
            </a:pPr>
            <a:r>
              <a:rPr lang="en-US" sz="2400" b="1" dirty="0" smtClean="0">
                <a:solidFill>
                  <a:schemeClr val="bg1"/>
                </a:solidFill>
              </a:rPr>
              <a:t>Join the external board of a possible future commercial </a:t>
            </a:r>
            <a:r>
              <a:rPr lang="en-US" sz="2400" b="1" dirty="0">
                <a:solidFill>
                  <a:schemeClr val="bg1"/>
                </a:solidFill>
              </a:rPr>
              <a:t>venture </a:t>
            </a:r>
            <a:r>
              <a:rPr lang="en-US" sz="2400" b="1" dirty="0" smtClean="0">
                <a:solidFill>
                  <a:schemeClr val="bg1"/>
                </a:solidFill>
              </a:rPr>
              <a:t>with McKinsey Solutions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5" name="Rectangular Callout 24"/>
          <p:cNvSpPr/>
          <p:nvPr/>
        </p:nvSpPr>
        <p:spPr bwMode="gray">
          <a:xfrm>
            <a:off x="2442801" y="4838861"/>
            <a:ext cx="6111920" cy="1492757"/>
          </a:xfrm>
          <a:prstGeom prst="wedgeRectCallout">
            <a:avLst>
              <a:gd name="adj1" fmla="val -58717"/>
              <a:gd name="adj2" fmla="val -7271"/>
            </a:avLst>
          </a:prstGeom>
          <a:solidFill>
            <a:srgbClr val="27AAE2"/>
          </a:solidFill>
          <a:ln w="9525">
            <a:solidFill>
              <a:srgbClr val="27AA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>
              <a:spcBef>
                <a:spcPts val="0"/>
              </a:spcBef>
              <a:buClr>
                <a:schemeClr val="bg1"/>
              </a:buClr>
            </a:pPr>
            <a:r>
              <a:rPr lang="en-US" sz="2400" b="1" dirty="0">
                <a:solidFill>
                  <a:schemeClr val="bg1"/>
                </a:solidFill>
              </a:rPr>
              <a:t>No rights reserved on the IP generated </a:t>
            </a:r>
            <a:r>
              <a:rPr lang="en-US" sz="2400" b="1" dirty="0" smtClean="0">
                <a:solidFill>
                  <a:schemeClr val="bg1"/>
                </a:solidFill>
              </a:rPr>
              <a:t>today – </a:t>
            </a:r>
            <a:r>
              <a:rPr lang="en-US" sz="2400" b="1" dirty="0">
                <a:solidFill>
                  <a:schemeClr val="bg1"/>
                </a:solidFill>
              </a:rPr>
              <a:t>no limit if folks want to run with ideas</a:t>
            </a:r>
          </a:p>
        </p:txBody>
      </p:sp>
    </p:spTree>
    <p:extLst>
      <p:ext uri="{BB962C8B-B14F-4D97-AF65-F5344CB8AC3E}">
        <p14:creationId xmlns:p14="http://schemas.microsoft.com/office/powerpoint/2010/main" val="416606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/>
          <p:cNvGrpSpPr/>
          <p:nvPr/>
        </p:nvGrpSpPr>
        <p:grpSpPr bwMode="gray">
          <a:xfrm>
            <a:off x="7211530" y="648"/>
            <a:ext cx="1932469" cy="6403824"/>
            <a:chOff x="7067550" y="635"/>
            <a:chExt cx="1893887" cy="6276340"/>
          </a:xfrm>
        </p:grpSpPr>
        <p:pic>
          <p:nvPicPr>
            <p:cNvPr id="56" name="Picture 55"/>
            <p:cNvPicPr>
              <a:picLocks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850"/>
            <a:stretch/>
          </p:blipFill>
          <p:spPr bwMode="gray">
            <a:xfrm>
              <a:off x="7067550" y="635"/>
              <a:ext cx="1893887" cy="6276340"/>
            </a:xfrm>
            <a:prstGeom prst="rect">
              <a:avLst/>
            </a:prstGeom>
          </p:spPr>
        </p:pic>
        <p:sp>
          <p:nvSpPr>
            <p:cNvPr id="12" name="Rectangle 11"/>
            <p:cNvSpPr>
              <a:spLocks/>
            </p:cNvSpPr>
            <p:nvPr/>
          </p:nvSpPr>
          <p:spPr bwMode="gray">
            <a:xfrm>
              <a:off x="7067550" y="635"/>
              <a:ext cx="1893887" cy="6276340"/>
            </a:xfrm>
            <a:prstGeom prst="rect">
              <a:avLst/>
            </a:prstGeom>
            <a:solidFill>
              <a:srgbClr val="FFFFFF">
                <a:alpha val="65098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117762" name="Rectangle 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91313090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5" name="Picture 1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-3" y="699730"/>
            <a:ext cx="1662823" cy="5593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oup 10"/>
          <p:cNvGrpSpPr/>
          <p:nvPr/>
        </p:nvGrpSpPr>
        <p:grpSpPr bwMode="gray">
          <a:xfrm>
            <a:off x="1541999" y="1519784"/>
            <a:ext cx="7383719" cy="608561"/>
            <a:chOff x="1511212" y="1603829"/>
            <a:chExt cx="7236301" cy="596446"/>
          </a:xfrm>
        </p:grpSpPr>
        <p:sp>
          <p:nvSpPr>
            <p:cNvPr id="36" name="Rectangle 13"/>
            <p:cNvSpPr>
              <a:spLocks noChangeArrowheads="1"/>
            </p:cNvSpPr>
            <p:nvPr/>
          </p:nvSpPr>
          <p:spPr bwMode="gray">
            <a:xfrm>
              <a:off x="1759371" y="1603829"/>
              <a:ext cx="5199840" cy="596446"/>
            </a:xfrm>
            <a:prstGeom prst="rect">
              <a:avLst/>
            </a:prstGeom>
            <a:solidFill>
              <a:srgbClr val="6E92A8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82880" rIns="45720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lnSpc>
                  <a:spcPts val="2245"/>
                </a:lnSpc>
                <a:buClr>
                  <a:srgbClr val="002960"/>
                </a:buClr>
              </a:pPr>
              <a:r>
                <a:rPr lang="en-US" sz="2000" b="1" dirty="0" smtClean="0">
                  <a:solidFill>
                    <a:schemeClr val="bg1"/>
                  </a:solidFill>
                </a:rPr>
                <a:t>Introduction:  </a:t>
              </a:r>
              <a:r>
                <a:rPr lang="en-US" sz="2000" dirty="0" smtClean="0">
                  <a:solidFill>
                    <a:schemeClr val="bg1"/>
                  </a:solidFill>
                </a:rPr>
                <a:t>App-ification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 15"/>
            <p:cNvSpPr>
              <a:spLocks noChangeArrowheads="1"/>
            </p:cNvSpPr>
            <p:nvPr/>
          </p:nvSpPr>
          <p:spPr bwMode="gray">
            <a:xfrm>
              <a:off x="7059400" y="1603829"/>
              <a:ext cx="1688113" cy="596446"/>
            </a:xfrm>
            <a:prstGeom prst="rect">
              <a:avLst/>
            </a:prstGeom>
            <a:solidFill>
              <a:srgbClr val="6E92A8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45720" rIns="45720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2000" dirty="0" smtClean="0">
                  <a:solidFill>
                    <a:schemeClr val="bg1"/>
                  </a:solidFill>
                </a:rPr>
                <a:t>5 minutes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46" name="Oval 45"/>
            <p:cNvSpPr/>
            <p:nvPr/>
          </p:nvSpPr>
          <p:spPr bwMode="gray">
            <a:xfrm>
              <a:off x="1511212" y="1719172"/>
              <a:ext cx="396474" cy="365760"/>
            </a:xfrm>
            <a:prstGeom prst="ellipse">
              <a:avLst/>
            </a:prstGeom>
            <a:solidFill>
              <a:srgbClr val="6E92A8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</a:rPr>
                <a:t>1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" name="Group 9"/>
          <p:cNvGrpSpPr/>
          <p:nvPr/>
        </p:nvGrpSpPr>
        <p:grpSpPr bwMode="gray">
          <a:xfrm>
            <a:off x="1541999" y="2248831"/>
            <a:ext cx="7383719" cy="608561"/>
            <a:chOff x="1511212" y="2240531"/>
            <a:chExt cx="7236301" cy="596446"/>
          </a:xfrm>
        </p:grpSpPr>
        <p:sp>
          <p:nvSpPr>
            <p:cNvPr id="32" name="Rectangle 12"/>
            <p:cNvSpPr>
              <a:spLocks noChangeArrowheads="1"/>
            </p:cNvSpPr>
            <p:nvPr/>
          </p:nvSpPr>
          <p:spPr bwMode="gray">
            <a:xfrm>
              <a:off x="1750768" y="2240531"/>
              <a:ext cx="5199840" cy="596446"/>
            </a:xfrm>
            <a:prstGeom prst="rect">
              <a:avLst/>
            </a:prstGeom>
            <a:solidFill>
              <a:srgbClr val="E4CA0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82880" rIns="45720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lnSpc>
                  <a:spcPts val="2245"/>
                </a:lnSpc>
                <a:buClr>
                  <a:srgbClr val="002960"/>
                </a:buClr>
              </a:pPr>
              <a:r>
                <a:rPr lang="en-US" sz="2000" b="1" dirty="0" smtClean="0">
                  <a:solidFill>
                    <a:schemeClr val="bg1"/>
                  </a:solidFill>
                </a:rPr>
                <a:t>Case example:  </a:t>
              </a:r>
              <a:r>
                <a:rPr lang="en-US" sz="2000" dirty="0" smtClean="0">
                  <a:solidFill>
                    <a:schemeClr val="bg1"/>
                  </a:solidFill>
                </a:rPr>
                <a:t>Fostering buyer-supplier collaboration with</a:t>
              </a:r>
              <a:r>
                <a:rPr lang="en-US" sz="2000" b="1" dirty="0" smtClean="0">
                  <a:solidFill>
                    <a:schemeClr val="bg1"/>
                  </a:solidFill>
                </a:rPr>
                <a:t> Red</a:t>
              </a:r>
              <a:r>
                <a:rPr lang="en-US" sz="2000" b="1" dirty="0" smtClean="0">
                  <a:solidFill>
                    <a:srgbClr val="FF0000"/>
                  </a:solidFill>
                </a:rPr>
                <a:t>E</a:t>
              </a:r>
              <a:endParaRPr lang="en-US" sz="2000" dirty="0">
                <a:solidFill>
                  <a:srgbClr val="FF0000"/>
                </a:solidFill>
              </a:endParaRPr>
            </a:p>
          </p:txBody>
        </p:sp>
        <p:sp>
          <p:nvSpPr>
            <p:cNvPr id="33" name="Rectangle 14"/>
            <p:cNvSpPr>
              <a:spLocks noChangeArrowheads="1"/>
            </p:cNvSpPr>
            <p:nvPr/>
          </p:nvSpPr>
          <p:spPr bwMode="gray">
            <a:xfrm>
              <a:off x="7059400" y="2240531"/>
              <a:ext cx="1688113" cy="596446"/>
            </a:xfrm>
            <a:prstGeom prst="rect">
              <a:avLst/>
            </a:prstGeom>
            <a:solidFill>
              <a:srgbClr val="E4CA0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45720" rIns="45720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2000" dirty="0" smtClean="0">
                  <a:solidFill>
                    <a:schemeClr val="bg1"/>
                  </a:solidFill>
                </a:rPr>
                <a:t>10 minutes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47" name="Oval 46"/>
            <p:cNvSpPr/>
            <p:nvPr/>
          </p:nvSpPr>
          <p:spPr bwMode="gray">
            <a:xfrm>
              <a:off x="1511212" y="2355874"/>
              <a:ext cx="396474" cy="365760"/>
            </a:xfrm>
            <a:prstGeom prst="ellipse">
              <a:avLst/>
            </a:prstGeom>
            <a:solidFill>
              <a:srgbClr val="E4CA0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</a:rPr>
                <a:t>2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" name="Group 6"/>
          <p:cNvGrpSpPr/>
          <p:nvPr/>
        </p:nvGrpSpPr>
        <p:grpSpPr bwMode="gray">
          <a:xfrm>
            <a:off x="1541999" y="4435974"/>
            <a:ext cx="7383719" cy="608561"/>
            <a:chOff x="1511212" y="4237891"/>
            <a:chExt cx="7236301" cy="596446"/>
          </a:xfrm>
        </p:grpSpPr>
        <p:sp>
          <p:nvSpPr>
            <p:cNvPr id="44" name="Rectangle 24"/>
            <p:cNvSpPr>
              <a:spLocks noChangeArrowheads="1"/>
            </p:cNvSpPr>
            <p:nvPr/>
          </p:nvSpPr>
          <p:spPr bwMode="gray">
            <a:xfrm>
              <a:off x="1743885" y="4237891"/>
              <a:ext cx="5199840" cy="596446"/>
            </a:xfrm>
            <a:prstGeom prst="rect">
              <a:avLst/>
            </a:prstGeom>
            <a:solidFill>
              <a:srgbClr val="E4CA0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82880" rIns="45720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lnSpc>
                  <a:spcPts val="2245"/>
                </a:lnSpc>
                <a:buClr>
                  <a:srgbClr val="002960"/>
                </a:buClr>
              </a:pPr>
              <a:r>
                <a:rPr lang="en-US" sz="2000" b="1" dirty="0" smtClean="0">
                  <a:solidFill>
                    <a:schemeClr val="bg1"/>
                  </a:solidFill>
                </a:rPr>
                <a:t>Report out:  </a:t>
              </a:r>
              <a:r>
                <a:rPr lang="en-US" sz="2000" dirty="0" smtClean="0">
                  <a:solidFill>
                    <a:schemeClr val="bg1"/>
                  </a:solidFill>
                </a:rPr>
                <a:t>Rapid-fire pitches from each groups on their proposed solutions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45" name="Rectangle 25"/>
            <p:cNvSpPr>
              <a:spLocks noChangeArrowheads="1"/>
            </p:cNvSpPr>
            <p:nvPr/>
          </p:nvSpPr>
          <p:spPr bwMode="gray">
            <a:xfrm>
              <a:off x="7059400" y="4237891"/>
              <a:ext cx="1688113" cy="596446"/>
            </a:xfrm>
            <a:prstGeom prst="rect">
              <a:avLst/>
            </a:prstGeom>
            <a:solidFill>
              <a:srgbClr val="E4CA0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45720" rIns="45720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2000" dirty="0" smtClean="0">
                  <a:solidFill>
                    <a:schemeClr val="bg1"/>
                  </a:solidFill>
                </a:rPr>
                <a:t>10 minutes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49" name="Oval 48"/>
            <p:cNvSpPr/>
            <p:nvPr/>
          </p:nvSpPr>
          <p:spPr bwMode="gray">
            <a:xfrm>
              <a:off x="1511212" y="4353234"/>
              <a:ext cx="396474" cy="365760"/>
            </a:xfrm>
            <a:prstGeom prst="ellipse">
              <a:avLst/>
            </a:prstGeom>
            <a:solidFill>
              <a:srgbClr val="E4CA0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</a:rPr>
                <a:t>5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" name="Group 5"/>
          <p:cNvGrpSpPr/>
          <p:nvPr/>
        </p:nvGrpSpPr>
        <p:grpSpPr bwMode="gray">
          <a:xfrm>
            <a:off x="1541999" y="5165023"/>
            <a:ext cx="7383719" cy="608561"/>
            <a:chOff x="1511212" y="5033626"/>
            <a:chExt cx="7236301" cy="596446"/>
          </a:xfrm>
        </p:grpSpPr>
        <p:sp>
          <p:nvSpPr>
            <p:cNvPr id="52" name="Rectangle 24"/>
            <p:cNvSpPr>
              <a:spLocks noChangeArrowheads="1"/>
            </p:cNvSpPr>
            <p:nvPr/>
          </p:nvSpPr>
          <p:spPr bwMode="gray">
            <a:xfrm>
              <a:off x="1743885" y="5033626"/>
              <a:ext cx="5199840" cy="596446"/>
            </a:xfrm>
            <a:prstGeom prst="rect">
              <a:avLst/>
            </a:prstGeom>
            <a:solidFill>
              <a:srgbClr val="ACC23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82880" rIns="45720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lnSpc>
                  <a:spcPts val="2245"/>
                </a:lnSpc>
                <a:buClr>
                  <a:srgbClr val="002960"/>
                </a:buClr>
              </a:pPr>
              <a:r>
                <a:rPr lang="en-US" sz="2000" b="1" dirty="0" smtClean="0">
                  <a:solidFill>
                    <a:schemeClr val="bg1"/>
                  </a:solidFill>
                </a:rPr>
                <a:t>Closing:  </a:t>
              </a:r>
              <a:r>
                <a:rPr lang="en-US" sz="2000" dirty="0" smtClean="0">
                  <a:solidFill>
                    <a:schemeClr val="bg1"/>
                  </a:solidFill>
                </a:rPr>
                <a:t>Summary, </a:t>
              </a:r>
              <a:r>
                <a:rPr lang="en-US" sz="2000" dirty="0">
                  <a:solidFill>
                    <a:schemeClr val="bg1"/>
                  </a:solidFill>
                </a:rPr>
                <a:t>v</a:t>
              </a:r>
              <a:r>
                <a:rPr lang="en-US" sz="2000" dirty="0" smtClean="0">
                  <a:solidFill>
                    <a:schemeClr val="bg1"/>
                  </a:solidFill>
                </a:rPr>
                <a:t>oting for best app, and commitments to help development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53" name="Rectangle 25"/>
            <p:cNvSpPr>
              <a:spLocks noChangeArrowheads="1"/>
            </p:cNvSpPr>
            <p:nvPr/>
          </p:nvSpPr>
          <p:spPr bwMode="gray">
            <a:xfrm>
              <a:off x="7059400" y="5033626"/>
              <a:ext cx="1688113" cy="596446"/>
            </a:xfrm>
            <a:prstGeom prst="rect">
              <a:avLst/>
            </a:prstGeom>
            <a:solidFill>
              <a:srgbClr val="ACC23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45720" rIns="45720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2000" dirty="0" smtClean="0">
                  <a:solidFill>
                    <a:schemeClr val="bg1"/>
                  </a:solidFill>
                </a:rPr>
                <a:t>5 minutes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54" name="Oval 53"/>
            <p:cNvSpPr/>
            <p:nvPr/>
          </p:nvSpPr>
          <p:spPr bwMode="gray">
            <a:xfrm>
              <a:off x="1511212" y="5148969"/>
              <a:ext cx="396474" cy="365760"/>
            </a:xfrm>
            <a:prstGeom prst="ellipse">
              <a:avLst/>
            </a:prstGeom>
            <a:solidFill>
              <a:srgbClr val="ACC23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</a:rPr>
                <a:t>6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oup 7"/>
          <p:cNvGrpSpPr/>
          <p:nvPr/>
        </p:nvGrpSpPr>
        <p:grpSpPr bwMode="gray">
          <a:xfrm>
            <a:off x="1541999" y="3706926"/>
            <a:ext cx="7383719" cy="608561"/>
            <a:chOff x="1511212" y="3525175"/>
            <a:chExt cx="7236301" cy="596446"/>
          </a:xfrm>
        </p:grpSpPr>
        <p:sp>
          <p:nvSpPr>
            <p:cNvPr id="40" name="Rectangle 20"/>
            <p:cNvSpPr>
              <a:spLocks noChangeArrowheads="1"/>
            </p:cNvSpPr>
            <p:nvPr/>
          </p:nvSpPr>
          <p:spPr bwMode="gray">
            <a:xfrm>
              <a:off x="1747326" y="3525175"/>
              <a:ext cx="5199840" cy="596446"/>
            </a:xfrm>
            <a:prstGeom prst="rect">
              <a:avLst/>
            </a:prstGeom>
            <a:solidFill>
              <a:srgbClr val="6E92A8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82880" rIns="45720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lnSpc>
                  <a:spcPts val="2245"/>
                </a:lnSpc>
                <a:buClr>
                  <a:srgbClr val="002960"/>
                </a:buClr>
              </a:pPr>
              <a:r>
                <a:rPr lang="en-US" sz="2000" b="1" dirty="0" smtClean="0">
                  <a:solidFill>
                    <a:schemeClr val="bg1"/>
                  </a:solidFill>
                </a:rPr>
                <a:t>Group breakout</a:t>
              </a:r>
              <a:r>
                <a:rPr lang="en-US" sz="2000" dirty="0" smtClean="0">
                  <a:solidFill>
                    <a:schemeClr val="bg1"/>
                  </a:solidFill>
                </a:rPr>
                <a:t>:  apps to enhance specific information flows and decision making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41" name="Rectangle 21"/>
            <p:cNvSpPr>
              <a:spLocks noChangeArrowheads="1"/>
            </p:cNvSpPr>
            <p:nvPr/>
          </p:nvSpPr>
          <p:spPr bwMode="gray">
            <a:xfrm>
              <a:off x="7059400" y="3525175"/>
              <a:ext cx="1688113" cy="596446"/>
            </a:xfrm>
            <a:prstGeom prst="rect">
              <a:avLst/>
            </a:prstGeom>
            <a:solidFill>
              <a:srgbClr val="6E92A8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45720" rIns="45720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2000" dirty="0" smtClean="0">
                  <a:solidFill>
                    <a:schemeClr val="bg1"/>
                  </a:solidFill>
                </a:rPr>
                <a:t>20 minutes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48" name="Oval 47"/>
            <p:cNvSpPr/>
            <p:nvPr/>
          </p:nvSpPr>
          <p:spPr bwMode="gray">
            <a:xfrm>
              <a:off x="1511212" y="3640518"/>
              <a:ext cx="396474" cy="365760"/>
            </a:xfrm>
            <a:prstGeom prst="ellipse">
              <a:avLst/>
            </a:prstGeom>
            <a:solidFill>
              <a:srgbClr val="6E92A8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</a:rPr>
                <a:t>4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8"/>
          <p:cNvGrpSpPr/>
          <p:nvPr/>
        </p:nvGrpSpPr>
        <p:grpSpPr bwMode="gray">
          <a:xfrm>
            <a:off x="1550777" y="2977879"/>
            <a:ext cx="7374940" cy="608561"/>
            <a:chOff x="1519815" y="2876082"/>
            <a:chExt cx="7227698" cy="596446"/>
          </a:xfrm>
        </p:grpSpPr>
        <p:sp>
          <p:nvSpPr>
            <p:cNvPr id="67" name="Rectangle 12"/>
            <p:cNvSpPr>
              <a:spLocks noChangeArrowheads="1"/>
            </p:cNvSpPr>
            <p:nvPr/>
          </p:nvSpPr>
          <p:spPr bwMode="gray">
            <a:xfrm>
              <a:off x="1759371" y="2876082"/>
              <a:ext cx="5199840" cy="596446"/>
            </a:xfrm>
            <a:prstGeom prst="rect">
              <a:avLst/>
            </a:prstGeom>
            <a:solidFill>
              <a:srgbClr val="ACC23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82880" rIns="45720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lnSpc>
                  <a:spcPts val="2245"/>
                </a:lnSpc>
                <a:buClr>
                  <a:srgbClr val="002960"/>
                </a:buClr>
              </a:pPr>
              <a:r>
                <a:rPr lang="en-US" sz="2000" b="1" dirty="0" smtClean="0">
                  <a:solidFill>
                    <a:schemeClr val="bg1"/>
                  </a:solidFill>
                </a:rPr>
                <a:t>The opportunity:  </a:t>
              </a:r>
              <a:r>
                <a:rPr lang="en-US" sz="2000" dirty="0" smtClean="0">
                  <a:solidFill>
                    <a:schemeClr val="bg1"/>
                  </a:solidFill>
                </a:rPr>
                <a:t>Information flows and transparency that enhance sustainability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68" name="Rectangle 14"/>
            <p:cNvSpPr>
              <a:spLocks noChangeArrowheads="1"/>
            </p:cNvSpPr>
            <p:nvPr/>
          </p:nvSpPr>
          <p:spPr bwMode="gray">
            <a:xfrm>
              <a:off x="7059400" y="2876082"/>
              <a:ext cx="1688113" cy="596446"/>
            </a:xfrm>
            <a:prstGeom prst="rect">
              <a:avLst/>
            </a:prstGeom>
            <a:solidFill>
              <a:srgbClr val="ACC23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45720" rIns="45720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2000" dirty="0" smtClean="0">
                  <a:solidFill>
                    <a:schemeClr val="bg1"/>
                  </a:solidFill>
                </a:rPr>
                <a:t>10 minutes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 bwMode="gray">
            <a:xfrm>
              <a:off x="1519815" y="2991425"/>
              <a:ext cx="396474" cy="365760"/>
            </a:xfrm>
            <a:prstGeom prst="ellipse">
              <a:avLst/>
            </a:prstGeom>
            <a:solidFill>
              <a:srgbClr val="ACC23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</a:rPr>
                <a:t>3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8" name="Rectangle 6"/>
          <p:cNvSpPr>
            <a:spLocks noChangeArrowheads="1"/>
          </p:cNvSpPr>
          <p:nvPr/>
        </p:nvSpPr>
        <p:spPr bwMode="gray">
          <a:xfrm>
            <a:off x="1795213" y="979763"/>
            <a:ext cx="5305771" cy="405582"/>
          </a:xfrm>
          <a:prstGeom prst="rect">
            <a:avLst/>
          </a:prstGeom>
          <a:solidFill>
            <a:srgbClr val="27AAE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lIns="46648" tIns="46648" rIns="46648" bIns="46648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2200" b="1" dirty="0">
                <a:solidFill>
                  <a:srgbClr val="FFFFFF"/>
                </a:solidFill>
                <a:latin typeface="Arial Narrow" pitchFamily="34" charset="0"/>
              </a:rPr>
              <a:t>Topic</a:t>
            </a: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gray">
          <a:xfrm>
            <a:off x="7203215" y="979763"/>
            <a:ext cx="1722503" cy="405582"/>
          </a:xfrm>
          <a:prstGeom prst="rect">
            <a:avLst/>
          </a:prstGeom>
          <a:solidFill>
            <a:srgbClr val="27AAE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lIns="46648" tIns="46648" rIns="46648" bIns="46648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2200" b="1" dirty="0">
                <a:solidFill>
                  <a:srgbClr val="FFFFFF"/>
                </a:solidFill>
                <a:latin typeface="Arial Narrow" pitchFamily="34" charset="0"/>
              </a:rPr>
              <a:t>Timing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692687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at do we mean by “app”?</a:t>
            </a:r>
            <a:endParaRPr lang="en-US" dirty="0"/>
          </a:p>
        </p:txBody>
      </p:sp>
      <p:sp>
        <p:nvSpPr>
          <p:cNvPr id="5" name="McK 5. Source"/>
          <p:cNvSpPr>
            <a:spLocks noChangeArrowheads="1"/>
          </p:cNvSpPr>
          <p:nvPr/>
        </p:nvSpPr>
        <p:spPr bwMode="gray">
          <a:xfrm>
            <a:off x="121488" y="6566446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en-US" sz="1000" dirty="0">
                <a:latin typeface="+mn-lt"/>
              </a:rPr>
              <a:t>SOURCE: </a:t>
            </a:r>
            <a:r>
              <a:rPr lang="en-US" sz="1000" dirty="0" smtClean="0">
                <a:latin typeface="+mn-lt"/>
              </a:rPr>
              <a:t>Google </a:t>
            </a:r>
            <a:endParaRPr lang="en-US" sz="1000" dirty="0"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 bwMode="gray">
          <a:xfrm>
            <a:off x="350656" y="1579433"/>
            <a:ext cx="1951862" cy="69742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 bwMode="gray">
          <a:xfrm>
            <a:off x="7124059" y="4201755"/>
            <a:ext cx="1244037" cy="1243964"/>
          </a:xfrm>
          <a:prstGeom prst="rect">
            <a:avLst/>
          </a:prstGeom>
        </p:spPr>
      </p:pic>
      <p:sp>
        <p:nvSpPr>
          <p:cNvPr id="11" name="Rectangular Callout 10"/>
          <p:cNvSpPr/>
          <p:nvPr/>
        </p:nvSpPr>
        <p:spPr bwMode="gray">
          <a:xfrm>
            <a:off x="2880231" y="917765"/>
            <a:ext cx="5729818" cy="2388564"/>
          </a:xfrm>
          <a:prstGeom prst="wedgeRectCallout">
            <a:avLst>
              <a:gd name="adj1" fmla="val -58717"/>
              <a:gd name="adj2" fmla="val -7271"/>
            </a:avLst>
          </a:prstGeom>
          <a:solidFill>
            <a:srgbClr val="6E92A8"/>
          </a:solidFill>
          <a:ln w="9525">
            <a:solidFill>
              <a:srgbClr val="6E92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92" tIns="93296" rIns="186592" bIns="93296" rtlCol="0" anchor="ctr"/>
          <a:lstStyle/>
          <a:p>
            <a:pPr>
              <a:spcBef>
                <a:spcPts val="0"/>
              </a:spcBef>
              <a:buClr>
                <a:schemeClr val="bg1"/>
              </a:buClr>
            </a:pPr>
            <a:r>
              <a:rPr lang="en-US" sz="2400" b="1" dirty="0">
                <a:solidFill>
                  <a:schemeClr val="bg1"/>
                </a:solidFill>
              </a:rPr>
              <a:t>A self-contained program or piece of software designed to fulfill a particular purpose; an application, especially as downloaded by a user to a mobile device</a:t>
            </a:r>
          </a:p>
        </p:txBody>
      </p:sp>
      <p:sp>
        <p:nvSpPr>
          <p:cNvPr id="15" name="Rectangular Callout 14"/>
          <p:cNvSpPr/>
          <p:nvPr/>
        </p:nvSpPr>
        <p:spPr bwMode="gray">
          <a:xfrm flipH="1">
            <a:off x="757864" y="3667027"/>
            <a:ext cx="5729818" cy="2388564"/>
          </a:xfrm>
          <a:prstGeom prst="wedgeRectCallout">
            <a:avLst>
              <a:gd name="adj1" fmla="val -58717"/>
              <a:gd name="adj2" fmla="val -7271"/>
            </a:avLst>
          </a:prstGeom>
          <a:solidFill>
            <a:srgbClr val="ACC231"/>
          </a:solidFill>
          <a:ln w="9525">
            <a:solidFill>
              <a:srgbClr val="ACC2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92" tIns="93296" rIns="186592" bIns="93296" rtlCol="0" anchor="ctr"/>
          <a:lstStyle/>
          <a:p>
            <a:pPr>
              <a:spcBef>
                <a:spcPts val="0"/>
              </a:spcBef>
              <a:buClr>
                <a:schemeClr val="bg1"/>
              </a:buClr>
            </a:pPr>
            <a:r>
              <a:rPr lang="en-US" sz="2400" b="1" dirty="0">
                <a:solidFill>
                  <a:schemeClr val="bg1"/>
                </a:solidFill>
              </a:rPr>
              <a:t>Technology platform that leverages either the web or internal information systems to improve the availability, transparency, and/or quality of information to users</a:t>
            </a:r>
          </a:p>
        </p:txBody>
      </p:sp>
    </p:spTree>
    <p:extLst>
      <p:ext uri="{BB962C8B-B14F-4D97-AF65-F5344CB8AC3E}">
        <p14:creationId xmlns:p14="http://schemas.microsoft.com/office/powerpoint/2010/main" val="1145244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6626192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21489" y="234864"/>
            <a:ext cx="8794113" cy="596653"/>
          </a:xfrm>
        </p:spPr>
        <p:txBody>
          <a:bodyPr/>
          <a:lstStyle/>
          <a:p>
            <a:r>
              <a:rPr lang="en-US" dirty="0" smtClean="0"/>
              <a:t>Great a</a:t>
            </a:r>
            <a:r>
              <a:rPr lang="en-US" dirty="0"/>
              <a:t>pps </a:t>
            </a:r>
            <a:r>
              <a:rPr lang="en-US" dirty="0" smtClean="0"/>
              <a:t>improve the quality and availability of existing data and unlock new information flows, with Uber as a prime example</a:t>
            </a:r>
            <a:endParaRPr lang="en-US" dirty="0"/>
          </a:p>
        </p:txBody>
      </p:sp>
      <p:sp>
        <p:nvSpPr>
          <p:cNvPr id="39" name="Rectangle 30"/>
          <p:cNvSpPr txBox="1"/>
          <p:nvPr/>
        </p:nvSpPr>
        <p:spPr bwMode="gray">
          <a:xfrm>
            <a:off x="248817" y="971935"/>
            <a:ext cx="3667581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2000" b="1" dirty="0" smtClean="0">
                <a:solidFill>
                  <a:srgbClr val="27AAE2"/>
                </a:solidFill>
              </a:rPr>
              <a:t>An everyday example…</a:t>
            </a:r>
            <a:endParaRPr lang="en-US" sz="2000" b="1" dirty="0">
              <a:solidFill>
                <a:srgbClr val="27AAE2"/>
              </a:solidFill>
            </a:endParaRPr>
          </a:p>
        </p:txBody>
      </p:sp>
      <p:sp>
        <p:nvSpPr>
          <p:cNvPr id="108" name="Rectangle 30"/>
          <p:cNvSpPr txBox="1"/>
          <p:nvPr/>
        </p:nvSpPr>
        <p:spPr bwMode="gray">
          <a:xfrm>
            <a:off x="307620" y="2618064"/>
            <a:ext cx="3181292" cy="330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91551" indent="-291551">
              <a:spcBef>
                <a:spcPts val="612"/>
              </a:spcBef>
              <a:buFont typeface="Wingdings" panose="05000000000000000000" pitchFamily="2" charset="2"/>
              <a:buChar char="§"/>
            </a:pPr>
            <a:r>
              <a:rPr lang="en-US" sz="2000" i="1" dirty="0" smtClean="0"/>
              <a:t>Improved transparency of availability, cost, and wait times</a:t>
            </a:r>
          </a:p>
          <a:p>
            <a:pPr marL="291551" indent="-291551">
              <a:spcBef>
                <a:spcPts val="612"/>
              </a:spcBef>
              <a:buFont typeface="Wingdings" panose="05000000000000000000" pitchFamily="2" charset="2"/>
              <a:buChar char="§"/>
            </a:pPr>
            <a:r>
              <a:rPr lang="en-US" sz="2000" i="1" dirty="0" smtClean="0"/>
              <a:t>Eliminates live payment with stored credit card information</a:t>
            </a:r>
          </a:p>
          <a:p>
            <a:pPr marL="291551" indent="-291551">
              <a:spcBef>
                <a:spcPts val="612"/>
              </a:spcBef>
              <a:buFont typeface="Wingdings" panose="05000000000000000000" pitchFamily="2" charset="2"/>
              <a:buChar char="§"/>
            </a:pPr>
            <a:r>
              <a:rPr lang="en-US" sz="2000" i="1" dirty="0" smtClean="0"/>
              <a:t>Rider and driver reviews reward all user’s experience</a:t>
            </a:r>
          </a:p>
          <a:p>
            <a:pPr marL="291551" indent="-291551">
              <a:spcBef>
                <a:spcPts val="612"/>
              </a:spcBef>
              <a:buFont typeface="Wingdings" panose="05000000000000000000" pitchFamily="2" charset="2"/>
              <a:buChar char="§"/>
            </a:pPr>
            <a:r>
              <a:rPr lang="en-US" sz="2000" i="1" dirty="0" smtClean="0"/>
              <a:t>Increased avg. drivers wages </a:t>
            </a:r>
          </a:p>
        </p:txBody>
      </p:sp>
      <p:sp>
        <p:nvSpPr>
          <p:cNvPr id="203" name="Rectangle 202"/>
          <p:cNvSpPr/>
          <p:nvPr/>
        </p:nvSpPr>
        <p:spPr bwMode="gray">
          <a:xfrm>
            <a:off x="203235" y="1394812"/>
            <a:ext cx="1470839" cy="76880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r>
              <a:rPr lang="en-US" sz="2000" dirty="0" smtClean="0">
                <a:solidFill>
                  <a:srgbClr val="27AAE2"/>
                </a:solidFill>
              </a:rPr>
              <a:t>Customer</a:t>
            </a:r>
          </a:p>
        </p:txBody>
      </p:sp>
      <p:sp>
        <p:nvSpPr>
          <p:cNvPr id="204" name="Rectangle 203"/>
          <p:cNvSpPr/>
          <p:nvPr/>
        </p:nvSpPr>
        <p:spPr bwMode="gray">
          <a:xfrm>
            <a:off x="2019941" y="1396900"/>
            <a:ext cx="1481225" cy="76554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r">
              <a:lnSpc>
                <a:spcPts val="1939"/>
              </a:lnSpc>
            </a:pPr>
            <a:r>
              <a:rPr lang="en-US" sz="2000" dirty="0" smtClean="0">
                <a:solidFill>
                  <a:srgbClr val="27AAE2"/>
                </a:solidFill>
              </a:rPr>
              <a:t>Service</a:t>
            </a:r>
          </a:p>
          <a:p>
            <a:pPr algn="r">
              <a:lnSpc>
                <a:spcPts val="1939"/>
              </a:lnSpc>
            </a:pPr>
            <a:r>
              <a:rPr lang="en-US" sz="2000" dirty="0" smtClean="0">
                <a:solidFill>
                  <a:srgbClr val="27AAE2"/>
                </a:solidFill>
              </a:rPr>
              <a:t>Provider</a:t>
            </a:r>
          </a:p>
        </p:txBody>
      </p:sp>
      <p:pic>
        <p:nvPicPr>
          <p:cNvPr id="158" name="Picture 157"/>
          <p:cNvPicPr>
            <a:picLocks noChangeAspect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870" t="-836" r="16339" b="-611"/>
          <a:stretch/>
        </p:blipFill>
        <p:spPr bwMode="gray">
          <a:xfrm>
            <a:off x="1107685" y="1298655"/>
            <a:ext cx="1507738" cy="1200364"/>
          </a:xfrm>
          <a:prstGeom prst="rect">
            <a:avLst/>
          </a:prstGeom>
        </p:spPr>
      </p:pic>
      <p:grpSp>
        <p:nvGrpSpPr>
          <p:cNvPr id="3" name="Group 52"/>
          <p:cNvGrpSpPr/>
          <p:nvPr/>
        </p:nvGrpSpPr>
        <p:grpSpPr>
          <a:xfrm>
            <a:off x="3734109" y="1161777"/>
            <a:ext cx="5135928" cy="4851612"/>
            <a:chOff x="3590219" y="1133741"/>
            <a:chExt cx="5033388" cy="4755029"/>
          </a:xfrm>
        </p:grpSpPr>
        <p:sp>
          <p:nvSpPr>
            <p:cNvPr id="87" name="Rounded Rectangle 86"/>
            <p:cNvSpPr/>
            <p:nvPr/>
          </p:nvSpPr>
          <p:spPr bwMode="gray">
            <a:xfrm>
              <a:off x="3590219" y="1133741"/>
              <a:ext cx="4947777" cy="4745212"/>
            </a:xfrm>
            <a:prstGeom prst="roundRect">
              <a:avLst>
                <a:gd name="adj" fmla="val 10482"/>
              </a:avLst>
            </a:prstGeom>
            <a:blipFill dpi="0"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8575">
              <a:solidFill>
                <a:schemeClr val="bg1">
                  <a:lumMod val="8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93" name="Rounded Rectangle 192"/>
            <p:cNvSpPr/>
            <p:nvPr/>
          </p:nvSpPr>
          <p:spPr bwMode="gray">
            <a:xfrm>
              <a:off x="3593557" y="1143558"/>
              <a:ext cx="4947777" cy="4745212"/>
            </a:xfrm>
            <a:prstGeom prst="roundRect">
              <a:avLst>
                <a:gd name="adj" fmla="val 10482"/>
              </a:avLst>
            </a:prstGeom>
            <a:solidFill>
              <a:srgbClr val="FFFFFF">
                <a:alpha val="40000"/>
              </a:srgbClr>
            </a:solidFill>
            <a:ln w="28575">
              <a:solidFill>
                <a:schemeClr val="accent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" name="Rectangle 30"/>
            <p:cNvSpPr txBox="1"/>
            <p:nvPr/>
          </p:nvSpPr>
          <p:spPr bwMode="gray">
            <a:xfrm>
              <a:off x="3646246" y="1220171"/>
              <a:ext cx="81203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r"/>
              <a:r>
                <a:rPr lang="en-US" sz="2400" dirty="0" smtClean="0">
                  <a:solidFill>
                    <a:schemeClr val="bg1"/>
                  </a:solidFill>
                </a:rPr>
                <a:t>OLD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  <p:sp>
          <p:nvSpPr>
            <p:cNvPr id="40" name="Rounded Rectangle 39"/>
            <p:cNvSpPr/>
            <p:nvPr/>
          </p:nvSpPr>
          <p:spPr bwMode="gray">
            <a:xfrm>
              <a:off x="4065020" y="2587093"/>
              <a:ext cx="1097280" cy="753456"/>
            </a:xfrm>
            <a:prstGeom prst="roundRect">
              <a:avLst/>
            </a:prstGeom>
            <a:solidFill>
              <a:srgbClr val="27AAE2"/>
            </a:solidFill>
            <a:ln w="28575">
              <a:solidFill>
                <a:schemeClr val="accent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smtClean="0">
                  <a:solidFill>
                    <a:schemeClr val="bg1"/>
                  </a:solidFill>
                </a:rPr>
                <a:t>Riders</a:t>
              </a:r>
            </a:p>
          </p:txBody>
        </p:sp>
        <p:sp>
          <p:nvSpPr>
            <p:cNvPr id="41" name="Rounded Rectangle 40"/>
            <p:cNvSpPr/>
            <p:nvPr/>
          </p:nvSpPr>
          <p:spPr bwMode="gray">
            <a:xfrm>
              <a:off x="5533817" y="1573777"/>
              <a:ext cx="1153148" cy="753456"/>
            </a:xfrm>
            <a:prstGeom prst="roundRect">
              <a:avLst/>
            </a:prstGeom>
            <a:solidFill>
              <a:srgbClr val="27AAE2"/>
            </a:solidFill>
            <a:ln w="28575">
              <a:solidFill>
                <a:schemeClr val="accent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rIns="27432" rtlCol="0" anchor="ctr"/>
            <a:lstStyle/>
            <a:p>
              <a:pPr algn="ctr"/>
              <a:r>
                <a:rPr lang="en-US" sz="2000" dirty="0" smtClean="0">
                  <a:solidFill>
                    <a:schemeClr val="bg1"/>
                  </a:solidFill>
                </a:rPr>
                <a:t>Dispatch service</a:t>
              </a:r>
            </a:p>
          </p:txBody>
        </p:sp>
        <p:sp>
          <p:nvSpPr>
            <p:cNvPr id="42" name="Rounded Rectangle 41"/>
            <p:cNvSpPr/>
            <p:nvPr/>
          </p:nvSpPr>
          <p:spPr bwMode="gray">
            <a:xfrm>
              <a:off x="7041894" y="2716989"/>
              <a:ext cx="1097280" cy="753456"/>
            </a:xfrm>
            <a:prstGeom prst="roundRect">
              <a:avLst/>
            </a:prstGeom>
            <a:solidFill>
              <a:srgbClr val="27AAE2"/>
            </a:solidFill>
            <a:ln w="28575">
              <a:solidFill>
                <a:schemeClr val="accent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smtClean="0">
                  <a:solidFill>
                    <a:schemeClr val="bg1"/>
                  </a:solidFill>
                </a:rPr>
                <a:t>Taxi drivers</a:t>
              </a:r>
            </a:p>
          </p:txBody>
        </p:sp>
        <p:cxnSp>
          <p:nvCxnSpPr>
            <p:cNvPr id="36" name="Curved Connector 35"/>
            <p:cNvCxnSpPr>
              <a:stCxn id="40" idx="0"/>
              <a:endCxn id="41" idx="1"/>
            </p:cNvCxnSpPr>
            <p:nvPr/>
          </p:nvCxnSpPr>
          <p:spPr bwMode="gray">
            <a:xfrm rot="5400000" flipH="1" flipV="1">
              <a:off x="4755444" y="1808721"/>
              <a:ext cx="636588" cy="920157"/>
            </a:xfrm>
            <a:prstGeom prst="curvedConnector2">
              <a:avLst/>
            </a:prstGeom>
            <a:ln w="5715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urved Connector 47"/>
            <p:cNvCxnSpPr>
              <a:stCxn id="41" idx="3"/>
              <a:endCxn id="42" idx="0"/>
            </p:cNvCxnSpPr>
            <p:nvPr/>
          </p:nvCxnSpPr>
          <p:spPr bwMode="gray">
            <a:xfrm>
              <a:off x="6686965" y="1950505"/>
              <a:ext cx="903569" cy="766484"/>
            </a:xfrm>
            <a:prstGeom prst="curvedConnector2">
              <a:avLst/>
            </a:prstGeom>
            <a:ln w="5715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urved Connector 50"/>
            <p:cNvCxnSpPr>
              <a:stCxn id="42" idx="2"/>
              <a:endCxn id="40" idx="2"/>
            </p:cNvCxnSpPr>
            <p:nvPr/>
          </p:nvCxnSpPr>
          <p:spPr bwMode="gray">
            <a:xfrm rot="5400000" flipH="1">
              <a:off x="6037149" y="1917060"/>
              <a:ext cx="129896" cy="2976874"/>
            </a:xfrm>
            <a:prstGeom prst="curvedConnector3">
              <a:avLst>
                <a:gd name="adj1" fmla="val -360354"/>
              </a:avLst>
            </a:prstGeom>
            <a:ln w="57150">
              <a:solidFill>
                <a:schemeClr val="bg1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oup 51"/>
            <p:cNvGrpSpPr/>
            <p:nvPr/>
          </p:nvGrpSpPr>
          <p:grpSpPr>
            <a:xfrm>
              <a:off x="3861105" y="4266379"/>
              <a:ext cx="4590487" cy="584775"/>
              <a:chOff x="3861105" y="4266379"/>
              <a:chExt cx="4590487" cy="584775"/>
            </a:xfrm>
          </p:grpSpPr>
          <p:grpSp>
            <p:nvGrpSpPr>
              <p:cNvPr id="5" name="Group 5"/>
              <p:cNvGrpSpPr/>
              <p:nvPr/>
            </p:nvGrpSpPr>
            <p:grpSpPr bwMode="gray">
              <a:xfrm>
                <a:off x="3861105" y="4273075"/>
                <a:ext cx="365760" cy="365760"/>
                <a:chOff x="3874503" y="2205536"/>
                <a:chExt cx="365760" cy="365760"/>
              </a:xfrm>
            </p:grpSpPr>
            <p:sp>
              <p:nvSpPr>
                <p:cNvPr id="96" name="Oval 95"/>
                <p:cNvSpPr/>
                <p:nvPr/>
              </p:nvSpPr>
              <p:spPr bwMode="gray">
                <a:xfrm>
                  <a:off x="3874503" y="2205536"/>
                  <a:ext cx="365760" cy="365760"/>
                </a:xfrm>
                <a:prstGeom prst="ellipse">
                  <a:avLst/>
                </a:prstGeom>
                <a:solidFill>
                  <a:srgbClr val="27AAE2"/>
                </a:solidFill>
                <a:ln w="952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 smtClean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97" name="Rectangle 30"/>
                <p:cNvSpPr txBox="1"/>
                <p:nvPr/>
              </p:nvSpPr>
              <p:spPr bwMode="gray">
                <a:xfrm>
                  <a:off x="3927767" y="2242488"/>
                  <a:ext cx="193394" cy="27699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350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75" indent="-192088" defTabSz="895350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200" indent="-261938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363" indent="-155575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808" indent="-130175" defTabSz="895350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r>
                    <a:rPr lang="en-US" b="1" dirty="0" smtClean="0">
                      <a:solidFill>
                        <a:schemeClr val="bg1"/>
                      </a:solidFill>
                    </a:rPr>
                    <a:t> 1</a:t>
                  </a:r>
                  <a:endParaRPr lang="en-US" b="1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05" name="Rectangle 30"/>
              <p:cNvSpPr txBox="1"/>
              <p:nvPr/>
            </p:nvSpPr>
            <p:spPr bwMode="gray">
              <a:xfrm>
                <a:off x="4338821" y="4266379"/>
                <a:ext cx="4112771" cy="5847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900" i="1" dirty="0" smtClean="0">
                    <a:solidFill>
                      <a:schemeClr val="bg1"/>
                    </a:solidFill>
                  </a:rPr>
                  <a:t>Customers call dispatch or attempt to hail a cab by hand</a:t>
                </a:r>
                <a:endParaRPr lang="en-US" sz="1900" i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06" name="Rectangle 30"/>
            <p:cNvSpPr txBox="1"/>
            <p:nvPr/>
          </p:nvSpPr>
          <p:spPr bwMode="gray">
            <a:xfrm>
              <a:off x="4349450" y="4934622"/>
              <a:ext cx="4274157" cy="292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900" i="1" dirty="0" smtClean="0">
                  <a:solidFill>
                    <a:schemeClr val="bg1"/>
                  </a:solidFill>
                </a:rPr>
                <a:t>Dispatch identifies, notifies closest cab</a:t>
              </a:r>
              <a:endParaRPr lang="en-US" sz="1900" i="1" dirty="0">
                <a:solidFill>
                  <a:schemeClr val="bg1"/>
                </a:solidFill>
              </a:endParaRPr>
            </a:p>
          </p:txBody>
        </p:sp>
        <p:sp>
          <p:nvSpPr>
            <p:cNvPr id="107" name="Rectangle 30"/>
            <p:cNvSpPr txBox="1"/>
            <p:nvPr/>
          </p:nvSpPr>
          <p:spPr bwMode="gray">
            <a:xfrm>
              <a:off x="4349451" y="5357757"/>
              <a:ext cx="3619164" cy="292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900" i="1" dirty="0" smtClean="0">
                  <a:solidFill>
                    <a:schemeClr val="bg1"/>
                  </a:solidFill>
                </a:rPr>
                <a:t>Limited/no direct information flow</a:t>
              </a:r>
              <a:endParaRPr lang="en-US" sz="1900" i="1" dirty="0">
                <a:solidFill>
                  <a:schemeClr val="bg1"/>
                </a:solidFill>
              </a:endParaRPr>
            </a:p>
          </p:txBody>
        </p:sp>
        <p:sp>
          <p:nvSpPr>
            <p:cNvPr id="127" name="Oval 126"/>
            <p:cNvSpPr/>
            <p:nvPr/>
          </p:nvSpPr>
          <p:spPr bwMode="gray">
            <a:xfrm>
              <a:off x="3849244" y="4838900"/>
              <a:ext cx="365760" cy="365760"/>
            </a:xfrm>
            <a:prstGeom prst="ellipse">
              <a:avLst/>
            </a:prstGeom>
            <a:solidFill>
              <a:srgbClr val="27AAE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8" name="Rectangle 30"/>
            <p:cNvSpPr txBox="1"/>
            <p:nvPr/>
          </p:nvSpPr>
          <p:spPr bwMode="gray">
            <a:xfrm>
              <a:off x="3913394" y="4886738"/>
              <a:ext cx="19339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 smtClean="0">
                  <a:solidFill>
                    <a:schemeClr val="bg1"/>
                  </a:solidFill>
                </a:rPr>
                <a:t> 2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129" name="Oval 128"/>
            <p:cNvSpPr/>
            <p:nvPr/>
          </p:nvSpPr>
          <p:spPr bwMode="gray">
            <a:xfrm>
              <a:off x="3860709" y="5350775"/>
              <a:ext cx="365760" cy="365760"/>
            </a:xfrm>
            <a:prstGeom prst="ellipse">
              <a:avLst/>
            </a:prstGeom>
            <a:solidFill>
              <a:srgbClr val="27AAE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0" name="Rectangle 30"/>
            <p:cNvSpPr txBox="1"/>
            <p:nvPr/>
          </p:nvSpPr>
          <p:spPr bwMode="gray">
            <a:xfrm>
              <a:off x="3924859" y="5398613"/>
              <a:ext cx="19339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 smtClean="0">
                  <a:solidFill>
                    <a:schemeClr val="bg1"/>
                  </a:solidFill>
                </a:rPr>
                <a:t> 3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131" name="Oval 130"/>
            <p:cNvSpPr/>
            <p:nvPr/>
          </p:nvSpPr>
          <p:spPr bwMode="gray">
            <a:xfrm>
              <a:off x="4708794" y="1935006"/>
              <a:ext cx="365760" cy="365760"/>
            </a:xfrm>
            <a:prstGeom prst="ellipse">
              <a:avLst/>
            </a:prstGeom>
            <a:solidFill>
              <a:srgbClr val="27AAE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2" name="Rectangle 30"/>
            <p:cNvSpPr txBox="1"/>
            <p:nvPr/>
          </p:nvSpPr>
          <p:spPr bwMode="gray">
            <a:xfrm>
              <a:off x="4772944" y="1982844"/>
              <a:ext cx="19339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 smtClean="0">
                  <a:solidFill>
                    <a:schemeClr val="bg1"/>
                  </a:solidFill>
                </a:rPr>
                <a:t> 1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134" name="Oval 133"/>
            <p:cNvSpPr/>
            <p:nvPr/>
          </p:nvSpPr>
          <p:spPr bwMode="gray">
            <a:xfrm>
              <a:off x="7045562" y="1954067"/>
              <a:ext cx="365760" cy="365760"/>
            </a:xfrm>
            <a:prstGeom prst="ellipse">
              <a:avLst/>
            </a:prstGeom>
            <a:solidFill>
              <a:srgbClr val="27AAE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6" name="Rectangle 30"/>
            <p:cNvSpPr txBox="1"/>
            <p:nvPr/>
          </p:nvSpPr>
          <p:spPr bwMode="gray">
            <a:xfrm>
              <a:off x="7109712" y="2001905"/>
              <a:ext cx="19339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 smtClean="0">
                  <a:solidFill>
                    <a:schemeClr val="bg1"/>
                  </a:solidFill>
                </a:rPr>
                <a:t> 2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137" name="Oval 136"/>
            <p:cNvSpPr/>
            <p:nvPr/>
          </p:nvSpPr>
          <p:spPr bwMode="gray">
            <a:xfrm>
              <a:off x="5949550" y="3723125"/>
              <a:ext cx="365760" cy="365760"/>
            </a:xfrm>
            <a:prstGeom prst="ellipse">
              <a:avLst/>
            </a:prstGeom>
            <a:solidFill>
              <a:srgbClr val="27AAE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8" name="Rectangle 30"/>
            <p:cNvSpPr txBox="1"/>
            <p:nvPr/>
          </p:nvSpPr>
          <p:spPr bwMode="gray">
            <a:xfrm>
              <a:off x="6013700" y="3770963"/>
              <a:ext cx="19339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 smtClean="0">
                  <a:solidFill>
                    <a:schemeClr val="bg1"/>
                  </a:solidFill>
                </a:rPr>
                <a:t> 3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09" name="McK 5. Source"/>
          <p:cNvSpPr>
            <a:spLocks noChangeArrowheads="1"/>
          </p:cNvSpPr>
          <p:nvPr/>
        </p:nvSpPr>
        <p:spPr bwMode="auto">
          <a:xfrm>
            <a:off x="121488" y="6566446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en-US" sz="1000" dirty="0" smtClean="0">
                <a:latin typeface="Arial Narrow" panose="020B0606020202030204" pitchFamily="34" charset="0"/>
              </a:rPr>
              <a:t>SOURCE: </a:t>
            </a:r>
            <a:r>
              <a:rPr lang="en-US" sz="1000" dirty="0" err="1" smtClean="0">
                <a:latin typeface="Arial Narrow" panose="020B0606020202030204" pitchFamily="34" charset="0"/>
              </a:rPr>
              <a:t>Uber</a:t>
            </a:r>
            <a:r>
              <a:rPr lang="en-US" sz="1000" dirty="0" smtClean="0">
                <a:latin typeface="Arial Narrow" panose="020B0606020202030204" pitchFamily="34" charset="0"/>
              </a:rPr>
              <a:t>, Bloomberg</a:t>
            </a:r>
            <a:endParaRPr lang="en-US" sz="1000" dirty="0">
              <a:latin typeface="Arial Narrow" panose="020B0606020202030204" pitchFamily="34" charset="0"/>
            </a:endParaRPr>
          </a:p>
        </p:txBody>
      </p:sp>
      <p:grpSp>
        <p:nvGrpSpPr>
          <p:cNvPr id="6" name="Group 231435"/>
          <p:cNvGrpSpPr/>
          <p:nvPr/>
        </p:nvGrpSpPr>
        <p:grpSpPr>
          <a:xfrm>
            <a:off x="3724218" y="1171794"/>
            <a:ext cx="5056275" cy="4851612"/>
            <a:chOff x="3659557" y="1133741"/>
            <a:chExt cx="4955325" cy="4755029"/>
          </a:xfrm>
        </p:grpSpPr>
        <p:sp>
          <p:nvSpPr>
            <p:cNvPr id="141" name="Rounded Rectangle 140"/>
            <p:cNvSpPr/>
            <p:nvPr/>
          </p:nvSpPr>
          <p:spPr bwMode="gray">
            <a:xfrm>
              <a:off x="3667105" y="1133741"/>
              <a:ext cx="4947777" cy="4745212"/>
            </a:xfrm>
            <a:prstGeom prst="roundRect">
              <a:avLst>
                <a:gd name="adj" fmla="val 10482"/>
              </a:avLst>
            </a:prstGeom>
            <a:blipFill dpi="0"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8575">
              <a:solidFill>
                <a:schemeClr val="bg1">
                  <a:lumMod val="8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2" name="Rounded Rectangle 141"/>
            <p:cNvSpPr/>
            <p:nvPr/>
          </p:nvSpPr>
          <p:spPr bwMode="gray">
            <a:xfrm>
              <a:off x="3659557" y="1143558"/>
              <a:ext cx="4947777" cy="4745212"/>
            </a:xfrm>
            <a:prstGeom prst="roundRect">
              <a:avLst>
                <a:gd name="adj" fmla="val 10482"/>
              </a:avLst>
            </a:prstGeom>
            <a:solidFill>
              <a:srgbClr val="FFFFFF">
                <a:alpha val="40000"/>
              </a:srgbClr>
            </a:solidFill>
            <a:ln w="28575">
              <a:solidFill>
                <a:schemeClr val="accent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6" name="Rectangle 30"/>
            <p:cNvSpPr txBox="1"/>
            <p:nvPr/>
          </p:nvSpPr>
          <p:spPr bwMode="gray">
            <a:xfrm>
              <a:off x="3685274" y="1220171"/>
              <a:ext cx="81203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r"/>
              <a:r>
                <a:rPr lang="en-US" sz="2400" dirty="0" smtClean="0">
                  <a:solidFill>
                    <a:schemeClr val="bg1"/>
                  </a:solidFill>
                </a:rPr>
                <a:t>NEW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  <p:sp>
          <p:nvSpPr>
            <p:cNvPr id="147" name="Rounded Rectangle 146"/>
            <p:cNvSpPr/>
            <p:nvPr/>
          </p:nvSpPr>
          <p:spPr bwMode="gray">
            <a:xfrm>
              <a:off x="4022160" y="1900928"/>
              <a:ext cx="1097280" cy="753456"/>
            </a:xfrm>
            <a:prstGeom prst="roundRect">
              <a:avLst/>
            </a:prstGeom>
            <a:solidFill>
              <a:srgbClr val="27AAE2"/>
            </a:solidFill>
            <a:ln w="28575">
              <a:solidFill>
                <a:schemeClr val="accent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smtClean="0">
                  <a:solidFill>
                    <a:schemeClr val="bg1"/>
                  </a:solidFill>
                </a:rPr>
                <a:t>Riders</a:t>
              </a:r>
            </a:p>
          </p:txBody>
        </p:sp>
        <p:sp>
          <p:nvSpPr>
            <p:cNvPr id="149" name="Rounded Rectangle 148"/>
            <p:cNvSpPr/>
            <p:nvPr/>
          </p:nvSpPr>
          <p:spPr bwMode="gray">
            <a:xfrm>
              <a:off x="7031692" y="1900928"/>
              <a:ext cx="1097280" cy="753456"/>
            </a:xfrm>
            <a:prstGeom prst="roundRect">
              <a:avLst/>
            </a:prstGeom>
            <a:solidFill>
              <a:srgbClr val="27AAE2"/>
            </a:solidFill>
            <a:ln w="28575">
              <a:solidFill>
                <a:schemeClr val="accent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smtClean="0">
                  <a:solidFill>
                    <a:schemeClr val="bg1"/>
                  </a:solidFill>
                </a:rPr>
                <a:t>Taxi drivers</a:t>
              </a:r>
            </a:p>
          </p:txBody>
        </p:sp>
        <p:cxnSp>
          <p:nvCxnSpPr>
            <p:cNvPr id="150" name="Curved Connector 149"/>
            <p:cNvCxnSpPr/>
            <p:nvPr/>
          </p:nvCxnSpPr>
          <p:spPr bwMode="gray">
            <a:xfrm flipV="1">
              <a:off x="5160037" y="2175380"/>
              <a:ext cx="1854423" cy="0"/>
            </a:xfrm>
            <a:prstGeom prst="curvedConnector3">
              <a:avLst>
                <a:gd name="adj1" fmla="val 50000"/>
              </a:avLst>
            </a:prstGeom>
            <a:ln w="5715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Curved Connector 150"/>
            <p:cNvCxnSpPr/>
            <p:nvPr/>
          </p:nvCxnSpPr>
          <p:spPr bwMode="gray">
            <a:xfrm rot="10800000" flipV="1">
              <a:off x="5103174" y="2446957"/>
              <a:ext cx="1931816" cy="703"/>
            </a:xfrm>
            <a:prstGeom prst="curvedConnector3">
              <a:avLst>
                <a:gd name="adj1" fmla="val 50000"/>
              </a:avLst>
            </a:prstGeom>
            <a:ln w="5715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Curved Connector 151"/>
            <p:cNvCxnSpPr>
              <a:stCxn id="149" idx="2"/>
              <a:endCxn id="62" idx="2"/>
            </p:cNvCxnSpPr>
            <p:nvPr/>
          </p:nvCxnSpPr>
          <p:spPr bwMode="gray">
            <a:xfrm rot="5400000">
              <a:off x="6828230" y="1907226"/>
              <a:ext cx="4945" cy="1499260"/>
            </a:xfrm>
            <a:prstGeom prst="curvedConnector3">
              <a:avLst>
                <a:gd name="adj1" fmla="val 4722851"/>
              </a:avLst>
            </a:prstGeom>
            <a:ln w="57150">
              <a:solidFill>
                <a:schemeClr val="bg1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3" name="Oval 172"/>
            <p:cNvSpPr/>
            <p:nvPr/>
          </p:nvSpPr>
          <p:spPr bwMode="gray">
            <a:xfrm>
              <a:off x="3802098" y="3173613"/>
              <a:ext cx="365760" cy="365760"/>
            </a:xfrm>
            <a:prstGeom prst="ellipse">
              <a:avLst/>
            </a:prstGeom>
            <a:solidFill>
              <a:srgbClr val="27AAE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4" name="Rectangle 30"/>
            <p:cNvSpPr txBox="1"/>
            <p:nvPr/>
          </p:nvSpPr>
          <p:spPr bwMode="gray">
            <a:xfrm>
              <a:off x="3855362" y="3210565"/>
              <a:ext cx="19339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 smtClean="0">
                  <a:solidFill>
                    <a:schemeClr val="bg1"/>
                  </a:solidFill>
                </a:rPr>
                <a:t> 1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172" name="Rectangle 30"/>
            <p:cNvSpPr txBox="1"/>
            <p:nvPr/>
          </p:nvSpPr>
          <p:spPr bwMode="gray">
            <a:xfrm>
              <a:off x="4295961" y="3199575"/>
              <a:ext cx="4112771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900" i="1" dirty="0">
                  <a:solidFill>
                    <a:schemeClr val="bg1"/>
                  </a:solidFill>
                </a:rPr>
                <a:t>Customers choose drivers based on location, rating</a:t>
              </a:r>
            </a:p>
          </p:txBody>
        </p:sp>
        <p:sp>
          <p:nvSpPr>
            <p:cNvPr id="154" name="Rectangle 30"/>
            <p:cNvSpPr txBox="1"/>
            <p:nvPr/>
          </p:nvSpPr>
          <p:spPr bwMode="gray">
            <a:xfrm>
              <a:off x="4306590" y="3954908"/>
              <a:ext cx="4274157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900" i="1" dirty="0">
                  <a:solidFill>
                    <a:schemeClr val="bg1"/>
                  </a:solidFill>
                </a:rPr>
                <a:t>Drivers accept customers, contact directly en route</a:t>
              </a:r>
            </a:p>
          </p:txBody>
        </p:sp>
        <p:sp>
          <p:nvSpPr>
            <p:cNvPr id="155" name="Rectangle 30"/>
            <p:cNvSpPr txBox="1"/>
            <p:nvPr/>
          </p:nvSpPr>
          <p:spPr bwMode="gray">
            <a:xfrm>
              <a:off x="4306591" y="4671957"/>
              <a:ext cx="4274156" cy="292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900" i="1" dirty="0" smtClean="0">
                  <a:solidFill>
                    <a:schemeClr val="bg1"/>
                  </a:solidFill>
                </a:rPr>
                <a:t>Riders rate </a:t>
              </a:r>
              <a:r>
                <a:rPr lang="en-US" sz="1900" i="1" dirty="0">
                  <a:solidFill>
                    <a:schemeClr val="bg1"/>
                  </a:solidFill>
                </a:rPr>
                <a:t>drivers for future </a:t>
              </a:r>
              <a:r>
                <a:rPr lang="en-US" sz="1900" i="1" dirty="0" smtClean="0">
                  <a:solidFill>
                    <a:schemeClr val="bg1"/>
                  </a:solidFill>
                </a:rPr>
                <a:t>riders</a:t>
              </a:r>
              <a:endParaRPr lang="en-US" sz="1900" i="1" dirty="0">
                <a:solidFill>
                  <a:schemeClr val="bg1"/>
                </a:solidFill>
              </a:endParaRPr>
            </a:p>
          </p:txBody>
        </p:sp>
        <p:sp>
          <p:nvSpPr>
            <p:cNvPr id="156" name="Oval 155"/>
            <p:cNvSpPr/>
            <p:nvPr/>
          </p:nvSpPr>
          <p:spPr bwMode="gray">
            <a:xfrm>
              <a:off x="3802098" y="3902730"/>
              <a:ext cx="365760" cy="365760"/>
            </a:xfrm>
            <a:prstGeom prst="ellipse">
              <a:avLst/>
            </a:prstGeom>
            <a:solidFill>
              <a:srgbClr val="27AAE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7" name="Rectangle 30"/>
            <p:cNvSpPr txBox="1"/>
            <p:nvPr/>
          </p:nvSpPr>
          <p:spPr bwMode="gray">
            <a:xfrm>
              <a:off x="3867015" y="3950568"/>
              <a:ext cx="19339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 smtClean="0">
                  <a:solidFill>
                    <a:schemeClr val="bg1"/>
                  </a:solidFill>
                </a:rPr>
                <a:t> 2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160" name="Oval 159"/>
            <p:cNvSpPr/>
            <p:nvPr/>
          </p:nvSpPr>
          <p:spPr bwMode="gray">
            <a:xfrm>
              <a:off x="3802098" y="4643203"/>
              <a:ext cx="365760" cy="365760"/>
            </a:xfrm>
            <a:prstGeom prst="ellipse">
              <a:avLst/>
            </a:prstGeom>
            <a:solidFill>
              <a:srgbClr val="27AAE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1" name="Rectangle 30"/>
            <p:cNvSpPr txBox="1"/>
            <p:nvPr/>
          </p:nvSpPr>
          <p:spPr bwMode="gray">
            <a:xfrm>
              <a:off x="3867015" y="4691041"/>
              <a:ext cx="19339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 smtClean="0">
                  <a:solidFill>
                    <a:schemeClr val="bg1"/>
                  </a:solidFill>
                </a:rPr>
                <a:t> 3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162" name="Oval 161"/>
            <p:cNvSpPr/>
            <p:nvPr/>
          </p:nvSpPr>
          <p:spPr bwMode="gray">
            <a:xfrm>
              <a:off x="5232443" y="1989897"/>
              <a:ext cx="365760" cy="365760"/>
            </a:xfrm>
            <a:prstGeom prst="ellipse">
              <a:avLst/>
            </a:prstGeom>
            <a:solidFill>
              <a:srgbClr val="27AAE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3" name="Rectangle 30"/>
            <p:cNvSpPr txBox="1"/>
            <p:nvPr/>
          </p:nvSpPr>
          <p:spPr bwMode="gray">
            <a:xfrm>
              <a:off x="5296593" y="2048621"/>
              <a:ext cx="19339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 smtClean="0">
                  <a:solidFill>
                    <a:schemeClr val="bg1"/>
                  </a:solidFill>
                </a:rPr>
                <a:t> 1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212" name="Oval 211"/>
            <p:cNvSpPr/>
            <p:nvPr/>
          </p:nvSpPr>
          <p:spPr bwMode="gray">
            <a:xfrm>
              <a:off x="6503408" y="2304392"/>
              <a:ext cx="365760" cy="365760"/>
            </a:xfrm>
            <a:prstGeom prst="ellipse">
              <a:avLst/>
            </a:prstGeom>
            <a:solidFill>
              <a:srgbClr val="27AAE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213" name="Rectangle 30"/>
            <p:cNvSpPr txBox="1"/>
            <p:nvPr/>
          </p:nvSpPr>
          <p:spPr bwMode="gray">
            <a:xfrm>
              <a:off x="6567558" y="2363116"/>
              <a:ext cx="19339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 smtClean="0">
                  <a:solidFill>
                    <a:schemeClr val="bg1"/>
                  </a:solidFill>
                </a:rPr>
                <a:t> 2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217" name="Oval 216"/>
            <p:cNvSpPr/>
            <p:nvPr/>
          </p:nvSpPr>
          <p:spPr bwMode="gray">
            <a:xfrm>
              <a:off x="6699472" y="2760332"/>
              <a:ext cx="365760" cy="365760"/>
            </a:xfrm>
            <a:prstGeom prst="ellipse">
              <a:avLst/>
            </a:prstGeom>
            <a:solidFill>
              <a:srgbClr val="27AAE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218" name="Rectangle 30"/>
            <p:cNvSpPr txBox="1"/>
            <p:nvPr/>
          </p:nvSpPr>
          <p:spPr bwMode="gray">
            <a:xfrm>
              <a:off x="6763622" y="2819056"/>
              <a:ext cx="19339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 smtClean="0">
                  <a:solidFill>
                    <a:schemeClr val="bg1"/>
                  </a:solidFill>
                </a:rPr>
                <a:t> 4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62" name="Rounded Rectangle 61"/>
            <p:cNvSpPr/>
            <p:nvPr/>
          </p:nvSpPr>
          <p:spPr>
            <a:xfrm>
              <a:off x="5623451" y="1848308"/>
              <a:ext cx="808911" cy="811021"/>
            </a:xfrm>
            <a:prstGeom prst="roundRect">
              <a:avLst>
                <a:gd name="adj" fmla="val 9602"/>
              </a:avLst>
            </a:prstGeom>
            <a:blipFill dpi="0"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1" name="Curved Connector 210"/>
            <p:cNvCxnSpPr>
              <a:stCxn id="147" idx="0"/>
              <a:endCxn id="62" idx="0"/>
            </p:cNvCxnSpPr>
            <p:nvPr/>
          </p:nvCxnSpPr>
          <p:spPr bwMode="gray">
            <a:xfrm rot="5400000" flipH="1" flipV="1">
              <a:off x="5273043" y="1146065"/>
              <a:ext cx="52620" cy="1457107"/>
            </a:xfrm>
            <a:prstGeom prst="curvedConnector3">
              <a:avLst>
                <a:gd name="adj1" fmla="val 534436"/>
              </a:avLst>
            </a:prstGeom>
            <a:ln w="57150">
              <a:solidFill>
                <a:schemeClr val="bg1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9" name="Rectangle 30"/>
            <p:cNvSpPr txBox="1"/>
            <p:nvPr/>
          </p:nvSpPr>
          <p:spPr bwMode="gray">
            <a:xfrm>
              <a:off x="4253426" y="5184592"/>
              <a:ext cx="4274156" cy="292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900" i="1" dirty="0" smtClean="0">
                  <a:solidFill>
                    <a:schemeClr val="bg1"/>
                  </a:solidFill>
                </a:rPr>
                <a:t>Drivers rate </a:t>
              </a:r>
              <a:r>
                <a:rPr lang="en-US" sz="1900" i="1" dirty="0">
                  <a:solidFill>
                    <a:schemeClr val="bg1"/>
                  </a:solidFill>
                </a:rPr>
                <a:t>customers for future drivers</a:t>
              </a:r>
            </a:p>
          </p:txBody>
        </p:sp>
        <p:sp>
          <p:nvSpPr>
            <p:cNvPr id="220" name="Oval 219"/>
            <p:cNvSpPr/>
            <p:nvPr/>
          </p:nvSpPr>
          <p:spPr bwMode="gray">
            <a:xfrm>
              <a:off x="3802098" y="5144952"/>
              <a:ext cx="365760" cy="365760"/>
            </a:xfrm>
            <a:prstGeom prst="ellipse">
              <a:avLst/>
            </a:prstGeom>
            <a:solidFill>
              <a:srgbClr val="27AAE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221" name="Rectangle 30"/>
            <p:cNvSpPr txBox="1"/>
            <p:nvPr/>
          </p:nvSpPr>
          <p:spPr bwMode="gray">
            <a:xfrm>
              <a:off x="3867015" y="5171021"/>
              <a:ext cx="19339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 smtClean="0">
                  <a:solidFill>
                    <a:schemeClr val="bg1"/>
                  </a:solidFill>
                </a:rPr>
                <a:t> 4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215" name="Oval 214"/>
            <p:cNvSpPr/>
            <p:nvPr/>
          </p:nvSpPr>
          <p:spPr bwMode="gray">
            <a:xfrm>
              <a:off x="4989900" y="1377541"/>
              <a:ext cx="365760" cy="365760"/>
            </a:xfrm>
            <a:prstGeom prst="ellipse">
              <a:avLst/>
            </a:prstGeom>
            <a:solidFill>
              <a:srgbClr val="27AAE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216" name="Rectangle 30"/>
            <p:cNvSpPr txBox="1"/>
            <p:nvPr/>
          </p:nvSpPr>
          <p:spPr bwMode="gray">
            <a:xfrm>
              <a:off x="5054050" y="1436265"/>
              <a:ext cx="19339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 smtClean="0">
                  <a:solidFill>
                    <a:schemeClr val="bg1"/>
                  </a:solidFill>
                </a:rPr>
                <a:t> 3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1210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2633945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21489" y="234864"/>
            <a:ext cx="8794113" cy="596653"/>
          </a:xfrm>
        </p:spPr>
        <p:txBody>
          <a:bodyPr/>
          <a:lstStyle/>
          <a:p>
            <a:r>
              <a:rPr lang="en-US" dirty="0" smtClean="0"/>
              <a:t>A </a:t>
            </a:r>
            <a:r>
              <a:rPr lang="en-US" dirty="0"/>
              <a:t>deep dive </a:t>
            </a:r>
            <a:r>
              <a:rPr lang="en-US" dirty="0" smtClean="0"/>
              <a:t>on an app more </a:t>
            </a:r>
            <a:r>
              <a:rPr lang="en-US" dirty="0"/>
              <a:t>relevant to </a:t>
            </a:r>
            <a:r>
              <a:rPr lang="en-US" dirty="0" smtClean="0"/>
              <a:t>retailers, bringing together buyers, their suppliers, and affiliated groups to drive resource productivity </a:t>
            </a:r>
            <a:endParaRPr lang="en-US" dirty="0"/>
          </a:p>
        </p:txBody>
      </p:sp>
      <p:sp>
        <p:nvSpPr>
          <p:cNvPr id="205" name="Rectangle 204"/>
          <p:cNvSpPr/>
          <p:nvPr/>
        </p:nvSpPr>
        <p:spPr bwMode="gray">
          <a:xfrm>
            <a:off x="1219045" y="1603859"/>
            <a:ext cx="2799084" cy="1458545"/>
          </a:xfrm>
          <a:prstGeom prst="rect">
            <a:avLst/>
          </a:prstGeom>
          <a:solidFill>
            <a:srgbClr val="ACC231"/>
          </a:solidFill>
          <a:ln w="9525">
            <a:solidFill>
              <a:srgbClr val="ACC23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r>
              <a:rPr lang="en-US" sz="3700" dirty="0" smtClean="0">
                <a:solidFill>
                  <a:schemeClr val="bg1"/>
                </a:solidFill>
              </a:rPr>
              <a:t>Retail buyers</a:t>
            </a:r>
          </a:p>
        </p:txBody>
      </p:sp>
      <p:sp>
        <p:nvSpPr>
          <p:cNvPr id="206" name="Rectangle 205"/>
          <p:cNvSpPr/>
          <p:nvPr/>
        </p:nvSpPr>
        <p:spPr bwMode="gray">
          <a:xfrm>
            <a:off x="4954917" y="1603858"/>
            <a:ext cx="2799084" cy="1452357"/>
          </a:xfrm>
          <a:prstGeom prst="rect">
            <a:avLst/>
          </a:prstGeom>
          <a:solidFill>
            <a:srgbClr val="E4CA01"/>
          </a:solidFill>
          <a:ln w="9525">
            <a:solidFill>
              <a:srgbClr val="E4CA0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r"/>
            <a:r>
              <a:rPr lang="en-US" sz="3700" dirty="0" smtClean="0">
                <a:solidFill>
                  <a:schemeClr val="bg1"/>
                </a:solidFill>
              </a:rPr>
              <a:t>Suppliers</a:t>
            </a:r>
          </a:p>
        </p:txBody>
      </p:sp>
      <p:sp>
        <p:nvSpPr>
          <p:cNvPr id="208" name="Rectangle 207"/>
          <p:cNvSpPr/>
          <p:nvPr/>
        </p:nvSpPr>
        <p:spPr bwMode="gray">
          <a:xfrm>
            <a:off x="1219045" y="4089398"/>
            <a:ext cx="2799084" cy="1458545"/>
          </a:xfrm>
          <a:prstGeom prst="rect">
            <a:avLst/>
          </a:prstGeom>
          <a:solidFill>
            <a:srgbClr val="27AAE2"/>
          </a:solidFill>
          <a:ln w="9525">
            <a:solidFill>
              <a:srgbClr val="27AAE2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r>
              <a:rPr lang="en-US" sz="3700" dirty="0" smtClean="0">
                <a:solidFill>
                  <a:schemeClr val="bg1"/>
                </a:solidFill>
              </a:rPr>
              <a:t>NGOs</a:t>
            </a:r>
          </a:p>
        </p:txBody>
      </p:sp>
      <p:sp>
        <p:nvSpPr>
          <p:cNvPr id="209" name="Rectangle 208"/>
          <p:cNvSpPr/>
          <p:nvPr/>
        </p:nvSpPr>
        <p:spPr bwMode="gray">
          <a:xfrm>
            <a:off x="4954917" y="4095585"/>
            <a:ext cx="2799084" cy="1452357"/>
          </a:xfrm>
          <a:prstGeom prst="rect">
            <a:avLst/>
          </a:prstGeom>
          <a:solidFill>
            <a:srgbClr val="6E92A8"/>
          </a:solidFill>
          <a:ln w="9525">
            <a:solidFill>
              <a:srgbClr val="6E92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r"/>
            <a:r>
              <a:rPr lang="en-US" sz="3700" dirty="0" smtClean="0">
                <a:solidFill>
                  <a:schemeClr val="bg1"/>
                </a:solidFill>
              </a:rPr>
              <a:t>Industry</a:t>
            </a:r>
            <a:r>
              <a:rPr lang="en-US" sz="3700" dirty="0">
                <a:solidFill>
                  <a:schemeClr val="bg1"/>
                </a:solidFill>
              </a:rPr>
              <a:t> </a:t>
            </a:r>
            <a:r>
              <a:rPr lang="en-US" sz="3700" dirty="0" smtClean="0">
                <a:solidFill>
                  <a:schemeClr val="bg1"/>
                </a:solidFill>
              </a:rPr>
              <a:t>groups</a:t>
            </a:r>
          </a:p>
        </p:txBody>
      </p:sp>
      <p:pic>
        <p:nvPicPr>
          <p:cNvPr id="70" name="Picture 69"/>
          <p:cNvPicPr>
            <a:picLocks noChangeAspect="1"/>
          </p:cNvPicPr>
          <p:nvPr/>
        </p:nvPicPr>
        <p:blipFill rotWithShape="1">
          <a:blip r:embed="rId7" cstate="print"/>
          <a:srcRect r="9881"/>
          <a:stretch/>
        </p:blipFill>
        <p:spPr bwMode="gray">
          <a:xfrm>
            <a:off x="3503008" y="2524852"/>
            <a:ext cx="2013317" cy="1881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2870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" grpId="0" animBg="1"/>
      <p:bldP spid="206" grpId="0" animBg="1"/>
      <p:bldP spid="208" grpId="0" animBg="1"/>
      <p:bldP spid="20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7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134830" y="4195127"/>
            <a:ext cx="2790189" cy="2148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8" cstate="print"/>
          <a:srcRect l="11243" r="11753"/>
          <a:stretch/>
        </p:blipFill>
        <p:spPr bwMode="gray">
          <a:xfrm>
            <a:off x="6356350" y="4414394"/>
            <a:ext cx="2347149" cy="1714452"/>
          </a:xfrm>
          <a:prstGeom prst="rect">
            <a:avLst/>
          </a:prstGeom>
          <a:effectLst>
            <a:innerShdw blurRad="114300">
              <a:prstClr val="black"/>
            </a:inn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21489" y="234864"/>
            <a:ext cx="8794113" cy="65945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100" dirty="0"/>
              <a:t>Red</a:t>
            </a:r>
            <a:r>
              <a:rPr lang="en-US" sz="2100" dirty="0">
                <a:solidFill>
                  <a:srgbClr val="FF0000"/>
                </a:solidFill>
              </a:rPr>
              <a:t>E</a:t>
            </a:r>
            <a:r>
              <a:rPr lang="en-US" sz="2100" dirty="0"/>
              <a:t> is a simple web-based tool that allows buyers to help suppliers drive resource efficiency, lower costs, and improve supply chain  transparency</a:t>
            </a:r>
            <a:endParaRPr lang="en-US" sz="2100" dirty="0">
              <a:solidFill>
                <a:srgbClr val="002060"/>
              </a:solidFill>
            </a:endParaRPr>
          </a:p>
        </p:txBody>
      </p:sp>
      <p:sp>
        <p:nvSpPr>
          <p:cNvPr id="40" name="McK 5. Source"/>
          <p:cNvSpPr>
            <a:spLocks noChangeArrowheads="1"/>
          </p:cNvSpPr>
          <p:nvPr/>
        </p:nvSpPr>
        <p:spPr bwMode="gray">
          <a:xfrm>
            <a:off x="121488" y="6566446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en-US" sz="1000" dirty="0">
                <a:latin typeface="+mn-lt"/>
              </a:rPr>
              <a:t>SOURCE: McKinsey</a:t>
            </a:r>
          </a:p>
        </p:txBody>
      </p:sp>
      <p:pic>
        <p:nvPicPr>
          <p:cNvPr id="25" name="Picture 68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228430" y="3225325"/>
            <a:ext cx="2790187" cy="2148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" name="Oval 29"/>
          <p:cNvSpPr/>
          <p:nvPr/>
        </p:nvSpPr>
        <p:spPr bwMode="gray">
          <a:xfrm>
            <a:off x="6034065" y="5970402"/>
            <a:ext cx="373211" cy="373189"/>
          </a:xfrm>
          <a:prstGeom prst="ellipse">
            <a:avLst/>
          </a:prstGeom>
          <a:gradFill>
            <a:gsLst>
              <a:gs pos="0">
                <a:srgbClr val="27AAE2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6" tIns="46648" rIns="93296" bIns="46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4</a:t>
            </a:r>
          </a:p>
        </p:txBody>
      </p:sp>
      <p:sp>
        <p:nvSpPr>
          <p:cNvPr id="45" name="Rectangle 5"/>
          <p:cNvSpPr txBox="1"/>
          <p:nvPr/>
        </p:nvSpPr>
        <p:spPr bwMode="gray">
          <a:xfrm>
            <a:off x="119870" y="4557598"/>
            <a:ext cx="3485896" cy="847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Provides a visual approach </a:t>
            </a:r>
            <a:r>
              <a:rPr lang="en-US" b="1" dirty="0" smtClean="0">
                <a:solidFill>
                  <a:srgbClr val="27AAE2"/>
                </a:solidFill>
              </a:rPr>
              <a:t>track implementation </a:t>
            </a:r>
            <a:r>
              <a:rPr lang="en-US" dirty="0" smtClean="0"/>
              <a:t>of projects from identification to booked savings</a:t>
            </a:r>
            <a:endParaRPr lang="en-US" dirty="0"/>
          </a:p>
        </p:txBody>
      </p:sp>
      <p:cxnSp>
        <p:nvCxnSpPr>
          <p:cNvPr id="46" name="Straight Connector 45"/>
          <p:cNvCxnSpPr/>
          <p:nvPr/>
        </p:nvCxnSpPr>
        <p:spPr bwMode="gray">
          <a:xfrm flipV="1">
            <a:off x="3620267" y="5268921"/>
            <a:ext cx="466514" cy="0"/>
          </a:xfrm>
          <a:prstGeom prst="line">
            <a:avLst/>
          </a:prstGeom>
          <a:ln w="19050">
            <a:solidFill>
              <a:srgbClr val="27AAE2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 bwMode="gray">
          <a:xfrm>
            <a:off x="3609418" y="4616274"/>
            <a:ext cx="1" cy="819756"/>
          </a:xfrm>
          <a:prstGeom prst="line">
            <a:avLst/>
          </a:prstGeom>
          <a:ln w="19050">
            <a:solidFill>
              <a:srgbClr val="27AAE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5"/>
          <p:cNvSpPr txBox="1"/>
          <p:nvPr/>
        </p:nvSpPr>
        <p:spPr bwMode="gray">
          <a:xfrm>
            <a:off x="1234320" y="5523738"/>
            <a:ext cx="3965369" cy="847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Enables </a:t>
            </a:r>
            <a:r>
              <a:rPr lang="en-US" b="1" dirty="0" smtClean="0">
                <a:solidFill>
                  <a:srgbClr val="27AAE2"/>
                </a:solidFill>
              </a:rPr>
              <a:t>performance management </a:t>
            </a:r>
            <a:r>
              <a:rPr lang="en-US" dirty="0" smtClean="0"/>
              <a:t>with a simple </a:t>
            </a:r>
            <a:r>
              <a:rPr lang="en-US" b="1" dirty="0" smtClean="0">
                <a:solidFill>
                  <a:srgbClr val="27AAE2"/>
                </a:solidFill>
              </a:rPr>
              <a:t>dashboard</a:t>
            </a:r>
            <a:r>
              <a:rPr lang="en-US" dirty="0" smtClean="0">
                <a:solidFill>
                  <a:srgbClr val="27AAE2"/>
                </a:solidFill>
              </a:rPr>
              <a:t> </a:t>
            </a:r>
            <a:r>
              <a:rPr lang="en-US" dirty="0" smtClean="0"/>
              <a:t>that tracks impact and peer performance</a:t>
            </a:r>
            <a:endParaRPr lang="en-US" dirty="0"/>
          </a:p>
        </p:txBody>
      </p:sp>
      <p:cxnSp>
        <p:nvCxnSpPr>
          <p:cNvPr id="50" name="Straight Connector 49"/>
          <p:cNvCxnSpPr/>
          <p:nvPr/>
        </p:nvCxnSpPr>
        <p:spPr bwMode="gray">
          <a:xfrm>
            <a:off x="5150166" y="6174488"/>
            <a:ext cx="746422" cy="0"/>
          </a:xfrm>
          <a:prstGeom prst="line">
            <a:avLst/>
          </a:prstGeom>
          <a:ln w="19050">
            <a:solidFill>
              <a:srgbClr val="27AAE2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 bwMode="gray">
          <a:xfrm>
            <a:off x="5150167" y="5607557"/>
            <a:ext cx="1" cy="755738"/>
          </a:xfrm>
          <a:prstGeom prst="line">
            <a:avLst/>
          </a:prstGeom>
          <a:ln w="19050">
            <a:solidFill>
              <a:srgbClr val="27AAE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McK 1. On-page tracker"/>
          <p:cNvSpPr>
            <a:spLocks noChangeArrowheads="1"/>
          </p:cNvSpPr>
          <p:nvPr/>
        </p:nvSpPr>
        <p:spPr bwMode="gray">
          <a:xfrm>
            <a:off x="121489" y="27537"/>
            <a:ext cx="213353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dirty="0" smtClean="0">
                <a:solidFill>
                  <a:srgbClr val="808080"/>
                </a:solidFill>
                <a:latin typeface="Arial Narrow" pitchFamily="34" charset="0"/>
                <a:ea typeface="+mj-ea"/>
              </a:rPr>
              <a:t>RedE – HOW IT WORKS</a:t>
            </a:r>
            <a:endParaRPr lang="en-US" baseline="0" noProof="0" dirty="0">
              <a:solidFill>
                <a:srgbClr val="808080"/>
              </a:solidFill>
              <a:latin typeface="Arial Narrow" pitchFamily="34" charset="0"/>
              <a:ea typeface="+mj-ea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0" cstate="print"/>
          <a:srcRect l="11141" r="11192"/>
          <a:stretch/>
        </p:blipFill>
        <p:spPr bwMode="gray">
          <a:xfrm>
            <a:off x="4453757" y="3468622"/>
            <a:ext cx="2334171" cy="1690423"/>
          </a:xfrm>
          <a:prstGeom prst="rect">
            <a:avLst/>
          </a:prstGeom>
          <a:effectLst>
            <a:innerShdw blurRad="114300">
              <a:prstClr val="black"/>
            </a:innerShdw>
          </a:effectLst>
        </p:spPr>
      </p:pic>
      <p:sp>
        <p:nvSpPr>
          <p:cNvPr id="5" name="Rectangle 5"/>
          <p:cNvSpPr txBox="1"/>
          <p:nvPr/>
        </p:nvSpPr>
        <p:spPr bwMode="gray">
          <a:xfrm>
            <a:off x="4567801" y="911744"/>
            <a:ext cx="438976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rgbClr val="27AAE2"/>
                </a:solidFill>
              </a:rPr>
              <a:t>Identifies</a:t>
            </a:r>
            <a:r>
              <a:rPr lang="en-US" dirty="0">
                <a:solidFill>
                  <a:srgbClr val="27AAE2"/>
                </a:solidFill>
              </a:rPr>
              <a:t> </a:t>
            </a:r>
            <a:r>
              <a:rPr lang="en-US" dirty="0"/>
              <a:t>a set of facility and process-specific levers, including savings and capex estimates to help users </a:t>
            </a:r>
            <a:r>
              <a:rPr lang="en-US" dirty="0" smtClean="0"/>
              <a:t>select what projects to consider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 bwMode="gray">
          <a:xfrm flipH="1">
            <a:off x="3197502" y="1144929"/>
            <a:ext cx="1306239" cy="0"/>
          </a:xfrm>
          <a:prstGeom prst="line">
            <a:avLst/>
          </a:prstGeom>
          <a:ln w="19050">
            <a:solidFill>
              <a:srgbClr val="27AAE2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 bwMode="gray">
          <a:xfrm flipH="1">
            <a:off x="4503743" y="965227"/>
            <a:ext cx="1" cy="1075652"/>
          </a:xfrm>
          <a:prstGeom prst="line">
            <a:avLst/>
          </a:prstGeom>
          <a:ln w="19050">
            <a:solidFill>
              <a:srgbClr val="27AAE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5"/>
          <p:cNvSpPr txBox="1"/>
          <p:nvPr/>
        </p:nvSpPr>
        <p:spPr bwMode="gray">
          <a:xfrm>
            <a:off x="5721851" y="2079434"/>
            <a:ext cx="337292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Helps users </a:t>
            </a:r>
            <a:r>
              <a:rPr lang="en-US" b="1" dirty="0" smtClean="0">
                <a:solidFill>
                  <a:srgbClr val="27AAE2"/>
                </a:solidFill>
              </a:rPr>
              <a:t>prioritize</a:t>
            </a:r>
            <a:r>
              <a:rPr lang="en-US" b="1" dirty="0" smtClean="0">
                <a:solidFill>
                  <a:schemeClr val="accent3"/>
                </a:solidFill>
              </a:rPr>
              <a:t> </a:t>
            </a:r>
            <a:r>
              <a:rPr lang="en-US" dirty="0" smtClean="0"/>
              <a:t>what levers to pursue using dynamic business cases based on actual user data</a:t>
            </a:r>
            <a:endParaRPr lang="en-US" dirty="0"/>
          </a:p>
        </p:txBody>
      </p:sp>
      <p:pic>
        <p:nvPicPr>
          <p:cNvPr id="24" name="Picture 7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36252" y="2132721"/>
            <a:ext cx="2798213" cy="21546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69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5163" y="1123231"/>
            <a:ext cx="2766001" cy="2129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Oval 27"/>
          <p:cNvSpPr/>
          <p:nvPr/>
        </p:nvSpPr>
        <p:spPr bwMode="gray">
          <a:xfrm>
            <a:off x="4661254" y="2079434"/>
            <a:ext cx="373211" cy="373189"/>
          </a:xfrm>
          <a:prstGeom prst="ellipse">
            <a:avLst/>
          </a:prstGeom>
          <a:gradFill>
            <a:gsLst>
              <a:gs pos="0">
                <a:srgbClr val="27AAE2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6" tIns="46648" rIns="93296" bIns="46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2</a:t>
            </a:r>
          </a:p>
        </p:txBody>
      </p:sp>
      <p:sp>
        <p:nvSpPr>
          <p:cNvPr id="3" name="Oval 2"/>
          <p:cNvSpPr/>
          <p:nvPr/>
        </p:nvSpPr>
        <p:spPr bwMode="gray">
          <a:xfrm>
            <a:off x="2714220" y="973661"/>
            <a:ext cx="373211" cy="373189"/>
          </a:xfrm>
          <a:prstGeom prst="ellipse">
            <a:avLst/>
          </a:prstGeom>
          <a:gradFill>
            <a:gsLst>
              <a:gs pos="0">
                <a:srgbClr val="27AAE2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6" tIns="46648" rIns="93296" bIns="46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1</a:t>
            </a:r>
          </a:p>
        </p:txBody>
      </p:sp>
      <p:cxnSp>
        <p:nvCxnSpPr>
          <p:cNvPr id="43" name="Straight Connector 42"/>
          <p:cNvCxnSpPr/>
          <p:nvPr/>
        </p:nvCxnSpPr>
        <p:spPr bwMode="gray">
          <a:xfrm flipH="1">
            <a:off x="5186515" y="2255324"/>
            <a:ext cx="466514" cy="0"/>
          </a:xfrm>
          <a:prstGeom prst="line">
            <a:avLst/>
          </a:prstGeom>
          <a:ln w="19050">
            <a:solidFill>
              <a:srgbClr val="27AAE2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 bwMode="gray">
          <a:xfrm flipH="1">
            <a:off x="5653031" y="2133832"/>
            <a:ext cx="1" cy="1024671"/>
          </a:xfrm>
          <a:prstGeom prst="line">
            <a:avLst/>
          </a:prstGeom>
          <a:ln w="19050">
            <a:solidFill>
              <a:srgbClr val="27AAE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13" cstate="print"/>
          <a:srcRect l="10900" r="10886"/>
          <a:stretch/>
        </p:blipFill>
        <p:spPr bwMode="gray">
          <a:xfrm>
            <a:off x="537518" y="1352281"/>
            <a:ext cx="2331541" cy="1676695"/>
          </a:xfrm>
          <a:prstGeom prst="rect">
            <a:avLst/>
          </a:prstGeom>
          <a:effectLst>
            <a:innerShdw blurRad="114300">
              <a:prstClr val="black"/>
            </a:innerShdw>
          </a:effectLst>
        </p:spPr>
      </p:pic>
      <p:sp>
        <p:nvSpPr>
          <p:cNvPr id="29" name="Oval 28"/>
          <p:cNvSpPr/>
          <p:nvPr/>
        </p:nvSpPr>
        <p:spPr bwMode="gray">
          <a:xfrm>
            <a:off x="4139268" y="5052803"/>
            <a:ext cx="373211" cy="373189"/>
          </a:xfrm>
          <a:prstGeom prst="ellipse">
            <a:avLst/>
          </a:prstGeom>
          <a:gradFill>
            <a:gsLst>
              <a:gs pos="0">
                <a:srgbClr val="27AAE2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6" tIns="46648" rIns="93296" bIns="46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177074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590256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Curved Left Arrow 71"/>
          <p:cNvSpPr/>
          <p:nvPr/>
        </p:nvSpPr>
        <p:spPr bwMode="gray">
          <a:xfrm flipH="1" flipV="1">
            <a:off x="1396250" y="1981839"/>
            <a:ext cx="2373472" cy="3230309"/>
          </a:xfrm>
          <a:prstGeom prst="curvedLeftArrow">
            <a:avLst>
              <a:gd name="adj1" fmla="val 23225"/>
              <a:gd name="adj2" fmla="val 50000"/>
              <a:gd name="adj3" fmla="val 18448"/>
            </a:avLst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42" name="Picture 6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88574" y="4265141"/>
            <a:ext cx="1340528" cy="1032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8" cstate="print"/>
          <a:srcRect l="10972" r="11663"/>
          <a:stretch/>
        </p:blipFill>
        <p:spPr bwMode="gray">
          <a:xfrm>
            <a:off x="1994820" y="4374159"/>
            <a:ext cx="1119191" cy="813693"/>
          </a:xfrm>
          <a:prstGeom prst="rect">
            <a:avLst/>
          </a:prstGeom>
          <a:effectLst>
            <a:innerShdw blurRad="114300">
              <a:prstClr val="black"/>
            </a:innerShdw>
          </a:effectLst>
        </p:spPr>
      </p:pic>
      <p:sp>
        <p:nvSpPr>
          <p:cNvPr id="4" name="Curved Left Arrow 3"/>
          <p:cNvSpPr/>
          <p:nvPr/>
        </p:nvSpPr>
        <p:spPr bwMode="gray">
          <a:xfrm>
            <a:off x="5365603" y="2261922"/>
            <a:ext cx="2373472" cy="3230309"/>
          </a:xfrm>
          <a:prstGeom prst="curvedLeftArrow">
            <a:avLst>
              <a:gd name="adj1" fmla="val 21449"/>
              <a:gd name="adj2" fmla="val 50000"/>
              <a:gd name="adj3" fmla="val 18448"/>
            </a:avLst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36" name="Picture 68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04515" y="4275259"/>
            <a:ext cx="1324874" cy="1020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10" cstate="print"/>
          <a:srcRect l="11141" r="11192"/>
          <a:stretch/>
        </p:blipFill>
        <p:spPr bwMode="gray">
          <a:xfrm>
            <a:off x="6009741" y="4375166"/>
            <a:ext cx="1108342" cy="802669"/>
          </a:xfrm>
          <a:prstGeom prst="rect">
            <a:avLst/>
          </a:prstGeom>
          <a:effectLst>
            <a:innerShdw blurRad="114300">
              <a:prstClr val="black"/>
            </a:innerShdw>
          </a:effectLst>
        </p:spPr>
      </p:pic>
      <p:pic>
        <p:nvPicPr>
          <p:cNvPr id="40" name="Picture 69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39185" y="3210119"/>
            <a:ext cx="1313391" cy="1011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12" cstate="print"/>
          <a:srcRect l="10900" r="10886"/>
          <a:stretch/>
        </p:blipFill>
        <p:spPr bwMode="gray">
          <a:xfrm>
            <a:off x="7147341" y="3319009"/>
            <a:ext cx="1107094" cy="796151"/>
          </a:xfrm>
          <a:prstGeom prst="rect">
            <a:avLst/>
          </a:prstGeom>
          <a:effectLst>
            <a:innerShdw blurRad="114300">
              <a:prstClr val="black"/>
            </a:innerShdw>
          </a:effectLst>
        </p:spPr>
      </p:pic>
      <p:cxnSp>
        <p:nvCxnSpPr>
          <p:cNvPr id="12" name="Straight Arrow Connector 11"/>
          <p:cNvCxnSpPr/>
          <p:nvPr/>
        </p:nvCxnSpPr>
        <p:spPr bwMode="gray">
          <a:xfrm>
            <a:off x="8865788" y="1976573"/>
            <a:ext cx="0" cy="3189213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21488" y="234864"/>
            <a:ext cx="8324361" cy="338554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Red</a:t>
            </a:r>
            <a:r>
              <a:rPr lang="en-US" dirty="0">
                <a:solidFill>
                  <a:srgbClr val="FF0000"/>
                </a:solidFill>
              </a:rPr>
              <a:t>E</a:t>
            </a:r>
            <a:r>
              <a:rPr lang="en-US" dirty="0">
                <a:solidFill>
                  <a:srgbClr val="002060"/>
                </a:solidFill>
              </a:rPr>
              <a:t> </a:t>
            </a:r>
            <a:r>
              <a:rPr lang="en-US" dirty="0" smtClean="0">
                <a:solidFill>
                  <a:srgbClr val="002060"/>
                </a:solidFill>
              </a:rPr>
              <a:t>provides a single platform to both disseminate EE project guidance across a network and monitor individual and aggregate performance   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3613016" y="1182636"/>
            <a:ext cx="1959361" cy="164543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33" name="Picture 18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80" b="4252"/>
          <a:stretch/>
        </p:blipFill>
        <p:spPr bwMode="gray">
          <a:xfrm>
            <a:off x="3733215" y="1189059"/>
            <a:ext cx="1699544" cy="13360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" name="Rounded Rectangle 33"/>
          <p:cNvSpPr/>
          <p:nvPr/>
        </p:nvSpPr>
        <p:spPr bwMode="gray">
          <a:xfrm>
            <a:off x="3569610" y="2590882"/>
            <a:ext cx="2000049" cy="361589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b="1" dirty="0" smtClean="0">
                <a:solidFill>
                  <a:srgbClr val="27AAE2"/>
                </a:solidFill>
              </a:rPr>
              <a:t>Program owner</a:t>
            </a:r>
          </a:p>
        </p:txBody>
      </p:sp>
      <p:sp>
        <p:nvSpPr>
          <p:cNvPr id="48" name="Rectangle 47"/>
          <p:cNvSpPr/>
          <p:nvPr/>
        </p:nvSpPr>
        <p:spPr bwMode="gray">
          <a:xfrm>
            <a:off x="3592282" y="4360717"/>
            <a:ext cx="1959361" cy="164543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3" name="Rounded Rectangle 52"/>
          <p:cNvSpPr/>
          <p:nvPr/>
        </p:nvSpPr>
        <p:spPr bwMode="gray">
          <a:xfrm>
            <a:off x="3569610" y="5768963"/>
            <a:ext cx="2000049" cy="361589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b="1" dirty="0" smtClean="0">
                <a:solidFill>
                  <a:srgbClr val="27AAE2"/>
                </a:solidFill>
              </a:rPr>
              <a:t>Sites/suppliers</a:t>
            </a:r>
          </a:p>
        </p:txBody>
      </p:sp>
      <p:pic>
        <p:nvPicPr>
          <p:cNvPr id="38" name="Picture 12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037" t="69573" b="6279"/>
          <a:stretch/>
        </p:blipFill>
        <p:spPr bwMode="gray">
          <a:xfrm>
            <a:off x="3798491" y="4538250"/>
            <a:ext cx="1616597" cy="110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" name="Group 5"/>
          <p:cNvGrpSpPr/>
          <p:nvPr/>
        </p:nvGrpSpPr>
        <p:grpSpPr bwMode="gray">
          <a:xfrm>
            <a:off x="772701" y="3219482"/>
            <a:ext cx="1326863" cy="1004728"/>
            <a:chOff x="194576" y="3182670"/>
            <a:chExt cx="1735564" cy="1336475"/>
          </a:xfrm>
        </p:grpSpPr>
        <p:pic>
          <p:nvPicPr>
            <p:cNvPr id="59" name="Picture 71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94576" y="3182670"/>
              <a:ext cx="1735564" cy="1336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16" cstate="print"/>
            <a:stretch>
              <a:fillRect/>
            </a:stretch>
          </p:blipFill>
          <p:spPr bwMode="gray">
            <a:xfrm>
              <a:off x="337678" y="3374689"/>
              <a:ext cx="1463040" cy="1006883"/>
            </a:xfrm>
            <a:prstGeom prst="rect">
              <a:avLst/>
            </a:prstGeom>
          </p:spPr>
        </p:pic>
      </p:grpSp>
      <p:sp>
        <p:nvSpPr>
          <p:cNvPr id="61" name="Rectangle 5"/>
          <p:cNvSpPr txBox="1"/>
          <p:nvPr/>
        </p:nvSpPr>
        <p:spPr bwMode="gray">
          <a:xfrm>
            <a:off x="5876339" y="1080531"/>
            <a:ext cx="3264041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rgbClr val="27AAE2"/>
                </a:solidFill>
              </a:rPr>
              <a:t>Program owners</a:t>
            </a:r>
            <a:r>
              <a:rPr lang="en-US" dirty="0" smtClean="0">
                <a:solidFill>
                  <a:srgbClr val="27AAE2"/>
                </a:solidFill>
              </a:rPr>
              <a:t> </a:t>
            </a:r>
            <a:r>
              <a:rPr lang="en-US" dirty="0" smtClean="0">
                <a:solidFill>
                  <a:srgbClr val="000000"/>
                </a:solidFill>
              </a:rPr>
              <a:t>sets up facility templates in </a:t>
            </a:r>
            <a:r>
              <a:rPr lang="en-US" b="1" dirty="0" smtClean="0"/>
              <a:t>Red</a:t>
            </a:r>
            <a:r>
              <a:rPr lang="en-US" b="1" dirty="0" smtClean="0">
                <a:solidFill>
                  <a:srgbClr val="FF0000"/>
                </a:solidFill>
              </a:rPr>
              <a:t>E</a:t>
            </a:r>
            <a:r>
              <a:rPr lang="en-US" dirty="0" smtClean="0"/>
              <a:t>, loads custom levers relevant to their processes, and enroll sites/suppliers</a:t>
            </a:r>
          </a:p>
        </p:txBody>
      </p:sp>
      <p:sp>
        <p:nvSpPr>
          <p:cNvPr id="64" name="Rectangle 5"/>
          <p:cNvSpPr txBox="1"/>
          <p:nvPr/>
        </p:nvSpPr>
        <p:spPr bwMode="gray">
          <a:xfrm>
            <a:off x="6059285" y="5342015"/>
            <a:ext cx="2906792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rgbClr val="27AAE2"/>
                </a:solidFill>
              </a:rPr>
              <a:t>Sites/suppliers</a:t>
            </a:r>
            <a:r>
              <a:rPr lang="en-US" b="1" dirty="0" smtClean="0">
                <a:solidFill>
                  <a:schemeClr val="accent3"/>
                </a:solidFill>
              </a:rPr>
              <a:t> </a:t>
            </a:r>
            <a:r>
              <a:rPr lang="en-US" dirty="0" smtClean="0"/>
              <a:t>select the recommended levers they want to pursue and use </a:t>
            </a:r>
            <a:r>
              <a:rPr lang="en-US" b="1" dirty="0" smtClean="0"/>
              <a:t>Red</a:t>
            </a:r>
            <a:r>
              <a:rPr lang="en-US" b="1" dirty="0" smtClean="0">
                <a:solidFill>
                  <a:srgbClr val="FF0000"/>
                </a:solidFill>
              </a:rPr>
              <a:t>E</a:t>
            </a:r>
            <a:r>
              <a:rPr lang="en-US" dirty="0" smtClean="0">
                <a:solidFill>
                  <a:schemeClr val="accent4"/>
                </a:solidFill>
              </a:rPr>
              <a:t> </a:t>
            </a:r>
            <a:r>
              <a:rPr lang="en-US" dirty="0" smtClean="0"/>
              <a:t>to mature projects to completion</a:t>
            </a:r>
            <a:endParaRPr lang="en-US" dirty="0"/>
          </a:p>
        </p:txBody>
      </p:sp>
      <p:pic>
        <p:nvPicPr>
          <p:cNvPr id="65" name="Picture 7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11497" y="2173536"/>
            <a:ext cx="1320157" cy="10165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Group 9"/>
          <p:cNvGrpSpPr/>
          <p:nvPr/>
        </p:nvGrpSpPr>
        <p:grpSpPr bwMode="gray">
          <a:xfrm>
            <a:off x="1902238" y="2173535"/>
            <a:ext cx="1326863" cy="1004728"/>
            <a:chOff x="1686427" y="2142471"/>
            <a:chExt cx="1300372" cy="984726"/>
          </a:xfrm>
        </p:grpSpPr>
        <p:grpSp>
          <p:nvGrpSpPr>
            <p:cNvPr id="9" name="Group 8"/>
            <p:cNvGrpSpPr/>
            <p:nvPr/>
          </p:nvGrpSpPr>
          <p:grpSpPr bwMode="gray">
            <a:xfrm>
              <a:off x="1686427" y="2142471"/>
              <a:ext cx="1300372" cy="984726"/>
              <a:chOff x="1686427" y="2142471"/>
              <a:chExt cx="1300372" cy="984726"/>
            </a:xfrm>
          </p:grpSpPr>
          <p:pic>
            <p:nvPicPr>
              <p:cNvPr id="67" name="Picture 71"/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686427" y="2142471"/>
                <a:ext cx="1300372" cy="98472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68" name="Picture 67"/>
              <p:cNvPicPr>
                <a:picLocks noChangeAspect="1"/>
              </p:cNvPicPr>
              <p:nvPr/>
            </p:nvPicPr>
            <p:blipFill>
              <a:blip r:embed="rId16" cstate="print"/>
              <a:stretch>
                <a:fillRect/>
              </a:stretch>
            </p:blipFill>
            <p:spPr bwMode="gray">
              <a:xfrm>
                <a:off x="1793646" y="2283952"/>
                <a:ext cx="1096183" cy="741880"/>
              </a:xfrm>
              <a:prstGeom prst="rect">
                <a:avLst/>
              </a:prstGeom>
            </p:spPr>
          </p:pic>
        </p:grpSp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18" cstate="print"/>
            <a:srcRect b="34258"/>
            <a:stretch/>
          </p:blipFill>
          <p:spPr bwMode="gray">
            <a:xfrm>
              <a:off x="1784392" y="2284073"/>
              <a:ext cx="1105437" cy="733448"/>
            </a:xfrm>
            <a:prstGeom prst="rect">
              <a:avLst/>
            </a:prstGeom>
          </p:spPr>
        </p:pic>
      </p:grpSp>
      <p:sp>
        <p:nvSpPr>
          <p:cNvPr id="69" name="Rectangle 5"/>
          <p:cNvSpPr txBox="1"/>
          <p:nvPr/>
        </p:nvSpPr>
        <p:spPr bwMode="gray">
          <a:xfrm>
            <a:off x="332619" y="5342015"/>
            <a:ext cx="2906792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b="1" dirty="0" smtClean="0">
                <a:solidFill>
                  <a:srgbClr val="27AAE2"/>
                </a:solidFill>
              </a:rPr>
              <a:t>Sites/suppliers</a:t>
            </a:r>
            <a:r>
              <a:rPr lang="en-US" b="1" dirty="0" smtClean="0">
                <a:solidFill>
                  <a:schemeClr val="accent3"/>
                </a:solidFill>
              </a:rPr>
              <a:t> </a:t>
            </a:r>
            <a:r>
              <a:rPr lang="en-US" dirty="0" smtClean="0"/>
              <a:t>track progress in cost and emissions reduction, as well as performance versus peers</a:t>
            </a:r>
            <a:endParaRPr lang="en-US" dirty="0"/>
          </a:p>
        </p:txBody>
      </p:sp>
      <p:sp>
        <p:nvSpPr>
          <p:cNvPr id="70" name="Rectangle 5"/>
          <p:cNvSpPr txBox="1"/>
          <p:nvPr/>
        </p:nvSpPr>
        <p:spPr bwMode="gray">
          <a:xfrm>
            <a:off x="177115" y="1101264"/>
            <a:ext cx="3123074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b="1" dirty="0" smtClean="0">
                <a:solidFill>
                  <a:srgbClr val="27AAE2"/>
                </a:solidFill>
              </a:rPr>
              <a:t>Program owners </a:t>
            </a:r>
            <a:r>
              <a:rPr lang="en-US" dirty="0" smtClean="0"/>
              <a:t>view individual site savings</a:t>
            </a:r>
            <a:r>
              <a:rPr lang="en-US" baseline="30000" dirty="0" smtClean="0"/>
              <a:t>1</a:t>
            </a:r>
            <a:r>
              <a:rPr lang="en-US" dirty="0" smtClean="0"/>
              <a:t> and total impact,  with performance management tools to track participation  </a:t>
            </a:r>
            <a:endParaRPr lang="en-US" dirty="0"/>
          </a:p>
        </p:txBody>
      </p:sp>
      <p:sp>
        <p:nvSpPr>
          <p:cNvPr id="71" name="McK 4. Footnote"/>
          <p:cNvSpPr txBox="1">
            <a:spLocks noChangeArrowheads="1"/>
          </p:cNvSpPr>
          <p:nvPr/>
        </p:nvSpPr>
        <p:spPr bwMode="gray">
          <a:xfrm>
            <a:off x="121489" y="6507375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1 Owned facilities only; individual supplier cost or energy savings data is not shared with the parent organization</a:t>
            </a:r>
          </a:p>
        </p:txBody>
      </p:sp>
      <p:sp>
        <p:nvSpPr>
          <p:cNvPr id="73" name="Rectangle 5"/>
          <p:cNvSpPr txBox="1"/>
          <p:nvPr/>
        </p:nvSpPr>
        <p:spPr bwMode="gray">
          <a:xfrm rot="5400000">
            <a:off x="7602651" y="3405500"/>
            <a:ext cx="2589684" cy="28264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46648" tIns="0" rIns="46648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bg1">
                    <a:lumMod val="50000"/>
                  </a:schemeClr>
                </a:solidFill>
              </a:rPr>
              <a:t>Project dissemination</a:t>
            </a:r>
            <a:endParaRPr lang="en-US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74" name="Straight Arrow Connector 73"/>
          <p:cNvCxnSpPr>
            <a:stCxn id="75" idx="3"/>
          </p:cNvCxnSpPr>
          <p:nvPr/>
        </p:nvCxnSpPr>
        <p:spPr bwMode="gray">
          <a:xfrm flipV="1">
            <a:off x="291390" y="2050597"/>
            <a:ext cx="0" cy="294093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5"/>
          <p:cNvSpPr txBox="1"/>
          <p:nvPr/>
        </p:nvSpPr>
        <p:spPr bwMode="gray">
          <a:xfrm rot="16200000">
            <a:off x="-959333" y="3454092"/>
            <a:ext cx="2501446" cy="282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46648" tIns="0" rIns="46648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bg1">
                    <a:lumMod val="50000"/>
                  </a:schemeClr>
                </a:solidFill>
              </a:rPr>
              <a:t>Centralized reporting </a:t>
            </a:r>
            <a:endParaRPr lang="en-US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19" cstate="print"/>
          <a:srcRect l="10978" r="10978"/>
          <a:stretch/>
        </p:blipFill>
        <p:spPr bwMode="gray">
          <a:xfrm>
            <a:off x="876467" y="3317217"/>
            <a:ext cx="1122802" cy="809213"/>
          </a:xfrm>
          <a:prstGeom prst="rect">
            <a:avLst/>
          </a:prstGeom>
          <a:effectLst>
            <a:innerShdw blurRad="114300">
              <a:prstClr val="black"/>
            </a:inn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0" cstate="print"/>
          <a:srcRect l="11080" r="10963"/>
          <a:stretch/>
        </p:blipFill>
        <p:spPr bwMode="gray">
          <a:xfrm>
            <a:off x="1999243" y="2258432"/>
            <a:ext cx="1131545" cy="816408"/>
          </a:xfrm>
          <a:prstGeom prst="rect">
            <a:avLst/>
          </a:prstGeom>
          <a:effectLst>
            <a:innerShdw blurRad="114300">
              <a:prstClr val="black"/>
            </a:innerShdw>
          </a:effectLst>
        </p:spPr>
      </p:pic>
      <p:cxnSp>
        <p:nvCxnSpPr>
          <p:cNvPr id="45" name="Straight Arrow Connector 44"/>
          <p:cNvCxnSpPr/>
          <p:nvPr/>
        </p:nvCxnSpPr>
        <p:spPr bwMode="gray">
          <a:xfrm flipV="1">
            <a:off x="293469" y="4907827"/>
            <a:ext cx="0" cy="380064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McK 1. On-page tracker"/>
          <p:cNvSpPr>
            <a:spLocks noChangeArrowheads="1"/>
          </p:cNvSpPr>
          <p:nvPr/>
        </p:nvSpPr>
        <p:spPr bwMode="gray">
          <a:xfrm>
            <a:off x="121489" y="27537"/>
            <a:ext cx="203639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dirty="0" smtClean="0">
                <a:solidFill>
                  <a:srgbClr val="808080"/>
                </a:solidFill>
                <a:latin typeface="Arial Narrow" pitchFamily="34" charset="0"/>
                <a:ea typeface="+mj-ea"/>
              </a:rPr>
              <a:t>INFORMATION FLOWS</a:t>
            </a:r>
            <a:endParaRPr lang="en-US" b="1" baseline="0" noProof="0" dirty="0">
              <a:solidFill>
                <a:srgbClr val="FF0000"/>
              </a:solidFill>
              <a:latin typeface="Arial Narrow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857805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Object 8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4" name="Rectangle 14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nl-NL" sz="800" dirty="0" smtClean="0">
              <a:solidFill>
                <a:schemeClr val="tx1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As the use of the Red</a:t>
            </a:r>
            <a:r>
              <a:rPr lang="en-US" dirty="0" smtClean="0">
                <a:solidFill>
                  <a:srgbClr val="FF0000"/>
                </a:solidFill>
              </a:rPr>
              <a:t>E </a:t>
            </a:r>
            <a:r>
              <a:rPr lang="en-US" dirty="0" smtClean="0"/>
              <a:t>tool grows it provides insights into relative plant or  supplier performance and encourages a ‘race to the top’</a:t>
            </a:r>
            <a:endParaRPr lang="nl-NL" dirty="0"/>
          </a:p>
        </p:txBody>
      </p:sp>
      <p:sp>
        <p:nvSpPr>
          <p:cNvPr id="3" name="Rectangle 3"/>
          <p:cNvSpPr txBox="1"/>
          <p:nvPr/>
        </p:nvSpPr>
        <p:spPr bwMode="gray">
          <a:xfrm>
            <a:off x="5017636" y="1011123"/>
            <a:ext cx="3937658" cy="318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1224"/>
              </a:spcBef>
            </a:pPr>
            <a:r>
              <a:rPr lang="en-US" sz="1700" dirty="0" smtClean="0"/>
              <a:t>Performance dashboards can be linked </a:t>
            </a:r>
            <a:r>
              <a:rPr lang="en-US" sz="1700" dirty="0" smtClean="0">
                <a:solidFill>
                  <a:srgbClr val="27AAE2"/>
                </a:solidFill>
              </a:rPr>
              <a:t>to </a:t>
            </a:r>
            <a:r>
              <a:rPr lang="en-US" sz="1700" b="1" dirty="0" smtClean="0">
                <a:solidFill>
                  <a:srgbClr val="27AAE2"/>
                </a:solidFill>
              </a:rPr>
              <a:t>internal metrics and </a:t>
            </a:r>
            <a:r>
              <a:rPr lang="en-US" sz="1700" b="1" dirty="0">
                <a:solidFill>
                  <a:srgbClr val="27AAE2"/>
                </a:solidFill>
              </a:rPr>
              <a:t>goals </a:t>
            </a:r>
            <a:r>
              <a:rPr lang="en-US" sz="1700" dirty="0" smtClean="0">
                <a:solidFill>
                  <a:srgbClr val="27AAE2"/>
                </a:solidFill>
              </a:rPr>
              <a:t>or </a:t>
            </a:r>
            <a:r>
              <a:rPr lang="en-US" sz="1700" b="1" dirty="0" smtClean="0">
                <a:solidFill>
                  <a:srgbClr val="27AAE2"/>
                </a:solidFill>
              </a:rPr>
              <a:t>standardized KPIs </a:t>
            </a:r>
            <a:r>
              <a:rPr lang="en-US" sz="1700" dirty="0"/>
              <a:t>already </a:t>
            </a:r>
            <a:r>
              <a:rPr lang="en-US" sz="1700" dirty="0" smtClean="0"/>
              <a:t>in use by other </a:t>
            </a:r>
            <a:r>
              <a:rPr lang="en-US" sz="1700" b="1" dirty="0" smtClean="0"/>
              <a:t>Red</a:t>
            </a:r>
            <a:r>
              <a:rPr lang="en-US" sz="1700" b="1" dirty="0" smtClean="0">
                <a:solidFill>
                  <a:srgbClr val="FF0000"/>
                </a:solidFill>
              </a:rPr>
              <a:t>E</a:t>
            </a:r>
            <a:r>
              <a:rPr lang="en-US" sz="1700" dirty="0" smtClean="0"/>
              <a:t> users</a:t>
            </a:r>
          </a:p>
          <a:p>
            <a:pPr lvl="1">
              <a:spcBef>
                <a:spcPts val="1224"/>
              </a:spcBef>
            </a:pPr>
            <a:r>
              <a:rPr lang="en-US" sz="1700" dirty="0" smtClean="0"/>
              <a:t>Data accessibility for buyers to </a:t>
            </a:r>
            <a:r>
              <a:rPr lang="en-US" sz="1700" b="1" dirty="0" smtClean="0">
                <a:solidFill>
                  <a:srgbClr val="27AAE2"/>
                </a:solidFill>
              </a:rPr>
              <a:t>understand supplier participation</a:t>
            </a:r>
            <a:r>
              <a:rPr lang="en-US" sz="1700" dirty="0" smtClean="0">
                <a:solidFill>
                  <a:srgbClr val="27AAE2"/>
                </a:solidFill>
              </a:rPr>
              <a:t>, </a:t>
            </a:r>
            <a:r>
              <a:rPr lang="en-US" sz="1700" b="1" dirty="0" smtClean="0">
                <a:solidFill>
                  <a:srgbClr val="27AAE2"/>
                </a:solidFill>
              </a:rPr>
              <a:t>aggregate performance</a:t>
            </a:r>
            <a:r>
              <a:rPr lang="en-US" sz="1700" dirty="0" smtClean="0"/>
              <a:t>, and opportunities to </a:t>
            </a:r>
            <a:r>
              <a:rPr lang="en-US" sz="1700" b="1" dirty="0" smtClean="0">
                <a:solidFill>
                  <a:srgbClr val="27AAE2"/>
                </a:solidFill>
              </a:rPr>
              <a:t>accelerate savings</a:t>
            </a:r>
            <a:endParaRPr lang="en-US" sz="1700" dirty="0"/>
          </a:p>
          <a:p>
            <a:pPr lvl="1">
              <a:spcBef>
                <a:spcPts val="1224"/>
              </a:spcBef>
            </a:pPr>
            <a:r>
              <a:rPr lang="en-US" sz="1700" dirty="0" smtClean="0"/>
              <a:t>Data for buyer procurement and sustainability teams </a:t>
            </a:r>
            <a:r>
              <a:rPr lang="en-US" sz="1700" dirty="0" smtClean="0">
                <a:solidFill>
                  <a:srgbClr val="27AAE2"/>
                </a:solidFill>
              </a:rPr>
              <a:t>to </a:t>
            </a:r>
            <a:r>
              <a:rPr lang="en-US" sz="1700" b="1" dirty="0" smtClean="0">
                <a:solidFill>
                  <a:srgbClr val="27AAE2"/>
                </a:solidFill>
              </a:rPr>
              <a:t>understand the impact</a:t>
            </a:r>
            <a:r>
              <a:rPr lang="en-US" sz="1700" b="1" dirty="0" smtClean="0">
                <a:solidFill>
                  <a:srgbClr val="0070C0"/>
                </a:solidFill>
              </a:rPr>
              <a:t> </a:t>
            </a:r>
            <a:r>
              <a:rPr lang="en-US" sz="1700" dirty="0" smtClean="0"/>
              <a:t>they are driving and to use as </a:t>
            </a:r>
            <a:r>
              <a:rPr lang="en-US" sz="1700" b="1" dirty="0" smtClean="0">
                <a:solidFill>
                  <a:srgbClr val="27AAE2"/>
                </a:solidFill>
              </a:rPr>
              <a:t>a guide to source products</a:t>
            </a:r>
            <a:endParaRPr lang="en-US" sz="1700" b="1" dirty="0">
              <a:solidFill>
                <a:srgbClr val="27AAE2"/>
              </a:solidFill>
            </a:endParaRPr>
          </a:p>
        </p:txBody>
      </p:sp>
      <p:sp>
        <p:nvSpPr>
          <p:cNvPr id="465" name="McK 1. On-page tracker"/>
          <p:cNvSpPr>
            <a:spLocks noChangeArrowheads="1"/>
          </p:cNvSpPr>
          <p:nvPr/>
        </p:nvSpPr>
        <p:spPr bwMode="gray">
          <a:xfrm>
            <a:off x="121489" y="27537"/>
            <a:ext cx="28805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dirty="0" smtClean="0">
                <a:solidFill>
                  <a:srgbClr val="808080"/>
                </a:solidFill>
                <a:latin typeface="Arial Narrow" pitchFamily="34" charset="0"/>
                <a:ea typeface="+mj-ea"/>
              </a:rPr>
              <a:t>PERFORMANCE MANAGEMENT</a:t>
            </a:r>
            <a:endParaRPr lang="en-US" b="1" baseline="0" noProof="0" dirty="0">
              <a:solidFill>
                <a:srgbClr val="FF0000"/>
              </a:solidFill>
              <a:latin typeface="Arial Narrow" pitchFamily="34" charset="0"/>
              <a:ea typeface="+mj-ea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 bwMode="gray">
          <a:xfrm>
            <a:off x="3149473" y="4691804"/>
            <a:ext cx="2814627" cy="20234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 bwMode="gray">
          <a:xfrm>
            <a:off x="6140668" y="4698630"/>
            <a:ext cx="2814627" cy="20234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 bwMode="gray">
          <a:xfrm>
            <a:off x="158279" y="4691804"/>
            <a:ext cx="2814626" cy="20234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 bwMode="gray">
          <a:xfrm>
            <a:off x="136862" y="890812"/>
            <a:ext cx="4780975" cy="36368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08289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WCbAaiokqvdz7hwAVa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WpB7QEgEiQJrtJC6YR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DvvVTzp02vfaCKr8gI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c2r9q3NkaxfkENIjDf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WpB7QEgEiQJrtJC6YR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DvvVTzp02vfaCKr8gIs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c2r9q3NkaxfkENIjDf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WpB7QEgEiQJrtJC6YR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DvvVTzp02vfaCKr8gI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c2r9q3NkaxfkENIjDf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WpB7QEgEiQJrtJC6YR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DvvVTzp02vfaCKr8gI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c2r9q3NkaxfkENIjDfP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WpB7QEgEiQJrtJC6YR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DvvVTzp02vfaCKr8gI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c2r9q3NkaxfkENIjDfP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WpB7QEgEiQJrtJC6YR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DvvVTzp02vfaCKr8gI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c2r9q3NkaxfkENIjDfP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</TotalTime>
  <Words>1508</Words>
  <Application>Microsoft Office PowerPoint</Application>
  <PresentationFormat>On-screen Show (4:3)</PresentationFormat>
  <Paragraphs>279</Paragraphs>
  <Slides>20</Slides>
  <Notes>18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  <vt:variant>
        <vt:lpstr>Custom Shows</vt:lpstr>
      </vt:variant>
      <vt:variant>
        <vt:i4>1</vt:i4>
      </vt:variant>
    </vt:vector>
  </HeadingPairs>
  <TitlesOfParts>
    <vt:vector size="23" baseType="lpstr">
      <vt:lpstr>Office Theme</vt:lpstr>
      <vt:lpstr>think-cell Slide</vt:lpstr>
      <vt:lpstr>PowerPoint Presentation</vt:lpstr>
      <vt:lpstr>App-ifying sustainability</vt:lpstr>
      <vt:lpstr>PowerPoint Presentation</vt:lpstr>
      <vt:lpstr>What do we mean by “app”?</vt:lpstr>
      <vt:lpstr>Great apps improve the quality and availability of existing data and unlock new information flows, with Uber as a prime example</vt:lpstr>
      <vt:lpstr>A deep dive on an app more relevant to retailers, bringing together buyers, their suppliers, and affiliated groups to drive resource productivity </vt:lpstr>
      <vt:lpstr>RedE is a simple web-based tool that allows buyers to help suppliers drive resource efficiency, lower costs, and improve supply chain  transparency</vt:lpstr>
      <vt:lpstr>RedE provides a single platform to both disseminate EE project guidance across a network and monitor individual and aggregate performance   </vt:lpstr>
      <vt:lpstr>As the use of the RedE tool grows it provides insights into relative plant or  supplier performance and encourages a ‘race to the top’</vt:lpstr>
      <vt:lpstr>The retail value chain presents a host of opportunities for apps to improve the availability and quality of information</vt:lpstr>
      <vt:lpstr>RedE aims to drive buyer and supplier collaboration to disseminate best practices and drive collective resource efficiency</vt:lpstr>
      <vt:lpstr>Compass would share demand and availability forecasting across a network of small suppliers, enabling direct farm sourcing of produce</vt:lpstr>
      <vt:lpstr>Acre would combine several disparate sources of commodity data into a single database. Improving data quality and availability</vt:lpstr>
      <vt:lpstr>Nth enables workers to drive social compliance by cataloguing and publically sharing violations and potential hazards</vt:lpstr>
      <vt:lpstr>Indexc provides clear, comprehensive product sustainability visibility to consumers while communicating their preferences and feedback upstream</vt:lpstr>
      <vt:lpstr>What are some common threads across successful enterprise sustainability apps?</vt:lpstr>
      <vt:lpstr>Help develop one of our thought-starters… or create a novel idea</vt:lpstr>
      <vt:lpstr>Common threads and a set of corresponding questions to think through</vt:lpstr>
      <vt:lpstr>Let’s pick a winner…</vt:lpstr>
      <vt:lpstr>For those interested, a chance  to help make a new app a reality</vt:lpstr>
      <vt:lpstr>Custom Show 1</vt:lpstr>
    </vt:vector>
  </TitlesOfParts>
  <Company>FM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y E. McDonnell  (FMI)</dc:creator>
  <cp:lastModifiedBy>Teena M. Pham  (FMI)</cp:lastModifiedBy>
  <cp:revision>14</cp:revision>
  <dcterms:created xsi:type="dcterms:W3CDTF">2013-06-18T13:13:33Z</dcterms:created>
  <dcterms:modified xsi:type="dcterms:W3CDTF">2014-08-20T16:01:24Z</dcterms:modified>
</cp:coreProperties>
</file>